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4"/>
    <p:sldMasterId id="2147483692" r:id="rId5"/>
  </p:sldMasterIdLst>
  <p:notesMasterIdLst>
    <p:notesMasterId r:id="rId16"/>
  </p:notesMasterIdLst>
  <p:sldIdLst>
    <p:sldId id="819" r:id="rId6"/>
    <p:sldId id="825" r:id="rId7"/>
    <p:sldId id="878" r:id="rId8"/>
    <p:sldId id="882" r:id="rId9"/>
    <p:sldId id="889" r:id="rId10"/>
    <p:sldId id="883" r:id="rId11"/>
    <p:sldId id="886" r:id="rId12"/>
    <p:sldId id="887" r:id="rId13"/>
    <p:sldId id="888" r:id="rId14"/>
    <p:sldId id="884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5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2C375C-65A3-48D3-9865-F56C30195E9B}" v="6" dt="2022-08-26T15:50:23.4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48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DD18F5-C595-4B50-BCA3-5F51E686B946}" type="datetimeFigureOut">
              <a:rPr lang="en-GB" smtClean="0"/>
              <a:t>17/0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D7766D-46A5-4911-BC88-5C80EE022A6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6144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19274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E144DD-8B50-42B3-A3C2-7C6D6F90339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4307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E144DD-8B50-42B3-A3C2-7C6D6F90339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17660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E144DD-8B50-42B3-A3C2-7C6D6F90339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44885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E144DD-8B50-42B3-A3C2-7C6D6F90339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87895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E144DD-8B50-42B3-A3C2-7C6D6F90339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70304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E144DD-8B50-42B3-A3C2-7C6D6F90339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99957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E144DD-8B50-42B3-A3C2-7C6D6F90339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95127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E144DD-8B50-42B3-A3C2-7C6D6F90339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69416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E144DD-8B50-42B3-A3C2-7C6D6F90339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63923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Title slide" type="title">
  <p:cSld name="BIG Title slide">
    <p:bg>
      <p:bgPr>
        <a:solidFill>
          <a:schemeClr val="lt1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5799BC0-FF29-4955-5F2D-662A151468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0778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5799BC0-FF29-4955-5F2D-662A151468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38"/>
          <p:cNvSpPr txBox="1">
            <a:spLocks noGrp="1"/>
          </p:cNvSpPr>
          <p:nvPr>
            <p:ph type="ctrTitle"/>
          </p:nvPr>
        </p:nvSpPr>
        <p:spPr>
          <a:xfrm>
            <a:off x="243440" y="336181"/>
            <a:ext cx="5901600" cy="19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 b="1">
                <a:solidFill>
                  <a:srgbClr val="FFFFFF"/>
                </a:solidFill>
              </a:defRPr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9pPr>
          </a:lstStyle>
          <a:p>
            <a:endParaRPr lang="en-GB"/>
          </a:p>
        </p:txBody>
      </p:sp>
      <p:sp>
        <p:nvSpPr>
          <p:cNvPr id="7" name="Google Shape;84;p26">
            <a:extLst>
              <a:ext uri="{FF2B5EF4-FFF2-40B4-BE49-F238E27FC236}">
                <a16:creationId xmlns:a16="http://schemas.microsoft.com/office/drawing/2014/main" id="{66792272-ABE7-4C72-945B-F36106396D74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1355439" y="6146868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chemeClr val="bg1">
                    <a:lumMod val="10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9686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74B7030-3DBF-4C4E-24C0-CF219DF04F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786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74B7030-3DBF-4C4E-24C0-CF219DF04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0ED71D-EC27-8F28-DB33-B61277AE8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C1DC18-767C-C829-A57C-653269DD58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392A34-FE24-4582-D1C0-9C2991F9ED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316953-DDB2-87E2-6C15-5B1C9855F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8E05FE-FF3D-6D77-AA9A-34F3DBE5E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4A9851-96DF-6037-0DDC-9C066BD62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196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4F05AFE-A993-C7CD-C163-403B1A176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448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4F05AFE-A993-C7CD-C163-403B1A176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46A31A-768F-5709-3DDB-2D882E7DD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A62F904-7829-5244-21EC-066845A3C27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901539-F62C-536A-E9EF-BCF432A8D0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C73EC0-6539-C7A4-453F-7086DB72E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AA9B32-75EF-824B-1589-0AEB4BC23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B47272-5AEF-9AD5-20E0-728676E3F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33160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66306BD-9952-75EE-32D9-891EE93720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3500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66306BD-9952-75EE-32D9-891EE9372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68B34F-854E-DC94-6944-160A32790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93A1CD8-09ED-A17B-3D38-097B061ECD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E82643-9097-D927-5B27-1CA8676A02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E102B5-A279-DFC3-0EA4-6F535460EC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5BCBA9-B2DF-CD3D-8319-1E366827D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37067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35FC0F-3C14-58A2-65E8-A4B9769547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218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935FC0F-3C14-58A2-65E8-A4B9769547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8F5067-3920-FD52-B89B-56ACAE9B707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5D4F82-FEB8-BF14-B5E6-20A790BFA0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D7B2A2-9664-C82E-6F47-016A456A1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9CA04-9521-EA26-0182-1E12166EB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CCB395-E1DB-21F0-C345-9250784DC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04765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Title slide" type="title">
  <p:cSld name="BIG Title slide">
    <p:bg>
      <p:bgPr>
        <a:solidFill>
          <a:schemeClr val="lt1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1AE2475-3EF7-B046-C06F-D466A088F5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872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1AE2475-3EF7-B046-C06F-D466A088F5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38"/>
          <p:cNvSpPr txBox="1">
            <a:spLocks noGrp="1"/>
          </p:cNvSpPr>
          <p:nvPr>
            <p:ph type="ctrTitle"/>
          </p:nvPr>
        </p:nvSpPr>
        <p:spPr>
          <a:xfrm>
            <a:off x="243440" y="336181"/>
            <a:ext cx="5901600" cy="19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 b="1">
                <a:solidFill>
                  <a:srgbClr val="FFFFFF"/>
                </a:solidFill>
              </a:defRPr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9pPr>
          </a:lstStyle>
          <a:p>
            <a:endParaRPr lang="en-GB"/>
          </a:p>
        </p:txBody>
      </p:sp>
      <p:sp>
        <p:nvSpPr>
          <p:cNvPr id="7" name="Google Shape;84;p26">
            <a:extLst>
              <a:ext uri="{FF2B5EF4-FFF2-40B4-BE49-F238E27FC236}">
                <a16:creationId xmlns:a16="http://schemas.microsoft.com/office/drawing/2014/main" id="{66792272-ABE7-4C72-945B-F36106396D74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1355439" y="6146868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chemeClr val="bg1">
                    <a:lumMod val="10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9583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Title slide" type="title" preserve="1">
  <p:cSld name="1_BIG Title slide">
    <p:bg>
      <p:bgPr>
        <a:solidFill>
          <a:schemeClr val="lt1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564FA6-FC57-F30D-413F-53780E0CE0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564FA6-FC57-F30D-413F-53780E0CE0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38"/>
          <p:cNvSpPr txBox="1">
            <a:spLocks noGrp="1"/>
          </p:cNvSpPr>
          <p:nvPr>
            <p:ph type="ctrTitle"/>
          </p:nvPr>
        </p:nvSpPr>
        <p:spPr>
          <a:xfrm>
            <a:off x="243440" y="336181"/>
            <a:ext cx="5901600" cy="19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 b="1">
                <a:solidFill>
                  <a:srgbClr val="FFFFFF"/>
                </a:solidFill>
              </a:defRPr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8000">
                <a:solidFill>
                  <a:srgbClr val="FFFFFF"/>
                </a:solidFill>
              </a:defRPr>
            </a:lvl9pPr>
          </a:lstStyle>
          <a:p>
            <a:endParaRPr lang="en-GB"/>
          </a:p>
        </p:txBody>
      </p:sp>
      <p:sp>
        <p:nvSpPr>
          <p:cNvPr id="7" name="Google Shape;84;p26">
            <a:extLst>
              <a:ext uri="{FF2B5EF4-FFF2-40B4-BE49-F238E27FC236}">
                <a16:creationId xmlns:a16="http://schemas.microsoft.com/office/drawing/2014/main" id="{66792272-ABE7-4C72-945B-F36106396D74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1355439" y="6146868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chemeClr val="bg1">
                    <a:lumMod val="10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230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B696B6F-0C51-BA36-D96D-37DE7F54C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87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B696B6F-0C51-BA36-D96D-37DE7F54C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E557C5-FF64-72E2-83DE-621AE5BC49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0D95B42-C50D-84A5-B681-9C9BF24342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FD29E4-8667-0936-CB5A-3765124743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A8B6D-08B2-0A63-FA05-0544C89725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F9F402-FF20-6B6C-918E-BC83D86E3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92829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1BBAC24-B24F-F3C1-A213-1DB4A2E50D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921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1BBAC24-B24F-F3C1-A213-1DB4A2E50D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41DCD6-310C-CA5F-2FD1-97DF6F99F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79AEB1-423D-619A-A054-E3244B50C5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3D114-C1CE-01AF-B57E-FC23D309C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1044ED-5A14-BA15-510D-3CA3713172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62FE9D-F795-0192-1D60-63990D4E2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807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9CAC3A5-9700-3D2D-DFBC-0C73FD42B8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908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9CAC3A5-9700-3D2D-DFBC-0C73FD42B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EA8009-0C86-61A3-E492-2985B6B9F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F32E0B-D9FF-C6F8-C740-38F9050C78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68E02F-F162-BBEB-543F-D92794FD8F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0DA9C0-28A9-F123-B80A-2DA83914B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9632E0-7DBF-F298-7D0F-46D782356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2514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9157959-D89C-C197-DA2D-3EB5C32353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412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9157959-D89C-C197-DA2D-3EB5C32353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CC4C23-6A96-5621-5DAD-8B0848040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C74498-9B7A-8C53-6CBD-34B3D9A9C2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57F4D4-499F-8157-83E4-0B673C9416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929882-2772-EEDF-498D-15E21ECE0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E48ECF-A129-734F-4F11-114BB2321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993D05-3223-9733-BAEF-BB3226AAB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3450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69998D2-2CCB-1859-7314-300ACAA03D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819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69998D2-2CCB-1859-7314-300ACAA03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F413F5-088B-A149-8B1F-F16221D56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938B18-5D2A-3D7B-5EA5-C776202DEC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CBA129-C402-3515-72A5-4D1A0DC812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F5F047-C716-CFB9-B463-0F4473455D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198A4A0-6475-1CF5-4213-9BEE60BF5D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92DCF6F-4FDB-FDE0-608A-56CFDF6225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C4A699-17A2-5C73-D653-A4EDA14E6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9427A1-B9D2-8DB4-256E-C8C9F0E95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6600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19D446A-53B9-F671-7332-D5F0E0F6E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2446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19D446A-53B9-F671-7332-D5F0E0F6E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7D2331-E9F7-D635-260D-49F777B38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0E6B4C-DACF-3689-987E-5B1216DB4A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DFE926-EA61-6A09-E0DF-277DB331B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CAC529-CBEC-AA32-E843-E3556C173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44084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AB67DE-BDEE-B8D9-E7BB-17D407847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5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AB67DE-BDEE-B8D9-E7BB-17D407847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DA9237-073B-E003-2BE7-7AC7B86EF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050D5F-401B-1D12-3918-8484BC1C8D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E2EE19-915A-C023-BBCE-2363E39D4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4924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BD90F0-906B-472D-8DDC-7BE690657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0605561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BD90F0-906B-472D-8DDC-7BE690657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37"/>
          <p:cNvSpPr txBox="1">
            <a:spLocks noGrp="1"/>
          </p:cNvSpPr>
          <p:nvPr>
            <p:ph type="title"/>
          </p:nvPr>
        </p:nvSpPr>
        <p:spPr>
          <a:xfrm>
            <a:off x="1424133" y="1244600"/>
            <a:ext cx="93964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D2929"/>
              </a:buClr>
              <a:buSzPts val="2400"/>
              <a:buFont typeface="Oswald"/>
              <a:buNone/>
              <a:defRPr sz="2400" b="0" i="0" u="none" strike="noStrike" cap="none">
                <a:solidFill>
                  <a:srgbClr val="2D2929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400"/>
              <a:buFont typeface="Arvo"/>
              <a:buNone/>
              <a:defRPr sz="2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400"/>
              <a:buFont typeface="Arvo"/>
              <a:buNone/>
              <a:defRPr sz="2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400"/>
              <a:buFont typeface="Arvo"/>
              <a:buNone/>
              <a:defRPr sz="2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400"/>
              <a:buFont typeface="Arvo"/>
              <a:buNone/>
              <a:defRPr sz="2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400"/>
              <a:buFont typeface="Arvo"/>
              <a:buNone/>
              <a:defRPr sz="2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400"/>
              <a:buFont typeface="Arvo"/>
              <a:buNone/>
              <a:defRPr sz="2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400"/>
              <a:buFont typeface="Arvo"/>
              <a:buNone/>
              <a:defRPr sz="2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400"/>
              <a:buFont typeface="Arvo"/>
              <a:buNone/>
              <a:defRPr sz="2400" b="0" i="0" u="none" strike="noStrike" cap="none">
                <a:solidFill>
                  <a:srgbClr val="434343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 lang="en-GB"/>
          </a:p>
        </p:txBody>
      </p:sp>
      <p:sp>
        <p:nvSpPr>
          <p:cNvPr id="7" name="Google Shape;7;p37"/>
          <p:cNvSpPr txBox="1">
            <a:spLocks noGrp="1"/>
          </p:cNvSpPr>
          <p:nvPr>
            <p:ph type="body" idx="1"/>
          </p:nvPr>
        </p:nvSpPr>
        <p:spPr>
          <a:xfrm>
            <a:off x="1424133" y="2260600"/>
            <a:ext cx="9396400" cy="33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D2929"/>
              </a:buClr>
              <a:buSzPts val="1300"/>
              <a:buFont typeface="Ubuntu Light"/>
              <a:buChar char="●"/>
              <a:defRPr sz="1300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D2929"/>
              </a:buClr>
              <a:buSzPts val="1300"/>
              <a:buFont typeface="Ubuntu Light"/>
              <a:buChar char="○"/>
              <a:defRPr sz="1300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D2929"/>
              </a:buClr>
              <a:buSzPts val="1200"/>
              <a:buFont typeface="Ubuntu Light"/>
              <a:buChar char="■"/>
              <a:defRPr sz="1200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D2929"/>
              </a:buClr>
              <a:buSzPts val="1200"/>
              <a:buFont typeface="Ubuntu Light"/>
              <a:buChar char="●"/>
              <a:defRPr sz="1200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D2929"/>
              </a:buClr>
              <a:buSzPts val="1100"/>
              <a:buFont typeface="Ubuntu Light"/>
              <a:buChar char="○"/>
              <a:defRPr sz="1100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D2929"/>
              </a:buClr>
              <a:buSzPts val="1100"/>
              <a:buFont typeface="Ubuntu Light"/>
              <a:buChar char="■"/>
              <a:defRPr sz="1100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D2929"/>
              </a:buClr>
              <a:buSzPts val="1000"/>
              <a:buFont typeface="Ubuntu Light"/>
              <a:buChar char="●"/>
              <a:defRPr sz="1000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D2929"/>
              </a:buClr>
              <a:buSzPts val="1000"/>
              <a:buFont typeface="Ubuntu Light"/>
              <a:buChar char="○"/>
              <a:defRPr sz="1000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D2929"/>
              </a:buClr>
              <a:buSzPts val="900"/>
              <a:buFont typeface="Ubuntu Light"/>
              <a:buChar char="■"/>
              <a:defRPr sz="900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endParaRPr lang="en-GB"/>
          </a:p>
        </p:txBody>
      </p:sp>
      <p:sp>
        <p:nvSpPr>
          <p:cNvPr id="10" name="Google Shape;84;p26">
            <a:extLst>
              <a:ext uri="{FF2B5EF4-FFF2-40B4-BE49-F238E27FC236}">
                <a16:creationId xmlns:a16="http://schemas.microsoft.com/office/drawing/2014/main" id="{3C9CDBED-8BCB-4099-B4AA-9C6A30948B4E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1355439" y="6146868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chemeClr val="bg1">
                    <a:lumMod val="10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733" b="0" i="0" u="none" strike="noStrike" cap="none">
                <a:solidFill>
                  <a:srgbClr val="2D2929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688898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7A61C6-D0F1-780F-E97B-BBA650A2C3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3690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9" imgH="401" progId="TCLayout.ActiveDocument.1">
                  <p:embed/>
                </p:oleObj>
              </mc:Choice>
              <mc:Fallback>
                <p:oleObj name="think-cell Slide" r:id="rId15" imgW="399" imgH="40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7A61C6-D0F1-780F-E97B-BBA650A2C3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590E21-1F8C-B916-CA85-C54A7DE427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5F7E5-FBB5-E8F3-8AF7-78393C0A61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4D78DA-837F-E754-A71D-C873B32138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E5E696-B466-4052-86AF-07AEC2786434}" type="datetimeFigureOut">
              <a:rPr lang="en-GB" smtClean="0"/>
              <a:pPr/>
              <a:t>17/0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87421D-7C4B-5582-0949-73427A4A7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4EA24-D311-8918-52BA-39C370B979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8B9077-F404-4461-B35F-E2478D129F1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4150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8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9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0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1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3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5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B559B8-8AB3-42C2-B0E1-0BDD1FBCD4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B559B8-8AB3-42C2-B0E1-0BDD1FBCD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90;p1">
            <a:extLst>
              <a:ext uri="{FF2B5EF4-FFF2-40B4-BE49-F238E27FC236}">
                <a16:creationId xmlns:a16="http://schemas.microsoft.com/office/drawing/2014/main" id="{880CD6F4-1AF6-4BED-8E7C-87952032E365}"/>
              </a:ext>
            </a:extLst>
          </p:cNvPr>
          <p:cNvSpPr txBox="1"/>
          <p:nvPr/>
        </p:nvSpPr>
        <p:spPr>
          <a:xfrm>
            <a:off x="243440" y="2244182"/>
            <a:ext cx="5901600" cy="1083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Oswald"/>
              <a:cs typeface="Poppins" panose="00000500000000000000" pitchFamily="2" charset="0"/>
              <a:sym typeface="Oswald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6C51A3F-20A3-45CE-9D84-A37DC442C2CC}"/>
              </a:ext>
            </a:extLst>
          </p:cNvPr>
          <p:cNvCxnSpPr>
            <a:cxnSpLocks/>
          </p:cNvCxnSpPr>
          <p:nvPr/>
        </p:nvCxnSpPr>
        <p:spPr>
          <a:xfrm>
            <a:off x="341079" y="2650615"/>
            <a:ext cx="1094868" cy="0"/>
          </a:xfrm>
          <a:prstGeom prst="straightConnector1">
            <a:avLst/>
          </a:prstGeom>
          <a:ln w="38100">
            <a:solidFill>
              <a:srgbClr val="1452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62">
            <a:extLst>
              <a:ext uri="{FF2B5EF4-FFF2-40B4-BE49-F238E27FC236}">
                <a16:creationId xmlns:a16="http://schemas.microsoft.com/office/drawing/2014/main" id="{192891C1-FA02-6782-16D6-1150DDE8B9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61" t="-90" r="85570" b="100000"/>
          <a:stretch>
            <a:fillRect/>
          </a:stretch>
        </p:blipFill>
        <p:spPr>
          <a:xfrm>
            <a:off x="5607391" y="0"/>
            <a:ext cx="227961" cy="6179"/>
          </a:xfrm>
          <a:custGeom>
            <a:avLst/>
            <a:gdLst>
              <a:gd name="connsiteX0" fmla="*/ 0 w 227961"/>
              <a:gd name="connsiteY0" fmla="*/ 0 h 6179"/>
              <a:gd name="connsiteX1" fmla="*/ 227961 w 227961"/>
              <a:gd name="connsiteY1" fmla="*/ 0 h 6179"/>
              <a:gd name="connsiteX2" fmla="*/ 227961 w 227961"/>
              <a:gd name="connsiteY2" fmla="*/ 6179 h 6179"/>
              <a:gd name="connsiteX3" fmla="*/ 0 w 227961"/>
              <a:gd name="connsiteY3" fmla="*/ 6179 h 6179"/>
              <a:gd name="connsiteX4" fmla="*/ 0 w 227961"/>
              <a:gd name="connsiteY4" fmla="*/ 0 h 6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961" h="6179">
                <a:moveTo>
                  <a:pt x="0" y="0"/>
                </a:moveTo>
                <a:lnTo>
                  <a:pt x="227961" y="0"/>
                </a:lnTo>
                <a:lnTo>
                  <a:pt x="227961" y="6179"/>
                </a:lnTo>
                <a:lnTo>
                  <a:pt x="0" y="6179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2576E26-03AB-8586-9B16-9320EBBDA0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33" t="-90" r="56599" b="100000"/>
          <a:stretch>
            <a:fillRect/>
          </a:stretch>
        </p:blipFill>
        <p:spPr>
          <a:xfrm>
            <a:off x="7567911" y="0"/>
            <a:ext cx="227961" cy="6179"/>
          </a:xfrm>
          <a:custGeom>
            <a:avLst/>
            <a:gdLst>
              <a:gd name="connsiteX0" fmla="*/ 0 w 227961"/>
              <a:gd name="connsiteY0" fmla="*/ 0 h 6179"/>
              <a:gd name="connsiteX1" fmla="*/ 227961 w 227961"/>
              <a:gd name="connsiteY1" fmla="*/ 0 h 6179"/>
              <a:gd name="connsiteX2" fmla="*/ 227961 w 227961"/>
              <a:gd name="connsiteY2" fmla="*/ 6179 h 6179"/>
              <a:gd name="connsiteX3" fmla="*/ 0 w 227961"/>
              <a:gd name="connsiteY3" fmla="*/ 6179 h 6179"/>
              <a:gd name="connsiteX4" fmla="*/ 0 w 227961"/>
              <a:gd name="connsiteY4" fmla="*/ 0 h 6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961" h="6179">
                <a:moveTo>
                  <a:pt x="0" y="0"/>
                </a:moveTo>
                <a:lnTo>
                  <a:pt x="227961" y="0"/>
                </a:lnTo>
                <a:lnTo>
                  <a:pt x="227961" y="6179"/>
                </a:lnTo>
                <a:lnTo>
                  <a:pt x="0" y="6179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FD112019-6E78-C955-AD04-174AFFE410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268" t="-90" r="17364" b="100000"/>
          <a:stretch>
            <a:fillRect/>
          </a:stretch>
        </p:blipFill>
        <p:spPr>
          <a:xfrm>
            <a:off x="10222978" y="0"/>
            <a:ext cx="227961" cy="6179"/>
          </a:xfrm>
          <a:custGeom>
            <a:avLst/>
            <a:gdLst>
              <a:gd name="connsiteX0" fmla="*/ 0 w 227961"/>
              <a:gd name="connsiteY0" fmla="*/ 0 h 6179"/>
              <a:gd name="connsiteX1" fmla="*/ 227961 w 227961"/>
              <a:gd name="connsiteY1" fmla="*/ 0 h 6179"/>
              <a:gd name="connsiteX2" fmla="*/ 227961 w 227961"/>
              <a:gd name="connsiteY2" fmla="*/ 6179 h 6179"/>
              <a:gd name="connsiteX3" fmla="*/ 0 w 227961"/>
              <a:gd name="connsiteY3" fmla="*/ 6179 h 6179"/>
              <a:gd name="connsiteX4" fmla="*/ 0 w 227961"/>
              <a:gd name="connsiteY4" fmla="*/ 0 h 6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961" h="6179">
                <a:moveTo>
                  <a:pt x="0" y="0"/>
                </a:moveTo>
                <a:lnTo>
                  <a:pt x="227961" y="0"/>
                </a:lnTo>
                <a:lnTo>
                  <a:pt x="227961" y="6179"/>
                </a:lnTo>
                <a:lnTo>
                  <a:pt x="0" y="6179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FB0E7DF7-0CF1-9B29-C4A0-C469BDDDAD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30" r="59967" b="47528"/>
          <a:stretch>
            <a:fillRect/>
          </a:stretch>
        </p:blipFill>
        <p:spPr>
          <a:xfrm>
            <a:off x="5835352" y="6158"/>
            <a:ext cx="1732559" cy="3586563"/>
          </a:xfrm>
          <a:custGeom>
            <a:avLst/>
            <a:gdLst>
              <a:gd name="connsiteX0" fmla="*/ 0 w 1732559"/>
              <a:gd name="connsiteY0" fmla="*/ 0 h 3598515"/>
              <a:gd name="connsiteX1" fmla="*/ 1732559 w 1732559"/>
              <a:gd name="connsiteY1" fmla="*/ 0 h 3598515"/>
              <a:gd name="connsiteX2" fmla="*/ 1732559 w 1732559"/>
              <a:gd name="connsiteY2" fmla="*/ 3295503 h 3598515"/>
              <a:gd name="connsiteX3" fmla="*/ 0 w 1732559"/>
              <a:gd name="connsiteY3" fmla="*/ 3598515 h 3598515"/>
              <a:gd name="connsiteX4" fmla="*/ 0 w 1732559"/>
              <a:gd name="connsiteY4" fmla="*/ 0 h 3598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2559" h="3598515">
                <a:moveTo>
                  <a:pt x="0" y="0"/>
                </a:moveTo>
                <a:lnTo>
                  <a:pt x="1732559" y="0"/>
                </a:lnTo>
                <a:lnTo>
                  <a:pt x="1732559" y="3295503"/>
                </a:lnTo>
                <a:lnTo>
                  <a:pt x="0" y="3598515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88C2AA4-19E7-3C12-6A01-74D111A083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01" r="20732" b="77973"/>
          <a:stretch>
            <a:fillRect/>
          </a:stretch>
        </p:blipFill>
        <p:spPr>
          <a:xfrm>
            <a:off x="7834427" y="0"/>
            <a:ext cx="2427106" cy="1505565"/>
          </a:xfrm>
          <a:custGeom>
            <a:avLst/>
            <a:gdLst>
              <a:gd name="connsiteX0" fmla="*/ 0 w 2427106"/>
              <a:gd name="connsiteY0" fmla="*/ 0 h 1510582"/>
              <a:gd name="connsiteX1" fmla="*/ 2427106 w 2427106"/>
              <a:gd name="connsiteY1" fmla="*/ 0 h 1510582"/>
              <a:gd name="connsiteX2" fmla="*/ 2427106 w 2427106"/>
              <a:gd name="connsiteY2" fmla="*/ 1096857 h 1510582"/>
              <a:gd name="connsiteX3" fmla="*/ 0 w 2427106"/>
              <a:gd name="connsiteY3" fmla="*/ 1510582 h 1510582"/>
              <a:gd name="connsiteX4" fmla="*/ 0 w 2427106"/>
              <a:gd name="connsiteY4" fmla="*/ 0 h 1510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7106" h="1510582">
                <a:moveTo>
                  <a:pt x="0" y="0"/>
                </a:moveTo>
                <a:lnTo>
                  <a:pt x="2427106" y="0"/>
                </a:lnTo>
                <a:lnTo>
                  <a:pt x="2427106" y="1096857"/>
                </a:lnTo>
                <a:lnTo>
                  <a:pt x="0" y="1510582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85" name="Google Shape;129;p12">
            <a:extLst>
              <a:ext uri="{FF2B5EF4-FFF2-40B4-BE49-F238E27FC236}">
                <a16:creationId xmlns:a16="http://schemas.microsoft.com/office/drawing/2014/main" id="{9BD98FBE-4656-CA20-37C8-62576C6AF1EC}"/>
              </a:ext>
            </a:extLst>
          </p:cNvPr>
          <p:cNvSpPr/>
          <p:nvPr/>
        </p:nvSpPr>
        <p:spPr>
          <a:xfrm>
            <a:off x="5767230" y="4209"/>
            <a:ext cx="1877791" cy="1187130"/>
          </a:xfrm>
          <a:custGeom>
            <a:avLst/>
            <a:gdLst>
              <a:gd name="connsiteX0" fmla="*/ 0 w 21600"/>
              <a:gd name="connsiteY0" fmla="*/ 25634 h 25634"/>
              <a:gd name="connsiteX1" fmla="*/ 21600 w 21600"/>
              <a:gd name="connsiteY1" fmla="*/ 19177 h 25634"/>
              <a:gd name="connsiteX2" fmla="*/ 21600 w 21600"/>
              <a:gd name="connsiteY2" fmla="*/ 0 h 25634"/>
              <a:gd name="connsiteX3" fmla="*/ 0 w 21600"/>
              <a:gd name="connsiteY3" fmla="*/ 2423 h 25634"/>
              <a:gd name="connsiteX4" fmla="*/ 0 w 21600"/>
              <a:gd name="connsiteY4" fmla="*/ 25634 h 25634"/>
              <a:gd name="connsiteX0" fmla="*/ 0 w 21600"/>
              <a:gd name="connsiteY0" fmla="*/ 25634 h 25634"/>
              <a:gd name="connsiteX1" fmla="*/ 21600 w 21600"/>
              <a:gd name="connsiteY1" fmla="*/ 19177 h 25634"/>
              <a:gd name="connsiteX2" fmla="*/ 21600 w 21600"/>
              <a:gd name="connsiteY2" fmla="*/ 0 h 25634"/>
              <a:gd name="connsiteX3" fmla="*/ 0 w 21600"/>
              <a:gd name="connsiteY3" fmla="*/ 88 h 25634"/>
              <a:gd name="connsiteX4" fmla="*/ 0 w 21600"/>
              <a:gd name="connsiteY4" fmla="*/ 25634 h 25634"/>
              <a:gd name="connsiteX0" fmla="*/ 0 w 21600"/>
              <a:gd name="connsiteY0" fmla="*/ 25634 h 25634"/>
              <a:gd name="connsiteX1" fmla="*/ 21600 w 21600"/>
              <a:gd name="connsiteY1" fmla="*/ 19808 h 25634"/>
              <a:gd name="connsiteX2" fmla="*/ 21600 w 21600"/>
              <a:gd name="connsiteY2" fmla="*/ 0 h 25634"/>
              <a:gd name="connsiteX3" fmla="*/ 0 w 21600"/>
              <a:gd name="connsiteY3" fmla="*/ 88 h 25634"/>
              <a:gd name="connsiteX4" fmla="*/ 0 w 21600"/>
              <a:gd name="connsiteY4" fmla="*/ 25634 h 25634"/>
              <a:gd name="connsiteX0" fmla="*/ 0 w 21600"/>
              <a:gd name="connsiteY0" fmla="*/ 25634 h 25634"/>
              <a:gd name="connsiteX1" fmla="*/ 21444 w 21600"/>
              <a:gd name="connsiteY1" fmla="*/ 18265 h 25634"/>
              <a:gd name="connsiteX2" fmla="*/ 21600 w 21600"/>
              <a:gd name="connsiteY2" fmla="*/ 0 h 25634"/>
              <a:gd name="connsiteX3" fmla="*/ 0 w 21600"/>
              <a:gd name="connsiteY3" fmla="*/ 88 h 25634"/>
              <a:gd name="connsiteX4" fmla="*/ 0 w 21600"/>
              <a:gd name="connsiteY4" fmla="*/ 25634 h 25634"/>
              <a:gd name="connsiteX0" fmla="*/ 0 w 21600"/>
              <a:gd name="connsiteY0" fmla="*/ 25634 h 25634"/>
              <a:gd name="connsiteX1" fmla="*/ 21366 w 21600"/>
              <a:gd name="connsiteY1" fmla="*/ 18967 h 25634"/>
              <a:gd name="connsiteX2" fmla="*/ 21600 w 21600"/>
              <a:gd name="connsiteY2" fmla="*/ 0 h 25634"/>
              <a:gd name="connsiteX3" fmla="*/ 0 w 21600"/>
              <a:gd name="connsiteY3" fmla="*/ 88 h 25634"/>
              <a:gd name="connsiteX4" fmla="*/ 0 w 21600"/>
              <a:gd name="connsiteY4" fmla="*/ 25634 h 25634"/>
              <a:gd name="connsiteX0" fmla="*/ 156 w 21600"/>
              <a:gd name="connsiteY0" fmla="*/ 25494 h 25494"/>
              <a:gd name="connsiteX1" fmla="*/ 21366 w 21600"/>
              <a:gd name="connsiteY1" fmla="*/ 18967 h 25494"/>
              <a:gd name="connsiteX2" fmla="*/ 21600 w 21600"/>
              <a:gd name="connsiteY2" fmla="*/ 0 h 25494"/>
              <a:gd name="connsiteX3" fmla="*/ 0 w 21600"/>
              <a:gd name="connsiteY3" fmla="*/ 88 h 25494"/>
              <a:gd name="connsiteX4" fmla="*/ 156 w 21600"/>
              <a:gd name="connsiteY4" fmla="*/ 25494 h 25494"/>
              <a:gd name="connsiteX0" fmla="*/ 0 w 21669"/>
              <a:gd name="connsiteY0" fmla="*/ 25915 h 25915"/>
              <a:gd name="connsiteX1" fmla="*/ 21435 w 21669"/>
              <a:gd name="connsiteY1" fmla="*/ 18967 h 25915"/>
              <a:gd name="connsiteX2" fmla="*/ 21669 w 21669"/>
              <a:gd name="connsiteY2" fmla="*/ 0 h 25915"/>
              <a:gd name="connsiteX3" fmla="*/ 69 w 21669"/>
              <a:gd name="connsiteY3" fmla="*/ 88 h 25915"/>
              <a:gd name="connsiteX4" fmla="*/ 0 w 21669"/>
              <a:gd name="connsiteY4" fmla="*/ 25915 h 25915"/>
              <a:gd name="connsiteX0" fmla="*/ 0 w 21642"/>
              <a:gd name="connsiteY0" fmla="*/ 26231 h 26231"/>
              <a:gd name="connsiteX1" fmla="*/ 21408 w 21642"/>
              <a:gd name="connsiteY1" fmla="*/ 18967 h 26231"/>
              <a:gd name="connsiteX2" fmla="*/ 21642 w 21642"/>
              <a:gd name="connsiteY2" fmla="*/ 0 h 26231"/>
              <a:gd name="connsiteX3" fmla="*/ 42 w 21642"/>
              <a:gd name="connsiteY3" fmla="*/ 88 h 26231"/>
              <a:gd name="connsiteX4" fmla="*/ 0 w 21642"/>
              <a:gd name="connsiteY4" fmla="*/ 26231 h 26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42" h="26231" extrusionOk="0">
                <a:moveTo>
                  <a:pt x="0" y="26231"/>
                </a:moveTo>
                <a:lnTo>
                  <a:pt x="21408" y="18967"/>
                </a:lnTo>
                <a:lnTo>
                  <a:pt x="21642" y="0"/>
                </a:lnTo>
                <a:lnTo>
                  <a:pt x="42" y="88"/>
                </a:lnTo>
                <a:cubicBezTo>
                  <a:pt x="28" y="8802"/>
                  <a:pt x="14" y="17517"/>
                  <a:pt x="0" y="262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ea typeface="Calibri"/>
              <a:cs typeface="Poppins" panose="00000500000000000000" pitchFamily="2" charset="0"/>
              <a:sym typeface="Calibri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4CD092B8-E93F-CD2D-8E5E-82BE17F4EDF9}"/>
              </a:ext>
            </a:extLst>
          </p:cNvPr>
          <p:cNvSpPr/>
          <p:nvPr/>
        </p:nvSpPr>
        <p:spPr>
          <a:xfrm>
            <a:off x="10301056" y="4356227"/>
            <a:ext cx="1315356" cy="250788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23" name="Google Shape;129;p12">
            <a:extLst>
              <a:ext uri="{FF2B5EF4-FFF2-40B4-BE49-F238E27FC236}">
                <a16:creationId xmlns:a16="http://schemas.microsoft.com/office/drawing/2014/main" id="{5036FD65-07B4-CC34-ADC1-3C304EA27EC0}"/>
              </a:ext>
            </a:extLst>
          </p:cNvPr>
          <p:cNvSpPr/>
          <p:nvPr/>
        </p:nvSpPr>
        <p:spPr>
          <a:xfrm>
            <a:off x="5822049" y="869307"/>
            <a:ext cx="1743560" cy="2731134"/>
          </a:xfrm>
          <a:custGeom>
            <a:avLst/>
            <a:gdLst>
              <a:gd name="connsiteX0" fmla="*/ 0 w 21600"/>
              <a:gd name="connsiteY0" fmla="*/ 21600 h 21600"/>
              <a:gd name="connsiteX1" fmla="*/ 21600 w 21600"/>
              <a:gd name="connsiteY1" fmla="*/ 18983 h 21600"/>
              <a:gd name="connsiteX2" fmla="*/ 21600 w 21600"/>
              <a:gd name="connsiteY2" fmla="*/ 0 h 21600"/>
              <a:gd name="connsiteX3" fmla="*/ 0 w 21600"/>
              <a:gd name="connsiteY3" fmla="*/ 2423 h 21600"/>
              <a:gd name="connsiteX4" fmla="*/ 0 w 21600"/>
              <a:gd name="connsiteY4" fmla="*/ 21600 h 21600"/>
              <a:gd name="connsiteX0" fmla="*/ 117 w 21600"/>
              <a:gd name="connsiteY0" fmla="*/ 21334 h 21334"/>
              <a:gd name="connsiteX1" fmla="*/ 21600 w 21600"/>
              <a:gd name="connsiteY1" fmla="*/ 18983 h 21334"/>
              <a:gd name="connsiteX2" fmla="*/ 21600 w 21600"/>
              <a:gd name="connsiteY2" fmla="*/ 0 h 21334"/>
              <a:gd name="connsiteX3" fmla="*/ 0 w 21600"/>
              <a:gd name="connsiteY3" fmla="*/ 2423 h 21334"/>
              <a:gd name="connsiteX4" fmla="*/ 117 w 21600"/>
              <a:gd name="connsiteY4" fmla="*/ 21334 h 21334"/>
              <a:gd name="connsiteX0" fmla="*/ 117 w 21600"/>
              <a:gd name="connsiteY0" fmla="*/ 21261 h 21261"/>
              <a:gd name="connsiteX1" fmla="*/ 21600 w 21600"/>
              <a:gd name="connsiteY1" fmla="*/ 18983 h 21261"/>
              <a:gd name="connsiteX2" fmla="*/ 21600 w 21600"/>
              <a:gd name="connsiteY2" fmla="*/ 0 h 21261"/>
              <a:gd name="connsiteX3" fmla="*/ 0 w 21600"/>
              <a:gd name="connsiteY3" fmla="*/ 2423 h 21261"/>
              <a:gd name="connsiteX4" fmla="*/ 117 w 21600"/>
              <a:gd name="connsiteY4" fmla="*/ 21261 h 21261"/>
              <a:gd name="connsiteX0" fmla="*/ 117 w 21600"/>
              <a:gd name="connsiteY0" fmla="*/ 21261 h 21261"/>
              <a:gd name="connsiteX1" fmla="*/ 21600 w 21600"/>
              <a:gd name="connsiteY1" fmla="*/ 18983 h 21261"/>
              <a:gd name="connsiteX2" fmla="*/ 21600 w 21600"/>
              <a:gd name="connsiteY2" fmla="*/ 0 h 21261"/>
              <a:gd name="connsiteX3" fmla="*/ 0 w 21600"/>
              <a:gd name="connsiteY3" fmla="*/ 2423 h 21261"/>
              <a:gd name="connsiteX4" fmla="*/ 117 w 21600"/>
              <a:gd name="connsiteY4" fmla="*/ 21261 h 21261"/>
              <a:gd name="connsiteX0" fmla="*/ 0 w 21483"/>
              <a:gd name="connsiteY0" fmla="*/ 21261 h 21261"/>
              <a:gd name="connsiteX1" fmla="*/ 21483 w 21483"/>
              <a:gd name="connsiteY1" fmla="*/ 18983 h 21261"/>
              <a:gd name="connsiteX2" fmla="*/ 21483 w 21483"/>
              <a:gd name="connsiteY2" fmla="*/ 0 h 21261"/>
              <a:gd name="connsiteX3" fmla="*/ 196 w 21483"/>
              <a:gd name="connsiteY3" fmla="*/ 2835 h 21261"/>
              <a:gd name="connsiteX4" fmla="*/ 0 w 21483"/>
              <a:gd name="connsiteY4" fmla="*/ 21261 h 21261"/>
              <a:gd name="connsiteX0" fmla="*/ 0 w 21483"/>
              <a:gd name="connsiteY0" fmla="*/ 20728 h 20728"/>
              <a:gd name="connsiteX1" fmla="*/ 21483 w 21483"/>
              <a:gd name="connsiteY1" fmla="*/ 18450 h 20728"/>
              <a:gd name="connsiteX2" fmla="*/ 21483 w 21483"/>
              <a:gd name="connsiteY2" fmla="*/ 0 h 20728"/>
              <a:gd name="connsiteX3" fmla="*/ 196 w 21483"/>
              <a:gd name="connsiteY3" fmla="*/ 2302 h 20728"/>
              <a:gd name="connsiteX4" fmla="*/ 0 w 21483"/>
              <a:gd name="connsiteY4" fmla="*/ 20728 h 20728"/>
              <a:gd name="connsiteX0" fmla="*/ 0 w 21483"/>
              <a:gd name="connsiteY0" fmla="*/ 20825 h 20825"/>
              <a:gd name="connsiteX1" fmla="*/ 21483 w 21483"/>
              <a:gd name="connsiteY1" fmla="*/ 18547 h 20825"/>
              <a:gd name="connsiteX2" fmla="*/ 21483 w 21483"/>
              <a:gd name="connsiteY2" fmla="*/ 0 h 20825"/>
              <a:gd name="connsiteX3" fmla="*/ 196 w 21483"/>
              <a:gd name="connsiteY3" fmla="*/ 2399 h 20825"/>
              <a:gd name="connsiteX4" fmla="*/ 0 w 21483"/>
              <a:gd name="connsiteY4" fmla="*/ 20825 h 20825"/>
              <a:gd name="connsiteX0" fmla="*/ 0 w 21483"/>
              <a:gd name="connsiteY0" fmla="*/ 20825 h 20825"/>
              <a:gd name="connsiteX1" fmla="*/ 21483 w 21483"/>
              <a:gd name="connsiteY1" fmla="*/ 18547 h 20825"/>
              <a:gd name="connsiteX2" fmla="*/ 21483 w 21483"/>
              <a:gd name="connsiteY2" fmla="*/ 0 h 20825"/>
              <a:gd name="connsiteX3" fmla="*/ 196 w 21483"/>
              <a:gd name="connsiteY3" fmla="*/ 2351 h 20825"/>
              <a:gd name="connsiteX4" fmla="*/ 0 w 21483"/>
              <a:gd name="connsiteY4" fmla="*/ 20825 h 20825"/>
              <a:gd name="connsiteX0" fmla="*/ 0 w 21483"/>
              <a:gd name="connsiteY0" fmla="*/ 20825 h 20825"/>
              <a:gd name="connsiteX1" fmla="*/ 21483 w 21483"/>
              <a:gd name="connsiteY1" fmla="*/ 18547 h 20825"/>
              <a:gd name="connsiteX2" fmla="*/ 21483 w 21483"/>
              <a:gd name="connsiteY2" fmla="*/ 0 h 20825"/>
              <a:gd name="connsiteX3" fmla="*/ 157 w 21483"/>
              <a:gd name="connsiteY3" fmla="*/ 2351 h 20825"/>
              <a:gd name="connsiteX4" fmla="*/ 0 w 21483"/>
              <a:gd name="connsiteY4" fmla="*/ 20825 h 2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483" h="20825" extrusionOk="0">
                <a:moveTo>
                  <a:pt x="0" y="20825"/>
                </a:moveTo>
                <a:lnTo>
                  <a:pt x="21483" y="18547"/>
                </a:lnTo>
                <a:lnTo>
                  <a:pt x="21483" y="0"/>
                </a:lnTo>
                <a:lnTo>
                  <a:pt x="157" y="2351"/>
                </a:lnTo>
                <a:cubicBezTo>
                  <a:pt x="92" y="8493"/>
                  <a:pt x="65" y="14683"/>
                  <a:pt x="0" y="20825"/>
                </a:cubicBezTo>
                <a:close/>
              </a:path>
            </a:pathLst>
          </a:custGeom>
          <a:solidFill>
            <a:srgbClr val="6BB4DA">
              <a:alpha val="46000"/>
            </a:srgbClr>
          </a:solidFill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ea typeface="Calibri"/>
              <a:cs typeface="Poppins" panose="00000500000000000000" pitchFamily="2" charset="0"/>
              <a:sym typeface="Calibri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C2E0D4B7-B203-7FE2-079C-A452D0B6B6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25231" y="0"/>
            <a:ext cx="6883814" cy="6858000"/>
          </a:xfrm>
          <a:custGeom>
            <a:avLst/>
            <a:gdLst>
              <a:gd name="connsiteX0" fmla="*/ 141714 w 6883814"/>
              <a:gd name="connsiteY0" fmla="*/ 6726411 h 6858000"/>
              <a:gd name="connsiteX1" fmla="*/ 142357 w 6883814"/>
              <a:gd name="connsiteY1" fmla="*/ 6857999 h 6858000"/>
              <a:gd name="connsiteX2" fmla="*/ 872634 w 6883814"/>
              <a:gd name="connsiteY2" fmla="*/ 6857999 h 6858000"/>
              <a:gd name="connsiteX3" fmla="*/ 872634 w 6883814"/>
              <a:gd name="connsiteY3" fmla="*/ 6858000 h 6858000"/>
              <a:gd name="connsiteX4" fmla="*/ 0 w 6883814"/>
              <a:gd name="connsiteY4" fmla="*/ 6858000 h 6858000"/>
              <a:gd name="connsiteX5" fmla="*/ 0 w 6883814"/>
              <a:gd name="connsiteY5" fmla="*/ 6857999 h 6858000"/>
              <a:gd name="connsiteX6" fmla="*/ 141714 w 6883814"/>
              <a:gd name="connsiteY6" fmla="*/ 6857999 h 6858000"/>
              <a:gd name="connsiteX7" fmla="*/ 6883814 w 6883814"/>
              <a:gd name="connsiteY7" fmla="*/ 4163016 h 6858000"/>
              <a:gd name="connsiteX8" fmla="*/ 6883814 w 6883814"/>
              <a:gd name="connsiteY8" fmla="*/ 5716567 h 6858000"/>
              <a:gd name="connsiteX9" fmla="*/ 6881972 w 6883814"/>
              <a:gd name="connsiteY9" fmla="*/ 5717623 h 6858000"/>
              <a:gd name="connsiteX10" fmla="*/ 6881972 w 6883814"/>
              <a:gd name="connsiteY10" fmla="*/ 5715517 h 6858000"/>
              <a:gd name="connsiteX11" fmla="*/ 5716182 w 6883814"/>
              <a:gd name="connsiteY11" fmla="*/ 5928691 h 6858000"/>
              <a:gd name="connsiteX12" fmla="*/ 5716182 w 6883814"/>
              <a:gd name="connsiteY12" fmla="*/ 4568230 h 6858000"/>
              <a:gd name="connsiteX13" fmla="*/ 6883497 w 6883814"/>
              <a:gd name="connsiteY13" fmla="*/ 4360795 h 6858000"/>
              <a:gd name="connsiteX14" fmla="*/ 6883814 w 6883814"/>
              <a:gd name="connsiteY14" fmla="*/ 4163016 h 6858000"/>
              <a:gd name="connsiteX15" fmla="*/ 2833154 w 6883814"/>
              <a:gd name="connsiteY15" fmla="*/ 3547668 h 6858000"/>
              <a:gd name="connsiteX16" fmla="*/ 2833154 w 6883814"/>
              <a:gd name="connsiteY16" fmla="*/ 6858000 h 6858000"/>
              <a:gd name="connsiteX17" fmla="*/ 1100595 w 6883814"/>
              <a:gd name="connsiteY17" fmla="*/ 6858000 h 6858000"/>
              <a:gd name="connsiteX18" fmla="*/ 1100595 w 6883814"/>
              <a:gd name="connsiteY18" fmla="*/ 3859618 h 6858000"/>
              <a:gd name="connsiteX19" fmla="*/ 5488221 w 6883814"/>
              <a:gd name="connsiteY19" fmla="*/ 1335152 h 6858000"/>
              <a:gd name="connsiteX20" fmla="*/ 5488221 w 6883814"/>
              <a:gd name="connsiteY20" fmla="*/ 6858000 h 6858000"/>
              <a:gd name="connsiteX21" fmla="*/ 3061115 w 6883814"/>
              <a:gd name="connsiteY21" fmla="*/ 6858000 h 6858000"/>
              <a:gd name="connsiteX22" fmla="*/ 3061115 w 6883814"/>
              <a:gd name="connsiteY22" fmla="*/ 1778627 h 6858000"/>
              <a:gd name="connsiteX23" fmla="*/ 6883814 w 6883814"/>
              <a:gd name="connsiteY23" fmla="*/ 299122 h 6858000"/>
              <a:gd name="connsiteX24" fmla="*/ 6883814 w 6883814"/>
              <a:gd name="connsiteY24" fmla="*/ 4163016 h 6858000"/>
              <a:gd name="connsiteX25" fmla="*/ 5716182 w 6883814"/>
              <a:gd name="connsiteY25" fmla="*/ 4365300 h 6858000"/>
              <a:gd name="connsiteX26" fmla="*/ 5716182 w 6883814"/>
              <a:gd name="connsiteY26" fmla="*/ 648839 h 6858000"/>
              <a:gd name="connsiteX27" fmla="*/ 6883497 w 6883814"/>
              <a:gd name="connsiteY27" fmla="*/ 487407 h 6858000"/>
              <a:gd name="connsiteX28" fmla="*/ 6883814 w 6883814"/>
              <a:gd name="connsiteY28" fmla="*/ 299122 h 6858000"/>
              <a:gd name="connsiteX29" fmla="*/ 5713665 w 6883814"/>
              <a:gd name="connsiteY29" fmla="*/ 0 h 6858000"/>
              <a:gd name="connsiteX30" fmla="*/ 6883814 w 6883814"/>
              <a:gd name="connsiteY30" fmla="*/ 0 h 6858000"/>
              <a:gd name="connsiteX31" fmla="*/ 6883814 w 6883814"/>
              <a:gd name="connsiteY31" fmla="*/ 299122 h 6858000"/>
              <a:gd name="connsiteX32" fmla="*/ 5716182 w 6883814"/>
              <a:gd name="connsiteY32" fmla="*/ 444631 h 6858000"/>
              <a:gd name="connsiteX33" fmla="*/ 5716182 w 6883814"/>
              <a:gd name="connsiteY33" fmla="*/ 22779 h 6858000"/>
              <a:gd name="connsiteX34" fmla="*/ 5713665 w 6883814"/>
              <a:gd name="connsiteY34" fmla="*/ 22779 h 6858000"/>
              <a:gd name="connsiteX35" fmla="*/ 3109196 w 6883814"/>
              <a:gd name="connsiteY35" fmla="*/ 0 h 6858000"/>
              <a:gd name="connsiteX36" fmla="*/ 5536302 w 6883814"/>
              <a:gd name="connsiteY36" fmla="*/ 0 h 6858000"/>
              <a:gd name="connsiteX37" fmla="*/ 5536302 w 6883814"/>
              <a:gd name="connsiteY37" fmla="*/ 22779 h 6858000"/>
              <a:gd name="connsiteX38" fmla="*/ 3109196 w 6883814"/>
              <a:gd name="connsiteY38" fmla="*/ 22779 h 6858000"/>
              <a:gd name="connsiteX39" fmla="*/ 141714 w 6883814"/>
              <a:gd name="connsiteY39" fmla="*/ 0 h 6858000"/>
              <a:gd name="connsiteX40" fmla="*/ 872025 w 6883814"/>
              <a:gd name="connsiteY40" fmla="*/ 0 h 6858000"/>
              <a:gd name="connsiteX41" fmla="*/ 872025 w 6883814"/>
              <a:gd name="connsiteY41" fmla="*/ 596752 h 6858000"/>
              <a:gd name="connsiteX42" fmla="*/ 872634 w 6883814"/>
              <a:gd name="connsiteY42" fmla="*/ 596752 h 6858000"/>
              <a:gd name="connsiteX43" fmla="*/ 872634 w 6883814"/>
              <a:gd name="connsiteY43" fmla="*/ 2144289 h 6858000"/>
              <a:gd name="connsiteX44" fmla="*/ 141714 w 6883814"/>
              <a:gd name="connsiteY44" fmla="*/ 22998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883814" h="6858000">
                <a:moveTo>
                  <a:pt x="141714" y="6726411"/>
                </a:moveTo>
                <a:lnTo>
                  <a:pt x="142357" y="6857999"/>
                </a:lnTo>
                <a:lnTo>
                  <a:pt x="872634" y="6857999"/>
                </a:lnTo>
                <a:lnTo>
                  <a:pt x="872634" y="6858000"/>
                </a:lnTo>
                <a:lnTo>
                  <a:pt x="0" y="6858000"/>
                </a:lnTo>
                <a:lnTo>
                  <a:pt x="0" y="6857999"/>
                </a:lnTo>
                <a:lnTo>
                  <a:pt x="141714" y="6857999"/>
                </a:lnTo>
                <a:close/>
                <a:moveTo>
                  <a:pt x="6883814" y="4163016"/>
                </a:moveTo>
                <a:lnTo>
                  <a:pt x="6883814" y="5716567"/>
                </a:lnTo>
                <a:lnTo>
                  <a:pt x="6881972" y="5717623"/>
                </a:lnTo>
                <a:lnTo>
                  <a:pt x="6881972" y="5715517"/>
                </a:lnTo>
                <a:lnTo>
                  <a:pt x="5716182" y="5928691"/>
                </a:lnTo>
                <a:lnTo>
                  <a:pt x="5716182" y="4568230"/>
                </a:lnTo>
                <a:lnTo>
                  <a:pt x="6883497" y="4360795"/>
                </a:lnTo>
                <a:cubicBezTo>
                  <a:pt x="6883814" y="4289278"/>
                  <a:pt x="6883497" y="4234533"/>
                  <a:pt x="6883814" y="4163016"/>
                </a:cubicBezTo>
                <a:close/>
                <a:moveTo>
                  <a:pt x="2833154" y="3547668"/>
                </a:moveTo>
                <a:lnTo>
                  <a:pt x="2833154" y="6858000"/>
                </a:lnTo>
                <a:lnTo>
                  <a:pt x="1100595" y="6858000"/>
                </a:lnTo>
                <a:lnTo>
                  <a:pt x="1100595" y="3859618"/>
                </a:lnTo>
                <a:close/>
                <a:moveTo>
                  <a:pt x="5488221" y="1335152"/>
                </a:moveTo>
                <a:lnTo>
                  <a:pt x="5488221" y="6858000"/>
                </a:lnTo>
                <a:lnTo>
                  <a:pt x="3061115" y="6858000"/>
                </a:lnTo>
                <a:lnTo>
                  <a:pt x="3061115" y="1778627"/>
                </a:lnTo>
                <a:close/>
                <a:moveTo>
                  <a:pt x="6883814" y="299122"/>
                </a:moveTo>
                <a:lnTo>
                  <a:pt x="6883814" y="4163016"/>
                </a:lnTo>
                <a:lnTo>
                  <a:pt x="5716182" y="4365300"/>
                </a:lnTo>
                <a:lnTo>
                  <a:pt x="5716182" y="648839"/>
                </a:lnTo>
                <a:lnTo>
                  <a:pt x="6883497" y="487407"/>
                </a:lnTo>
                <a:cubicBezTo>
                  <a:pt x="6883814" y="415890"/>
                  <a:pt x="6883497" y="370639"/>
                  <a:pt x="6883814" y="299122"/>
                </a:cubicBezTo>
                <a:close/>
                <a:moveTo>
                  <a:pt x="5713665" y="0"/>
                </a:moveTo>
                <a:lnTo>
                  <a:pt x="6883814" y="0"/>
                </a:lnTo>
                <a:lnTo>
                  <a:pt x="6883814" y="299122"/>
                </a:lnTo>
                <a:lnTo>
                  <a:pt x="5716182" y="444631"/>
                </a:lnTo>
                <a:lnTo>
                  <a:pt x="5716182" y="22779"/>
                </a:lnTo>
                <a:lnTo>
                  <a:pt x="5713665" y="22779"/>
                </a:lnTo>
                <a:close/>
                <a:moveTo>
                  <a:pt x="3109196" y="0"/>
                </a:moveTo>
                <a:lnTo>
                  <a:pt x="5536302" y="0"/>
                </a:lnTo>
                <a:lnTo>
                  <a:pt x="5536302" y="22779"/>
                </a:lnTo>
                <a:lnTo>
                  <a:pt x="3109196" y="22779"/>
                </a:lnTo>
                <a:close/>
                <a:moveTo>
                  <a:pt x="141714" y="0"/>
                </a:moveTo>
                <a:lnTo>
                  <a:pt x="872025" y="0"/>
                </a:lnTo>
                <a:lnTo>
                  <a:pt x="872025" y="596752"/>
                </a:lnTo>
                <a:lnTo>
                  <a:pt x="872634" y="596752"/>
                </a:lnTo>
                <a:lnTo>
                  <a:pt x="872634" y="2144289"/>
                </a:lnTo>
                <a:lnTo>
                  <a:pt x="141714" y="2299821"/>
                </a:lnTo>
                <a:close/>
              </a:path>
            </a:pathLst>
          </a:custGeom>
        </p:spPr>
      </p:pic>
      <p:sp>
        <p:nvSpPr>
          <p:cNvPr id="31" name="Google Shape;130;p12">
            <a:extLst>
              <a:ext uri="{FF2B5EF4-FFF2-40B4-BE49-F238E27FC236}">
                <a16:creationId xmlns:a16="http://schemas.microsoft.com/office/drawing/2014/main" id="{1B22CCBD-F30B-BEEB-B365-9E7A391B88F6}"/>
              </a:ext>
            </a:extLst>
          </p:cNvPr>
          <p:cNvSpPr/>
          <p:nvPr/>
        </p:nvSpPr>
        <p:spPr>
          <a:xfrm>
            <a:off x="10438896" y="4361000"/>
            <a:ext cx="1173093" cy="1567329"/>
          </a:xfrm>
          <a:custGeom>
            <a:avLst/>
            <a:gdLst>
              <a:gd name="connsiteX0" fmla="*/ 0 w 21600"/>
              <a:gd name="connsiteY0" fmla="*/ 21469 h 21469"/>
              <a:gd name="connsiteX1" fmla="*/ 21600 w 21600"/>
              <a:gd name="connsiteY1" fmla="*/ 18480 h 21469"/>
              <a:gd name="connsiteX2" fmla="*/ 21254 w 21600"/>
              <a:gd name="connsiteY2" fmla="*/ 0 h 21469"/>
              <a:gd name="connsiteX3" fmla="*/ 0 w 21600"/>
              <a:gd name="connsiteY3" fmla="*/ 2858 h 21469"/>
              <a:gd name="connsiteX4" fmla="*/ 0 w 21600"/>
              <a:gd name="connsiteY4" fmla="*/ 21469 h 21469"/>
              <a:gd name="connsiteX0" fmla="*/ 0 w 21341"/>
              <a:gd name="connsiteY0" fmla="*/ 21469 h 21469"/>
              <a:gd name="connsiteX1" fmla="*/ 21341 w 21341"/>
              <a:gd name="connsiteY1" fmla="*/ 18676 h 21469"/>
              <a:gd name="connsiteX2" fmla="*/ 21254 w 21341"/>
              <a:gd name="connsiteY2" fmla="*/ 0 h 21469"/>
              <a:gd name="connsiteX3" fmla="*/ 0 w 21341"/>
              <a:gd name="connsiteY3" fmla="*/ 2858 h 21469"/>
              <a:gd name="connsiteX4" fmla="*/ 0 w 21341"/>
              <a:gd name="connsiteY4" fmla="*/ 21469 h 21469"/>
              <a:gd name="connsiteX0" fmla="*/ 0 w 21341"/>
              <a:gd name="connsiteY0" fmla="*/ 21469 h 21469"/>
              <a:gd name="connsiteX1" fmla="*/ 21341 w 21341"/>
              <a:gd name="connsiteY1" fmla="*/ 18611 h 21469"/>
              <a:gd name="connsiteX2" fmla="*/ 21254 w 21341"/>
              <a:gd name="connsiteY2" fmla="*/ 0 h 21469"/>
              <a:gd name="connsiteX3" fmla="*/ 0 w 21341"/>
              <a:gd name="connsiteY3" fmla="*/ 2858 h 21469"/>
              <a:gd name="connsiteX4" fmla="*/ 0 w 21341"/>
              <a:gd name="connsiteY4" fmla="*/ 21469 h 21469"/>
              <a:gd name="connsiteX0" fmla="*/ 216 w 21341"/>
              <a:gd name="connsiteY0" fmla="*/ 21534 h 21534"/>
              <a:gd name="connsiteX1" fmla="*/ 21341 w 21341"/>
              <a:gd name="connsiteY1" fmla="*/ 18611 h 21534"/>
              <a:gd name="connsiteX2" fmla="*/ 21254 w 21341"/>
              <a:gd name="connsiteY2" fmla="*/ 0 h 21534"/>
              <a:gd name="connsiteX3" fmla="*/ 0 w 21341"/>
              <a:gd name="connsiteY3" fmla="*/ 2858 h 21534"/>
              <a:gd name="connsiteX4" fmla="*/ 216 w 21341"/>
              <a:gd name="connsiteY4" fmla="*/ 21534 h 21534"/>
              <a:gd name="connsiteX0" fmla="*/ 130 w 21255"/>
              <a:gd name="connsiteY0" fmla="*/ 21534 h 21534"/>
              <a:gd name="connsiteX1" fmla="*/ 21255 w 21255"/>
              <a:gd name="connsiteY1" fmla="*/ 18611 h 21534"/>
              <a:gd name="connsiteX2" fmla="*/ 21168 w 21255"/>
              <a:gd name="connsiteY2" fmla="*/ 0 h 21534"/>
              <a:gd name="connsiteX3" fmla="*/ 0 w 21255"/>
              <a:gd name="connsiteY3" fmla="*/ 2858 h 21534"/>
              <a:gd name="connsiteX4" fmla="*/ 130 w 21255"/>
              <a:gd name="connsiteY4" fmla="*/ 21534 h 21534"/>
              <a:gd name="connsiteX0" fmla="*/ 130 w 21255"/>
              <a:gd name="connsiteY0" fmla="*/ 21534 h 21534"/>
              <a:gd name="connsiteX1" fmla="*/ 21255 w 21255"/>
              <a:gd name="connsiteY1" fmla="*/ 18611 h 21534"/>
              <a:gd name="connsiteX2" fmla="*/ 21168 w 21255"/>
              <a:gd name="connsiteY2" fmla="*/ 0 h 21534"/>
              <a:gd name="connsiteX3" fmla="*/ 0 w 21255"/>
              <a:gd name="connsiteY3" fmla="*/ 2858 h 21534"/>
              <a:gd name="connsiteX4" fmla="*/ 130 w 21255"/>
              <a:gd name="connsiteY4" fmla="*/ 21534 h 21534"/>
              <a:gd name="connsiteX0" fmla="*/ 173 w 21298"/>
              <a:gd name="connsiteY0" fmla="*/ 21534 h 21534"/>
              <a:gd name="connsiteX1" fmla="*/ 21298 w 21298"/>
              <a:gd name="connsiteY1" fmla="*/ 18611 h 21534"/>
              <a:gd name="connsiteX2" fmla="*/ 21211 w 21298"/>
              <a:gd name="connsiteY2" fmla="*/ 0 h 21534"/>
              <a:gd name="connsiteX3" fmla="*/ 0 w 21298"/>
              <a:gd name="connsiteY3" fmla="*/ 2825 h 21534"/>
              <a:gd name="connsiteX4" fmla="*/ 173 w 21298"/>
              <a:gd name="connsiteY4" fmla="*/ 21534 h 21534"/>
              <a:gd name="connsiteX0" fmla="*/ 43 w 21298"/>
              <a:gd name="connsiteY0" fmla="*/ 21534 h 21534"/>
              <a:gd name="connsiteX1" fmla="*/ 21298 w 21298"/>
              <a:gd name="connsiteY1" fmla="*/ 18611 h 21534"/>
              <a:gd name="connsiteX2" fmla="*/ 21211 w 21298"/>
              <a:gd name="connsiteY2" fmla="*/ 0 h 21534"/>
              <a:gd name="connsiteX3" fmla="*/ 0 w 21298"/>
              <a:gd name="connsiteY3" fmla="*/ 2825 h 21534"/>
              <a:gd name="connsiteX4" fmla="*/ 43 w 21298"/>
              <a:gd name="connsiteY4" fmla="*/ 21534 h 2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98" h="21534" extrusionOk="0">
                <a:moveTo>
                  <a:pt x="43" y="21534"/>
                </a:moveTo>
                <a:lnTo>
                  <a:pt x="21298" y="18611"/>
                </a:lnTo>
                <a:cubicBezTo>
                  <a:pt x="21183" y="12451"/>
                  <a:pt x="21326" y="6160"/>
                  <a:pt x="21211" y="0"/>
                </a:cubicBezTo>
                <a:lnTo>
                  <a:pt x="0" y="2825"/>
                </a:lnTo>
                <a:cubicBezTo>
                  <a:pt x="43" y="9050"/>
                  <a:pt x="0" y="15309"/>
                  <a:pt x="43" y="21534"/>
                </a:cubicBezTo>
                <a:close/>
              </a:path>
            </a:pathLst>
          </a:custGeom>
          <a:solidFill>
            <a:srgbClr val="6BB4DA">
              <a:alpha val="48600"/>
            </a:srgbClr>
          </a:solidFill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ea typeface="Calibri"/>
              <a:cs typeface="Poppins" panose="00000500000000000000" pitchFamily="2" charset="0"/>
              <a:sym typeface="Calibri"/>
            </a:endParaRPr>
          </a:p>
        </p:txBody>
      </p:sp>
      <p:sp>
        <p:nvSpPr>
          <p:cNvPr id="36" name="Slide Number Placeholder 2">
            <a:extLst>
              <a:ext uri="{FF2B5EF4-FFF2-40B4-BE49-F238E27FC236}">
                <a16:creationId xmlns:a16="http://schemas.microsoft.com/office/drawing/2014/main" id="{F4465E14-C244-2940-9F37-5B7AD25F75E9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11355439" y="6146868"/>
            <a:ext cx="731600" cy="5248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fld id="{00000000-1234-1234-1234-123412341234}" type="slidenum">
              <a:rPr kumimoji="0" lang="en-GB" sz="1733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Ubuntu Ligh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  <a:tabLst/>
                <a:defRPr/>
              </a:pPr>
              <a:t>1</a:t>
            </a:fld>
            <a:endParaRPr kumimoji="0" lang="en-GB" sz="1733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Ubuntu Light"/>
            </a:endParaRPr>
          </a:p>
        </p:txBody>
      </p:sp>
      <p:sp>
        <p:nvSpPr>
          <p:cNvPr id="37" name="Google Shape;90;p1">
            <a:extLst>
              <a:ext uri="{FF2B5EF4-FFF2-40B4-BE49-F238E27FC236}">
                <a16:creationId xmlns:a16="http://schemas.microsoft.com/office/drawing/2014/main" id="{B9267E61-BB39-9CA2-7F69-E0AC0F92AE59}"/>
              </a:ext>
            </a:extLst>
          </p:cNvPr>
          <p:cNvSpPr txBox="1"/>
          <p:nvPr/>
        </p:nvSpPr>
        <p:spPr>
          <a:xfrm>
            <a:off x="243440" y="3223915"/>
            <a:ext cx="5569113" cy="1489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145275"/>
                </a:solidFill>
                <a:effectLst/>
                <a:uLnTx/>
                <a:uFillTx/>
                <a:latin typeface="Poppins" panose="00000500000000000000" pitchFamily="2" charset="0"/>
                <a:ea typeface="Oswald"/>
                <a:cs typeface="Poppins" panose="00000500000000000000" pitchFamily="2" charset="0"/>
                <a:sym typeface="Oswald"/>
              </a:rPr>
              <a:t>Data</a:t>
            </a:r>
            <a:r>
              <a:rPr lang="en-GB" sz="2800" kern="0" dirty="0">
                <a:solidFill>
                  <a:srgbClr val="145275"/>
                </a:solidFill>
                <a:latin typeface="Poppins" panose="00000500000000000000" pitchFamily="2" charset="0"/>
                <a:ea typeface="Oswald"/>
                <a:cs typeface="Poppins" panose="00000500000000000000" pitchFamily="2" charset="0"/>
                <a:sym typeface="Oswald"/>
              </a:rPr>
              <a:t> Science </a:t>
            </a:r>
            <a:r>
              <a: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145275"/>
                </a:solidFill>
                <a:effectLst/>
                <a:uLnTx/>
                <a:uFillTx/>
                <a:latin typeface="Poppins" panose="00000500000000000000" pitchFamily="2" charset="0"/>
                <a:ea typeface="Oswald"/>
                <a:cs typeface="Poppins" panose="00000500000000000000" pitchFamily="2" charset="0"/>
                <a:sym typeface="Oswald"/>
              </a:rPr>
              <a:t>Track</a:t>
            </a:r>
          </a:p>
          <a:p>
            <a:pPr marL="0" marR="0" lvl="0" indent="0" algn="l" defTabSz="121917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lang="en-GB" kern="0" dirty="0">
                <a:solidFill>
                  <a:srgbClr val="145275"/>
                </a:solidFill>
                <a:latin typeface="Poppins" panose="00000500000000000000" pitchFamily="2" charset="0"/>
                <a:ea typeface="Oswald"/>
                <a:cs typeface="Poppins" panose="00000500000000000000" pitchFamily="2" charset="0"/>
                <a:sym typeface="Oswald"/>
              </a:rPr>
              <a:t>Weekly Session: </a:t>
            </a:r>
          </a:p>
          <a:p>
            <a:pPr marL="0" marR="0" lvl="0" indent="0" algn="l" defTabSz="121917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lang="en-GB" sz="1600" kern="0" dirty="0">
                <a:solidFill>
                  <a:srgbClr val="145275"/>
                </a:solidFill>
                <a:latin typeface="Poppins" panose="00000500000000000000" pitchFamily="2" charset="0"/>
                <a:ea typeface="Oswald"/>
                <a:cs typeface="Poppins" panose="00000500000000000000" pitchFamily="2" charset="0"/>
                <a:sym typeface="Oswald"/>
              </a:rPr>
              <a:t>Wednesday &amp; Friday: 16:00-18:00 UTC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145275"/>
              </a:solidFill>
              <a:effectLst/>
              <a:uLnTx/>
              <a:uFillTx/>
              <a:latin typeface="Poppins" panose="00000500000000000000" pitchFamily="2" charset="0"/>
              <a:ea typeface="Oswald"/>
              <a:cs typeface="Poppins" panose="00000500000000000000" pitchFamily="2" charset="0"/>
              <a:sym typeface="Oswald"/>
            </a:endParaRPr>
          </a:p>
        </p:txBody>
      </p:sp>
      <p:sp>
        <p:nvSpPr>
          <p:cNvPr id="82" name="Google Shape;128;p12">
            <a:extLst>
              <a:ext uri="{FF2B5EF4-FFF2-40B4-BE49-F238E27FC236}">
                <a16:creationId xmlns:a16="http://schemas.microsoft.com/office/drawing/2014/main" id="{D59BA0FB-A5D5-5F2B-977E-C9B39BD22B96}"/>
              </a:ext>
            </a:extLst>
          </p:cNvPr>
          <p:cNvSpPr/>
          <p:nvPr/>
        </p:nvSpPr>
        <p:spPr>
          <a:xfrm>
            <a:off x="4866944" y="-2422"/>
            <a:ext cx="730313" cy="2297191"/>
          </a:xfrm>
          <a:custGeom>
            <a:avLst/>
            <a:gdLst>
              <a:gd name="connsiteX0" fmla="*/ 0 w 21600"/>
              <a:gd name="connsiteY0" fmla="*/ 0 h 21600"/>
              <a:gd name="connsiteX1" fmla="*/ 0 w 21600"/>
              <a:gd name="connsiteY1" fmla="*/ 21600 h 21600"/>
              <a:gd name="connsiteX2" fmla="*/ 20916 w 21600"/>
              <a:gd name="connsiteY2" fmla="*/ 20417 h 21600"/>
              <a:gd name="connsiteX3" fmla="*/ 21600 w 21600"/>
              <a:gd name="connsiteY3" fmla="*/ 0 h 21600"/>
              <a:gd name="connsiteX4" fmla="*/ 0 w 21600"/>
              <a:gd name="connsiteY4" fmla="*/ 0 h 21600"/>
              <a:gd name="connsiteX0" fmla="*/ 0 w 21600"/>
              <a:gd name="connsiteY0" fmla="*/ 0 h 21781"/>
              <a:gd name="connsiteX1" fmla="*/ 205 w 21600"/>
              <a:gd name="connsiteY1" fmla="*/ 21781 h 21781"/>
              <a:gd name="connsiteX2" fmla="*/ 20916 w 21600"/>
              <a:gd name="connsiteY2" fmla="*/ 20417 h 21781"/>
              <a:gd name="connsiteX3" fmla="*/ 21600 w 21600"/>
              <a:gd name="connsiteY3" fmla="*/ 0 h 21781"/>
              <a:gd name="connsiteX4" fmla="*/ 0 w 21600"/>
              <a:gd name="connsiteY4" fmla="*/ 0 h 21781"/>
              <a:gd name="connsiteX0" fmla="*/ 0 w 21600"/>
              <a:gd name="connsiteY0" fmla="*/ 0 h 21781"/>
              <a:gd name="connsiteX1" fmla="*/ 273 w 21600"/>
              <a:gd name="connsiteY1" fmla="*/ 21781 h 21781"/>
              <a:gd name="connsiteX2" fmla="*/ 20916 w 21600"/>
              <a:gd name="connsiteY2" fmla="*/ 20417 h 21781"/>
              <a:gd name="connsiteX3" fmla="*/ 21600 w 21600"/>
              <a:gd name="connsiteY3" fmla="*/ 0 h 21781"/>
              <a:gd name="connsiteX4" fmla="*/ 0 w 21600"/>
              <a:gd name="connsiteY4" fmla="*/ 0 h 21781"/>
              <a:gd name="connsiteX0" fmla="*/ 83 w 21683"/>
              <a:gd name="connsiteY0" fmla="*/ 0 h 21781"/>
              <a:gd name="connsiteX1" fmla="*/ 14 w 21683"/>
              <a:gd name="connsiteY1" fmla="*/ 21781 h 21781"/>
              <a:gd name="connsiteX2" fmla="*/ 20999 w 21683"/>
              <a:gd name="connsiteY2" fmla="*/ 20417 h 21781"/>
              <a:gd name="connsiteX3" fmla="*/ 21683 w 21683"/>
              <a:gd name="connsiteY3" fmla="*/ 0 h 21781"/>
              <a:gd name="connsiteX4" fmla="*/ 83 w 21683"/>
              <a:gd name="connsiteY4" fmla="*/ 0 h 21781"/>
              <a:gd name="connsiteX0" fmla="*/ 0 w 21600"/>
              <a:gd name="connsiteY0" fmla="*/ 0 h 21804"/>
              <a:gd name="connsiteX1" fmla="*/ 68 w 21600"/>
              <a:gd name="connsiteY1" fmla="*/ 21804 h 21804"/>
              <a:gd name="connsiteX2" fmla="*/ 20916 w 21600"/>
              <a:gd name="connsiteY2" fmla="*/ 20417 h 21804"/>
              <a:gd name="connsiteX3" fmla="*/ 21600 w 21600"/>
              <a:gd name="connsiteY3" fmla="*/ 0 h 21804"/>
              <a:gd name="connsiteX4" fmla="*/ 0 w 21600"/>
              <a:gd name="connsiteY4" fmla="*/ 0 h 21804"/>
              <a:gd name="connsiteX0" fmla="*/ 0 w 20984"/>
              <a:gd name="connsiteY0" fmla="*/ 23 h 21827"/>
              <a:gd name="connsiteX1" fmla="*/ 68 w 20984"/>
              <a:gd name="connsiteY1" fmla="*/ 21827 h 21827"/>
              <a:gd name="connsiteX2" fmla="*/ 20916 w 20984"/>
              <a:gd name="connsiteY2" fmla="*/ 20440 h 21827"/>
              <a:gd name="connsiteX3" fmla="*/ 20984 w 20984"/>
              <a:gd name="connsiteY3" fmla="*/ 0 h 21827"/>
              <a:gd name="connsiteX4" fmla="*/ 0 w 20984"/>
              <a:gd name="connsiteY4" fmla="*/ 23 h 21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84" h="21827" extrusionOk="0">
                <a:moveTo>
                  <a:pt x="0" y="23"/>
                </a:moveTo>
                <a:cubicBezTo>
                  <a:pt x="68" y="7283"/>
                  <a:pt x="0" y="14567"/>
                  <a:pt x="68" y="21827"/>
                </a:cubicBezTo>
                <a:lnTo>
                  <a:pt x="20916" y="20440"/>
                </a:lnTo>
                <a:cubicBezTo>
                  <a:pt x="20939" y="13627"/>
                  <a:pt x="20961" y="6813"/>
                  <a:pt x="20984" y="0"/>
                </a:cubicBezTo>
                <a:lnTo>
                  <a:pt x="0" y="23"/>
                </a:lnTo>
                <a:close/>
              </a:path>
            </a:pathLst>
          </a:custGeom>
          <a:solidFill>
            <a:srgbClr val="28ACE2">
              <a:alpha val="43580"/>
            </a:srgbClr>
          </a:solidFill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ea typeface="Calibri"/>
              <a:cs typeface="Poppins" panose="00000500000000000000" pitchFamily="2" charset="0"/>
              <a:sym typeface="Calibr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47E732-9887-4617-A9C3-D75A2BDB8E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440" y="336180"/>
            <a:ext cx="5901600" cy="2854839"/>
          </a:xfrm>
        </p:spPr>
        <p:txBody>
          <a:bodyPr vert="horz" tIns="0" bIns="0" anchor="t"/>
          <a:lstStyle/>
          <a:p>
            <a:pPr algn="l"/>
            <a:r>
              <a:rPr lang="en-GB" sz="5000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areer Accelerato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EF350E7-AD50-2B3E-813D-DB8716540D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892" y="5584628"/>
            <a:ext cx="1930285" cy="79141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311C0F-9B3C-40CF-7FC8-098FD20AC60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500" y="5980336"/>
            <a:ext cx="3368320" cy="367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666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5FFD05-DA13-4586-8689-F7C5A1E64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5FFD05-DA13-4586-8689-F7C5A1E64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3">
            <a:extLst>
              <a:ext uri="{FF2B5EF4-FFF2-40B4-BE49-F238E27FC236}">
                <a16:creationId xmlns:a16="http://schemas.microsoft.com/office/drawing/2014/main" id="{27C0868B-A5FC-4E71-9B18-BB6D27B302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439" y="336182"/>
            <a:ext cx="11584383" cy="1318998"/>
          </a:xfrm>
        </p:spPr>
        <p:txBody>
          <a:bodyPr vert="horz" tIns="0" bIns="0" anchor="t"/>
          <a:lstStyle/>
          <a:p>
            <a:pPr algn="l"/>
            <a:r>
              <a:rPr lang="en-GB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melines (4 Weeks)</a:t>
            </a:r>
          </a:p>
        </p:txBody>
      </p:sp>
      <p:sp>
        <p:nvSpPr>
          <p:cNvPr id="39" name="Slide Number Placeholder 2">
            <a:extLst>
              <a:ext uri="{FF2B5EF4-FFF2-40B4-BE49-F238E27FC236}">
                <a16:creationId xmlns:a16="http://schemas.microsoft.com/office/drawing/2014/main" id="{0D24CA9B-BA8B-4DA3-8311-4F351C00DEC2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11355439" y="6146868"/>
            <a:ext cx="731600" cy="5248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fld id="{00000000-1234-1234-1234-123412341234}" type="slidenum">
              <a:rPr kumimoji="0" lang="en-GB" sz="1733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Ubuntu Ligh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  <a:tabLst/>
                <a:defRPr/>
              </a:pPr>
              <a:t>10</a:t>
            </a:fld>
            <a:endParaRPr kumimoji="0" lang="en-GB" sz="1733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Ubuntu Light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FD1811AE-E3C8-B268-232E-0C97CC4959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30" y="6146867"/>
            <a:ext cx="1279999" cy="5248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90577B65-70E8-93B8-CC9D-E7EB428B714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220" y="6441734"/>
            <a:ext cx="1905000" cy="207708"/>
          </a:xfrm>
          <a:prstGeom prst="rect">
            <a:avLst/>
          </a:prstGeom>
        </p:spPr>
      </p:pic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5631BFA5-17B9-E0EB-D2FF-D8FA9707201A}"/>
              </a:ext>
            </a:extLst>
          </p:cNvPr>
          <p:cNvSpPr txBox="1">
            <a:spLocks/>
          </p:cNvSpPr>
          <p:nvPr/>
        </p:nvSpPr>
        <p:spPr>
          <a:xfrm>
            <a:off x="243444" y="1198431"/>
            <a:ext cx="11705113" cy="4737975"/>
          </a:xfrm>
          <a:prstGeom prst="rect">
            <a:avLst/>
          </a:prstGeom>
        </p:spPr>
        <p:txBody>
          <a:bodyPr vert="horz" lIns="72000" tIns="45720" rIns="36000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None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7</a:t>
            </a:r>
            <a:r>
              <a:rPr kumimoji="0" lang="en-US" sz="2400" b="1" i="0" u="none" strike="noStrike" kern="1200" cap="none" spc="0" normalizeH="0" baseline="30000" noProof="0" dirty="0" err="1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January – 12</a:t>
            </a: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February</a:t>
            </a:r>
          </a:p>
          <a:p>
            <a:pPr marL="228600" marR="0" lvl="0" indent="-228600" algn="l" defTabSz="914400" rtl="0" eaLnBrk="1" fontAlgn="auto" latinLnBrk="0" hangingPunct="1"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esday, 31</a:t>
            </a:r>
            <a:r>
              <a:rPr lang="en-US" b="1" baseline="30000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t</a:t>
            </a: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January</a:t>
            </a:r>
            <a:r>
              <a:rPr lang="en-US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Model Evaluation</a:t>
            </a:r>
          </a:p>
          <a:p>
            <a:pPr marL="228600" marR="0" lvl="0" indent="-228600" algn="l" defTabSz="914400" rtl="0" eaLnBrk="1" fontAlgn="auto" latinLnBrk="0" hangingPunct="1"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riday, 3</a:t>
            </a:r>
            <a:r>
              <a:rPr lang="en-US" b="1" baseline="30000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d</a:t>
            </a: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February</a:t>
            </a:r>
            <a:r>
              <a:rPr lang="en-US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Live Coding Session</a:t>
            </a:r>
            <a:endParaRPr lang="en-US" b="1" dirty="0">
              <a:solidFill>
                <a:srgbClr val="0E557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esday, 7</a:t>
            </a:r>
            <a:r>
              <a:rPr lang="en-US" b="1" baseline="30000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</a:t>
            </a: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February</a:t>
            </a:r>
            <a:r>
              <a:rPr lang="en-US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Model Improvement and Future Predictions</a:t>
            </a:r>
            <a:endParaRPr lang="en-US" b="1" dirty="0">
              <a:solidFill>
                <a:srgbClr val="0E557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riday, 10</a:t>
            </a:r>
            <a:r>
              <a:rPr lang="en-US" b="1" baseline="30000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</a:t>
            </a: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January</a:t>
            </a:r>
            <a:r>
              <a:rPr lang="en-US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Live Coding Session</a:t>
            </a:r>
            <a:endParaRPr lang="en-US" b="1" dirty="0">
              <a:solidFill>
                <a:srgbClr val="0E557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2</a:t>
            </a:r>
            <a:r>
              <a:rPr lang="en-US" b="1" baseline="30000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</a:t>
            </a: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February</a:t>
            </a:r>
            <a:r>
              <a:rPr lang="en-US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Submission deadlin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E5578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20231487-61C5-C39B-20B0-1F39654EE3D8}"/>
              </a:ext>
            </a:extLst>
          </p:cNvPr>
          <p:cNvGrpSpPr/>
          <p:nvPr/>
        </p:nvGrpSpPr>
        <p:grpSpPr>
          <a:xfrm>
            <a:off x="9021212" y="221434"/>
            <a:ext cx="2700027" cy="1743532"/>
            <a:chOff x="3047592" y="4314368"/>
            <a:chExt cx="3939079" cy="2543645"/>
          </a:xfrm>
        </p:grpSpPr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8DEA0635-716E-D9A0-A22B-72FFCBB9761C}"/>
                </a:ext>
              </a:extLst>
            </p:cNvPr>
            <p:cNvSpPr/>
            <p:nvPr/>
          </p:nvSpPr>
          <p:spPr>
            <a:xfrm flipV="1">
              <a:off x="4141085" y="4791437"/>
              <a:ext cx="1903826" cy="1078896"/>
            </a:xfrm>
            <a:custGeom>
              <a:avLst/>
              <a:gdLst>
                <a:gd name="connsiteX0" fmla="*/ 2854171 w 2858097"/>
                <a:gd name="connsiteY0" fmla="*/ 1534366 h 1619681"/>
                <a:gd name="connsiteX1" fmla="*/ 2785667 w 2858097"/>
                <a:gd name="connsiteY1" fmla="*/ 1595654 h 1619681"/>
                <a:gd name="connsiteX2" fmla="*/ 77451 w 2858097"/>
                <a:gd name="connsiteY2" fmla="*/ 1617469 h 1619681"/>
                <a:gd name="connsiteX3" fmla="*/ 7964 w 2858097"/>
                <a:gd name="connsiteY3" fmla="*/ 1557287 h 1619681"/>
                <a:gd name="connsiteX4" fmla="*/ -3923 w 2858097"/>
                <a:gd name="connsiteY4" fmla="*/ 80896 h 1619681"/>
                <a:gd name="connsiteX5" fmla="*/ 64580 w 2858097"/>
                <a:gd name="connsiteY5" fmla="*/ 19601 h 1619681"/>
                <a:gd name="connsiteX6" fmla="*/ 2772797 w 2858097"/>
                <a:gd name="connsiteY6" fmla="*/ -2207 h 1619681"/>
                <a:gd name="connsiteX7" fmla="*/ 2842284 w 2858097"/>
                <a:gd name="connsiteY7" fmla="*/ 57976 h 1619681"/>
                <a:gd name="connsiteX8" fmla="*/ 2854171 w 2858097"/>
                <a:gd name="connsiteY8" fmla="*/ 1534366 h 1619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8097" h="1619681">
                  <a:moveTo>
                    <a:pt x="2854171" y="1534366"/>
                  </a:moveTo>
                  <a:cubicBezTo>
                    <a:pt x="2854438" y="1567909"/>
                    <a:pt x="2823775" y="1595349"/>
                    <a:pt x="2785667" y="1595654"/>
                  </a:cubicBezTo>
                  <a:lnTo>
                    <a:pt x="77451" y="1617469"/>
                  </a:lnTo>
                  <a:cubicBezTo>
                    <a:pt x="39343" y="1617774"/>
                    <a:pt x="8238" y="1590830"/>
                    <a:pt x="7964" y="1557287"/>
                  </a:cubicBezTo>
                  <a:lnTo>
                    <a:pt x="-3923" y="80896"/>
                  </a:lnTo>
                  <a:cubicBezTo>
                    <a:pt x="-4198" y="47353"/>
                    <a:pt x="26473" y="19906"/>
                    <a:pt x="64580" y="19601"/>
                  </a:cubicBezTo>
                  <a:lnTo>
                    <a:pt x="2772797" y="-2207"/>
                  </a:lnTo>
                  <a:cubicBezTo>
                    <a:pt x="2810897" y="-2512"/>
                    <a:pt x="2842009" y="24432"/>
                    <a:pt x="2842284" y="57976"/>
                  </a:cubicBezTo>
                  <a:lnTo>
                    <a:pt x="2854171" y="1534366"/>
                  </a:lnTo>
                </a:path>
              </a:pathLst>
            </a:custGeom>
            <a:solidFill>
              <a:srgbClr val="EDECEC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CB6B24AA-6F15-93D1-A526-082BC2966DEB}"/>
                </a:ext>
              </a:extLst>
            </p:cNvPr>
            <p:cNvSpPr/>
            <p:nvPr/>
          </p:nvSpPr>
          <p:spPr>
            <a:xfrm flipV="1">
              <a:off x="4269030" y="4884096"/>
              <a:ext cx="1649733" cy="679766"/>
            </a:xfrm>
            <a:custGeom>
              <a:avLst/>
              <a:gdLst>
                <a:gd name="connsiteX0" fmla="*/ 88674 w 2476643"/>
                <a:gd name="connsiteY0" fmla="*/ 15942 h 1020491"/>
                <a:gd name="connsiteX1" fmla="*/ 2372038 w 2476643"/>
                <a:gd name="connsiteY1" fmla="*/ -2445 h 1020491"/>
                <a:gd name="connsiteX2" fmla="*/ 2466145 w 2476643"/>
                <a:gd name="connsiteY2" fmla="*/ 90160 h 1020491"/>
                <a:gd name="connsiteX3" fmla="*/ 2472713 w 2476643"/>
                <a:gd name="connsiteY3" fmla="*/ 905546 h 1020491"/>
                <a:gd name="connsiteX4" fmla="*/ 2380107 w 2476643"/>
                <a:gd name="connsiteY4" fmla="*/ 999653 h 1020491"/>
                <a:gd name="connsiteX5" fmla="*/ 96744 w 2476643"/>
                <a:gd name="connsiteY5" fmla="*/ 1018040 h 1020491"/>
                <a:gd name="connsiteX6" fmla="*/ 2637 w 2476643"/>
                <a:gd name="connsiteY6" fmla="*/ 925434 h 1020491"/>
                <a:gd name="connsiteX7" fmla="*/ -3924 w 2476643"/>
                <a:gd name="connsiteY7" fmla="*/ 110056 h 1020491"/>
                <a:gd name="connsiteX8" fmla="*/ 88674 w 2476643"/>
                <a:gd name="connsiteY8" fmla="*/ 15942 h 1020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6643" h="1020491">
                  <a:moveTo>
                    <a:pt x="88674" y="15942"/>
                  </a:moveTo>
                  <a:lnTo>
                    <a:pt x="2372038" y="-2445"/>
                  </a:lnTo>
                  <a:cubicBezTo>
                    <a:pt x="2423595" y="-2857"/>
                    <a:pt x="2465726" y="38604"/>
                    <a:pt x="2466145" y="90160"/>
                  </a:cubicBezTo>
                  <a:lnTo>
                    <a:pt x="2472713" y="905546"/>
                  </a:lnTo>
                  <a:cubicBezTo>
                    <a:pt x="2473125" y="957103"/>
                    <a:pt x="2431664" y="999234"/>
                    <a:pt x="2380107" y="999653"/>
                  </a:cubicBezTo>
                  <a:lnTo>
                    <a:pt x="96744" y="1018040"/>
                  </a:lnTo>
                  <a:cubicBezTo>
                    <a:pt x="45187" y="1018452"/>
                    <a:pt x="3049" y="976999"/>
                    <a:pt x="2637" y="925434"/>
                  </a:cubicBezTo>
                  <a:lnTo>
                    <a:pt x="-3924" y="110056"/>
                  </a:lnTo>
                  <a:cubicBezTo>
                    <a:pt x="-4343" y="58492"/>
                    <a:pt x="37118" y="16361"/>
                    <a:pt x="88674" y="15942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3882B3A7-2526-9543-F657-BE5E48AFD0D5}"/>
                </a:ext>
              </a:extLst>
            </p:cNvPr>
            <p:cNvSpPr/>
            <p:nvPr/>
          </p:nvSpPr>
          <p:spPr>
            <a:xfrm flipV="1">
              <a:off x="4887244" y="5590572"/>
              <a:ext cx="407306" cy="226420"/>
            </a:xfrm>
            <a:custGeom>
              <a:avLst/>
              <a:gdLst>
                <a:gd name="connsiteX0" fmla="*/ 66490 w 611464"/>
                <a:gd name="connsiteY0" fmla="*/ 2390 h 339910"/>
                <a:gd name="connsiteX1" fmla="*/ 534418 w 611464"/>
                <a:gd name="connsiteY1" fmla="*/ -1375 h 339910"/>
                <a:gd name="connsiteX2" fmla="*/ 605978 w 611464"/>
                <a:gd name="connsiteY2" fmla="*/ 69034 h 339910"/>
                <a:gd name="connsiteX3" fmla="*/ 607540 w 611464"/>
                <a:gd name="connsiteY3" fmla="*/ 263207 h 339910"/>
                <a:gd name="connsiteX4" fmla="*/ 537131 w 611464"/>
                <a:gd name="connsiteY4" fmla="*/ 334766 h 339910"/>
                <a:gd name="connsiteX5" fmla="*/ 69202 w 611464"/>
                <a:gd name="connsiteY5" fmla="*/ 338531 h 339910"/>
                <a:gd name="connsiteX6" fmla="*/ -2357 w 611464"/>
                <a:gd name="connsiteY6" fmla="*/ 268114 h 339910"/>
                <a:gd name="connsiteX7" fmla="*/ -3919 w 611464"/>
                <a:gd name="connsiteY7" fmla="*/ 73949 h 339910"/>
                <a:gd name="connsiteX8" fmla="*/ 66490 w 611464"/>
                <a:gd name="connsiteY8" fmla="*/ 2390 h 339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1464" h="339910">
                  <a:moveTo>
                    <a:pt x="66490" y="2390"/>
                  </a:moveTo>
                  <a:lnTo>
                    <a:pt x="534418" y="-1375"/>
                  </a:lnTo>
                  <a:cubicBezTo>
                    <a:pt x="573631" y="-1687"/>
                    <a:pt x="605665" y="29829"/>
                    <a:pt x="605978" y="69034"/>
                  </a:cubicBezTo>
                  <a:lnTo>
                    <a:pt x="607540" y="263207"/>
                  </a:lnTo>
                  <a:cubicBezTo>
                    <a:pt x="607860" y="302412"/>
                    <a:pt x="576328" y="334446"/>
                    <a:pt x="537131" y="334766"/>
                  </a:cubicBezTo>
                  <a:lnTo>
                    <a:pt x="69202" y="338531"/>
                  </a:lnTo>
                  <a:cubicBezTo>
                    <a:pt x="29990" y="338851"/>
                    <a:pt x="-2045" y="307319"/>
                    <a:pt x="-2357" y="268114"/>
                  </a:cubicBezTo>
                  <a:lnTo>
                    <a:pt x="-3919" y="73949"/>
                  </a:lnTo>
                  <a:cubicBezTo>
                    <a:pt x="-4239" y="34744"/>
                    <a:pt x="27292" y="2710"/>
                    <a:pt x="66490" y="2390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ACE99559-40D4-3840-1CF7-74A8C54F730F}"/>
                </a:ext>
              </a:extLst>
            </p:cNvPr>
            <p:cNvSpPr/>
            <p:nvPr/>
          </p:nvSpPr>
          <p:spPr>
            <a:xfrm flipV="1">
              <a:off x="5760345" y="4947499"/>
              <a:ext cx="110004" cy="78026"/>
            </a:xfrm>
            <a:custGeom>
              <a:avLst/>
              <a:gdLst>
                <a:gd name="connsiteX0" fmla="*/ -5158 w 165142"/>
                <a:gd name="connsiteY0" fmla="*/ 21025 h 117136"/>
                <a:gd name="connsiteX1" fmla="*/ 17512 w 165142"/>
                <a:gd name="connsiteY1" fmla="*/ -2018 h 117136"/>
                <a:gd name="connsiteX2" fmla="*/ 136376 w 165142"/>
                <a:gd name="connsiteY2" fmla="*/ -2978 h 117136"/>
                <a:gd name="connsiteX3" fmla="*/ 159411 w 165142"/>
                <a:gd name="connsiteY3" fmla="*/ 19699 h 117136"/>
                <a:gd name="connsiteX4" fmla="*/ 159983 w 165142"/>
                <a:gd name="connsiteY4" fmla="*/ 90154 h 117136"/>
                <a:gd name="connsiteX5" fmla="*/ 137313 w 165142"/>
                <a:gd name="connsiteY5" fmla="*/ 113197 h 117136"/>
                <a:gd name="connsiteX6" fmla="*/ 18449 w 165142"/>
                <a:gd name="connsiteY6" fmla="*/ 114157 h 117136"/>
                <a:gd name="connsiteX7" fmla="*/ -4594 w 165142"/>
                <a:gd name="connsiteY7" fmla="*/ 91472 h 117136"/>
                <a:gd name="connsiteX8" fmla="*/ -5158 w 165142"/>
                <a:gd name="connsiteY8" fmla="*/ 21025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36">
                  <a:moveTo>
                    <a:pt x="-5158" y="21025"/>
                  </a:moveTo>
                  <a:cubicBezTo>
                    <a:pt x="-5257" y="8452"/>
                    <a:pt x="4946" y="-1919"/>
                    <a:pt x="17512" y="-2018"/>
                  </a:cubicBezTo>
                  <a:lnTo>
                    <a:pt x="136376" y="-2978"/>
                  </a:lnTo>
                  <a:cubicBezTo>
                    <a:pt x="148941" y="-3077"/>
                    <a:pt x="159320" y="7126"/>
                    <a:pt x="159411" y="19699"/>
                  </a:cubicBezTo>
                  <a:lnTo>
                    <a:pt x="159983" y="90154"/>
                  </a:lnTo>
                  <a:cubicBezTo>
                    <a:pt x="160082" y="102727"/>
                    <a:pt x="149879" y="113090"/>
                    <a:pt x="137313" y="113197"/>
                  </a:cubicBezTo>
                  <a:lnTo>
                    <a:pt x="18449" y="114157"/>
                  </a:lnTo>
                  <a:cubicBezTo>
                    <a:pt x="5884" y="114256"/>
                    <a:pt x="-4495" y="104053"/>
                    <a:pt x="-4594" y="91472"/>
                  </a:cubicBezTo>
                  <a:lnTo>
                    <a:pt x="-5158" y="21025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FDAEF518-C21A-DBDC-79CE-56F165E51260}"/>
                </a:ext>
              </a:extLst>
            </p:cNvPr>
            <p:cNvSpPr/>
            <p:nvPr/>
          </p:nvSpPr>
          <p:spPr>
            <a:xfrm flipV="1">
              <a:off x="5472572" y="4945184"/>
              <a:ext cx="110003" cy="78021"/>
            </a:xfrm>
            <a:custGeom>
              <a:avLst/>
              <a:gdLst>
                <a:gd name="connsiteX0" fmla="*/ -4667 w 165141"/>
                <a:gd name="connsiteY0" fmla="*/ 21012 h 117128"/>
                <a:gd name="connsiteX1" fmla="*/ 18010 w 165141"/>
                <a:gd name="connsiteY1" fmla="*/ -2031 h 117128"/>
                <a:gd name="connsiteX2" fmla="*/ 136860 w 165141"/>
                <a:gd name="connsiteY2" fmla="*/ -2983 h 117128"/>
                <a:gd name="connsiteX3" fmla="*/ 159910 w 165141"/>
                <a:gd name="connsiteY3" fmla="*/ 19694 h 117128"/>
                <a:gd name="connsiteX4" fmla="*/ 160474 w 165141"/>
                <a:gd name="connsiteY4" fmla="*/ 90141 h 117128"/>
                <a:gd name="connsiteX5" fmla="*/ 137804 w 165141"/>
                <a:gd name="connsiteY5" fmla="*/ 113191 h 117128"/>
                <a:gd name="connsiteX6" fmla="*/ 18948 w 165141"/>
                <a:gd name="connsiteY6" fmla="*/ 114144 h 117128"/>
                <a:gd name="connsiteX7" fmla="*/ -4103 w 165141"/>
                <a:gd name="connsiteY7" fmla="*/ 91474 h 117128"/>
                <a:gd name="connsiteX8" fmla="*/ -4667 w 165141"/>
                <a:gd name="connsiteY8" fmla="*/ 21012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1" h="117128">
                  <a:moveTo>
                    <a:pt x="-4667" y="21012"/>
                  </a:moveTo>
                  <a:cubicBezTo>
                    <a:pt x="-4766" y="8447"/>
                    <a:pt x="5430" y="-1924"/>
                    <a:pt x="18010" y="-2031"/>
                  </a:cubicBezTo>
                  <a:lnTo>
                    <a:pt x="136860" y="-2983"/>
                  </a:lnTo>
                  <a:cubicBezTo>
                    <a:pt x="149440" y="-3090"/>
                    <a:pt x="159811" y="7121"/>
                    <a:pt x="159910" y="19694"/>
                  </a:cubicBezTo>
                  <a:lnTo>
                    <a:pt x="160474" y="90141"/>
                  </a:lnTo>
                  <a:cubicBezTo>
                    <a:pt x="160581" y="102714"/>
                    <a:pt x="150377" y="113085"/>
                    <a:pt x="137804" y="113191"/>
                  </a:cubicBezTo>
                  <a:lnTo>
                    <a:pt x="18948" y="114144"/>
                  </a:lnTo>
                  <a:cubicBezTo>
                    <a:pt x="6367" y="114243"/>
                    <a:pt x="-3996" y="104040"/>
                    <a:pt x="-4103" y="91474"/>
                  </a:cubicBezTo>
                  <a:lnTo>
                    <a:pt x="-4667" y="2101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F091EFF0-C44E-7536-5980-D6E197EB86AF}"/>
                </a:ext>
              </a:extLst>
            </p:cNvPr>
            <p:cNvSpPr/>
            <p:nvPr/>
          </p:nvSpPr>
          <p:spPr>
            <a:xfrm flipV="1">
              <a:off x="5328688" y="4944027"/>
              <a:ext cx="110004" cy="78021"/>
            </a:xfrm>
            <a:custGeom>
              <a:avLst/>
              <a:gdLst>
                <a:gd name="connsiteX0" fmla="*/ -4421 w 165142"/>
                <a:gd name="connsiteY0" fmla="*/ 21017 h 117128"/>
                <a:gd name="connsiteX1" fmla="*/ 18249 w 165142"/>
                <a:gd name="connsiteY1" fmla="*/ -2026 h 117128"/>
                <a:gd name="connsiteX2" fmla="*/ 137113 w 165142"/>
                <a:gd name="connsiteY2" fmla="*/ -2986 h 117128"/>
                <a:gd name="connsiteX3" fmla="*/ 160148 w 165142"/>
                <a:gd name="connsiteY3" fmla="*/ 19691 h 117128"/>
                <a:gd name="connsiteX4" fmla="*/ 160720 w 165142"/>
                <a:gd name="connsiteY4" fmla="*/ 90146 h 117128"/>
                <a:gd name="connsiteX5" fmla="*/ 138050 w 165142"/>
                <a:gd name="connsiteY5" fmla="*/ 113189 h 117128"/>
                <a:gd name="connsiteX6" fmla="*/ 19186 w 165142"/>
                <a:gd name="connsiteY6" fmla="*/ 114141 h 117128"/>
                <a:gd name="connsiteX7" fmla="*/ -3857 w 165142"/>
                <a:gd name="connsiteY7" fmla="*/ 91472 h 117128"/>
                <a:gd name="connsiteX8" fmla="*/ -4421 w 165142"/>
                <a:gd name="connsiteY8" fmla="*/ 21017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4421" y="21017"/>
                  </a:moveTo>
                  <a:cubicBezTo>
                    <a:pt x="-4520" y="8444"/>
                    <a:pt x="5683" y="-1927"/>
                    <a:pt x="18249" y="-2026"/>
                  </a:cubicBezTo>
                  <a:lnTo>
                    <a:pt x="137113" y="-2986"/>
                  </a:lnTo>
                  <a:cubicBezTo>
                    <a:pt x="149678" y="-3085"/>
                    <a:pt x="160057" y="7118"/>
                    <a:pt x="160148" y="19691"/>
                  </a:cubicBezTo>
                  <a:lnTo>
                    <a:pt x="160720" y="90146"/>
                  </a:lnTo>
                  <a:cubicBezTo>
                    <a:pt x="160819" y="102719"/>
                    <a:pt x="150616" y="113082"/>
                    <a:pt x="138050" y="113189"/>
                  </a:cubicBezTo>
                  <a:lnTo>
                    <a:pt x="19186" y="114141"/>
                  </a:lnTo>
                  <a:cubicBezTo>
                    <a:pt x="6613" y="114248"/>
                    <a:pt x="-3758" y="104037"/>
                    <a:pt x="-3857" y="91472"/>
                  </a:cubicBezTo>
                  <a:lnTo>
                    <a:pt x="-4421" y="2101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A62394D3-9617-EBE9-2ADD-355A24E9B267}"/>
                </a:ext>
              </a:extLst>
            </p:cNvPr>
            <p:cNvSpPr/>
            <p:nvPr/>
          </p:nvSpPr>
          <p:spPr>
            <a:xfrm flipV="1">
              <a:off x="5184799" y="4942864"/>
              <a:ext cx="110008" cy="78021"/>
            </a:xfrm>
            <a:custGeom>
              <a:avLst/>
              <a:gdLst>
                <a:gd name="connsiteX0" fmla="*/ -4175 w 165149"/>
                <a:gd name="connsiteY0" fmla="*/ 21007 h 117128"/>
                <a:gd name="connsiteX1" fmla="*/ 18502 w 165149"/>
                <a:gd name="connsiteY1" fmla="*/ -2036 h 117128"/>
                <a:gd name="connsiteX2" fmla="*/ 137358 w 165149"/>
                <a:gd name="connsiteY2" fmla="*/ -2988 h 117128"/>
                <a:gd name="connsiteX3" fmla="*/ 160409 w 165149"/>
                <a:gd name="connsiteY3" fmla="*/ 19681 h 117128"/>
                <a:gd name="connsiteX4" fmla="*/ 160973 w 165149"/>
                <a:gd name="connsiteY4" fmla="*/ 90136 h 117128"/>
                <a:gd name="connsiteX5" fmla="*/ 138296 w 165149"/>
                <a:gd name="connsiteY5" fmla="*/ 113179 h 117128"/>
                <a:gd name="connsiteX6" fmla="*/ 19439 w 165149"/>
                <a:gd name="connsiteY6" fmla="*/ 114139 h 117128"/>
                <a:gd name="connsiteX7" fmla="*/ -3604 w 165149"/>
                <a:gd name="connsiteY7" fmla="*/ 91462 h 117128"/>
                <a:gd name="connsiteX8" fmla="*/ -4175 w 165149"/>
                <a:gd name="connsiteY8" fmla="*/ 21007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175" y="21007"/>
                  </a:moveTo>
                  <a:cubicBezTo>
                    <a:pt x="-4274" y="8434"/>
                    <a:pt x="5929" y="-1937"/>
                    <a:pt x="18502" y="-2036"/>
                  </a:cubicBezTo>
                  <a:lnTo>
                    <a:pt x="137358" y="-2988"/>
                  </a:lnTo>
                  <a:cubicBezTo>
                    <a:pt x="149939" y="-3095"/>
                    <a:pt x="160303" y="7108"/>
                    <a:pt x="160409" y="19681"/>
                  </a:cubicBezTo>
                  <a:lnTo>
                    <a:pt x="160973" y="90136"/>
                  </a:lnTo>
                  <a:cubicBezTo>
                    <a:pt x="161072" y="102709"/>
                    <a:pt x="150869" y="113072"/>
                    <a:pt x="138296" y="113179"/>
                  </a:cubicBezTo>
                  <a:lnTo>
                    <a:pt x="19439" y="114139"/>
                  </a:lnTo>
                  <a:cubicBezTo>
                    <a:pt x="6866" y="114238"/>
                    <a:pt x="-3505" y="104035"/>
                    <a:pt x="-3604" y="91462"/>
                  </a:cubicBezTo>
                  <a:lnTo>
                    <a:pt x="-4175" y="2100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D3861A30-1F5E-B8A0-2639-DEE3D8F7D056}"/>
                </a:ext>
              </a:extLst>
            </p:cNvPr>
            <p:cNvSpPr/>
            <p:nvPr/>
          </p:nvSpPr>
          <p:spPr>
            <a:xfrm flipV="1">
              <a:off x="4897031" y="4940550"/>
              <a:ext cx="110003" cy="78021"/>
            </a:xfrm>
            <a:custGeom>
              <a:avLst/>
              <a:gdLst>
                <a:gd name="connsiteX0" fmla="*/ -3684 w 165141"/>
                <a:gd name="connsiteY0" fmla="*/ 21010 h 117128"/>
                <a:gd name="connsiteX1" fmla="*/ 18986 w 165141"/>
                <a:gd name="connsiteY1" fmla="*/ -2033 h 117128"/>
                <a:gd name="connsiteX2" fmla="*/ 137850 w 165141"/>
                <a:gd name="connsiteY2" fmla="*/ -2993 h 117128"/>
                <a:gd name="connsiteX3" fmla="*/ 160885 w 165141"/>
                <a:gd name="connsiteY3" fmla="*/ 19684 h 117128"/>
                <a:gd name="connsiteX4" fmla="*/ 161457 w 165141"/>
                <a:gd name="connsiteY4" fmla="*/ 90130 h 117128"/>
                <a:gd name="connsiteX5" fmla="*/ 138787 w 165141"/>
                <a:gd name="connsiteY5" fmla="*/ 113181 h 117128"/>
                <a:gd name="connsiteX6" fmla="*/ 19923 w 165141"/>
                <a:gd name="connsiteY6" fmla="*/ 114133 h 117128"/>
                <a:gd name="connsiteX7" fmla="*/ -3120 w 165141"/>
                <a:gd name="connsiteY7" fmla="*/ 91464 h 117128"/>
                <a:gd name="connsiteX8" fmla="*/ -3684 w 165141"/>
                <a:gd name="connsiteY8" fmla="*/ 21010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1" h="117128">
                  <a:moveTo>
                    <a:pt x="-3684" y="21010"/>
                  </a:moveTo>
                  <a:cubicBezTo>
                    <a:pt x="-3783" y="8437"/>
                    <a:pt x="6420" y="-1934"/>
                    <a:pt x="18986" y="-2033"/>
                  </a:cubicBezTo>
                  <a:lnTo>
                    <a:pt x="137850" y="-2993"/>
                  </a:lnTo>
                  <a:cubicBezTo>
                    <a:pt x="150415" y="-3092"/>
                    <a:pt x="160794" y="7111"/>
                    <a:pt x="160885" y="19684"/>
                  </a:cubicBezTo>
                  <a:lnTo>
                    <a:pt x="161457" y="90130"/>
                  </a:lnTo>
                  <a:cubicBezTo>
                    <a:pt x="161556" y="102711"/>
                    <a:pt x="151353" y="113082"/>
                    <a:pt x="138787" y="113181"/>
                  </a:cubicBezTo>
                  <a:lnTo>
                    <a:pt x="19923" y="114133"/>
                  </a:lnTo>
                  <a:cubicBezTo>
                    <a:pt x="7350" y="114233"/>
                    <a:pt x="-3021" y="104030"/>
                    <a:pt x="-3120" y="91464"/>
                  </a:cubicBezTo>
                  <a:lnTo>
                    <a:pt x="-3684" y="21010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5E48438E-F33F-D831-E71C-3254FB6FEC92}"/>
                </a:ext>
              </a:extLst>
            </p:cNvPr>
            <p:cNvSpPr/>
            <p:nvPr/>
          </p:nvSpPr>
          <p:spPr>
            <a:xfrm flipV="1">
              <a:off x="4753142" y="4939388"/>
              <a:ext cx="110008" cy="78026"/>
            </a:xfrm>
            <a:custGeom>
              <a:avLst/>
              <a:gdLst>
                <a:gd name="connsiteX0" fmla="*/ -3438 w 165149"/>
                <a:gd name="connsiteY0" fmla="*/ 21007 h 117136"/>
                <a:gd name="connsiteX1" fmla="*/ 19239 w 165149"/>
                <a:gd name="connsiteY1" fmla="*/ -2036 h 117136"/>
                <a:gd name="connsiteX2" fmla="*/ 138096 w 165149"/>
                <a:gd name="connsiteY2" fmla="*/ -2996 h 117136"/>
                <a:gd name="connsiteX3" fmla="*/ 161146 w 165149"/>
                <a:gd name="connsiteY3" fmla="*/ 19681 h 117136"/>
                <a:gd name="connsiteX4" fmla="*/ 161710 w 165149"/>
                <a:gd name="connsiteY4" fmla="*/ 90136 h 117136"/>
                <a:gd name="connsiteX5" fmla="*/ 139033 w 165149"/>
                <a:gd name="connsiteY5" fmla="*/ 113178 h 117136"/>
                <a:gd name="connsiteX6" fmla="*/ 20176 w 165149"/>
                <a:gd name="connsiteY6" fmla="*/ 114139 h 117136"/>
                <a:gd name="connsiteX7" fmla="*/ -2867 w 165149"/>
                <a:gd name="connsiteY7" fmla="*/ 91461 h 117136"/>
                <a:gd name="connsiteX8" fmla="*/ -3438 w 165149"/>
                <a:gd name="connsiteY8" fmla="*/ 21007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3438" y="21007"/>
                  </a:moveTo>
                  <a:cubicBezTo>
                    <a:pt x="-3537" y="8434"/>
                    <a:pt x="6666" y="-1937"/>
                    <a:pt x="19239" y="-2036"/>
                  </a:cubicBezTo>
                  <a:lnTo>
                    <a:pt x="138096" y="-2996"/>
                  </a:lnTo>
                  <a:cubicBezTo>
                    <a:pt x="150676" y="-3095"/>
                    <a:pt x="161039" y="7108"/>
                    <a:pt x="161146" y="19681"/>
                  </a:cubicBezTo>
                  <a:lnTo>
                    <a:pt x="161710" y="90136"/>
                  </a:lnTo>
                  <a:cubicBezTo>
                    <a:pt x="161809" y="102709"/>
                    <a:pt x="151606" y="113079"/>
                    <a:pt x="139033" y="113178"/>
                  </a:cubicBezTo>
                  <a:lnTo>
                    <a:pt x="20176" y="114139"/>
                  </a:lnTo>
                  <a:cubicBezTo>
                    <a:pt x="7603" y="114238"/>
                    <a:pt x="-2768" y="104034"/>
                    <a:pt x="-2867" y="91461"/>
                  </a:cubicBezTo>
                  <a:lnTo>
                    <a:pt x="-3438" y="2100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0290C2B4-5593-517B-F084-A071B486836C}"/>
                </a:ext>
              </a:extLst>
            </p:cNvPr>
            <p:cNvSpPr/>
            <p:nvPr/>
          </p:nvSpPr>
          <p:spPr>
            <a:xfrm flipV="1">
              <a:off x="4609258" y="4938230"/>
              <a:ext cx="110004" cy="78021"/>
            </a:xfrm>
            <a:custGeom>
              <a:avLst/>
              <a:gdLst>
                <a:gd name="connsiteX0" fmla="*/ -3193 w 165142"/>
                <a:gd name="connsiteY0" fmla="*/ 20997 h 117128"/>
                <a:gd name="connsiteX1" fmla="*/ 19485 w 165142"/>
                <a:gd name="connsiteY1" fmla="*/ -2046 h 117128"/>
                <a:gd name="connsiteX2" fmla="*/ 138334 w 165142"/>
                <a:gd name="connsiteY2" fmla="*/ -2999 h 117128"/>
                <a:gd name="connsiteX3" fmla="*/ 161384 w 165142"/>
                <a:gd name="connsiteY3" fmla="*/ 19671 h 117128"/>
                <a:gd name="connsiteX4" fmla="*/ 161948 w 165142"/>
                <a:gd name="connsiteY4" fmla="*/ 90125 h 117128"/>
                <a:gd name="connsiteX5" fmla="*/ 139279 w 165142"/>
                <a:gd name="connsiteY5" fmla="*/ 113168 h 117128"/>
                <a:gd name="connsiteX6" fmla="*/ 20422 w 165142"/>
                <a:gd name="connsiteY6" fmla="*/ 114128 h 117128"/>
                <a:gd name="connsiteX7" fmla="*/ -2629 w 165142"/>
                <a:gd name="connsiteY7" fmla="*/ 91451 h 117128"/>
                <a:gd name="connsiteX8" fmla="*/ -3193 w 165142"/>
                <a:gd name="connsiteY8" fmla="*/ 20997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3193" y="20997"/>
                  </a:moveTo>
                  <a:cubicBezTo>
                    <a:pt x="-3291" y="8424"/>
                    <a:pt x="6904" y="-1947"/>
                    <a:pt x="19485" y="-2046"/>
                  </a:cubicBezTo>
                  <a:lnTo>
                    <a:pt x="138334" y="-2999"/>
                  </a:lnTo>
                  <a:cubicBezTo>
                    <a:pt x="150914" y="-3105"/>
                    <a:pt x="161278" y="7098"/>
                    <a:pt x="161384" y="19671"/>
                  </a:cubicBezTo>
                  <a:lnTo>
                    <a:pt x="161948" y="90125"/>
                  </a:lnTo>
                  <a:cubicBezTo>
                    <a:pt x="162055" y="102698"/>
                    <a:pt x="151852" y="113069"/>
                    <a:pt x="139279" y="113168"/>
                  </a:cubicBezTo>
                  <a:lnTo>
                    <a:pt x="20422" y="114128"/>
                  </a:lnTo>
                  <a:cubicBezTo>
                    <a:pt x="7841" y="114228"/>
                    <a:pt x="-2522" y="104024"/>
                    <a:pt x="-2629" y="91451"/>
                  </a:cubicBezTo>
                  <a:lnTo>
                    <a:pt x="-3193" y="2099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D479A174-1230-F8BB-0041-88292FB5C23B}"/>
                </a:ext>
              </a:extLst>
            </p:cNvPr>
            <p:cNvSpPr/>
            <p:nvPr/>
          </p:nvSpPr>
          <p:spPr>
            <a:xfrm flipV="1">
              <a:off x="4321485" y="4935916"/>
              <a:ext cx="110008" cy="78021"/>
            </a:xfrm>
            <a:custGeom>
              <a:avLst/>
              <a:gdLst>
                <a:gd name="connsiteX0" fmla="*/ -2701 w 165149"/>
                <a:gd name="connsiteY0" fmla="*/ 20999 h 117128"/>
                <a:gd name="connsiteX1" fmla="*/ 19976 w 165149"/>
                <a:gd name="connsiteY1" fmla="*/ -2044 h 117128"/>
                <a:gd name="connsiteX2" fmla="*/ 138833 w 165149"/>
                <a:gd name="connsiteY2" fmla="*/ -3004 h 117128"/>
                <a:gd name="connsiteX3" fmla="*/ 161883 w 165149"/>
                <a:gd name="connsiteY3" fmla="*/ 19673 h 117128"/>
                <a:gd name="connsiteX4" fmla="*/ 162447 w 165149"/>
                <a:gd name="connsiteY4" fmla="*/ 90128 h 117128"/>
                <a:gd name="connsiteX5" fmla="*/ 139770 w 165149"/>
                <a:gd name="connsiteY5" fmla="*/ 113171 h 117128"/>
                <a:gd name="connsiteX6" fmla="*/ 20913 w 165149"/>
                <a:gd name="connsiteY6" fmla="*/ 114123 h 117128"/>
                <a:gd name="connsiteX7" fmla="*/ -2130 w 165149"/>
                <a:gd name="connsiteY7" fmla="*/ 91454 h 117128"/>
                <a:gd name="connsiteX8" fmla="*/ -2701 w 165149"/>
                <a:gd name="connsiteY8" fmla="*/ 20999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2701" y="20999"/>
                  </a:moveTo>
                  <a:cubicBezTo>
                    <a:pt x="-2800" y="8426"/>
                    <a:pt x="7403" y="-1945"/>
                    <a:pt x="19976" y="-2044"/>
                  </a:cubicBezTo>
                  <a:lnTo>
                    <a:pt x="138833" y="-3004"/>
                  </a:lnTo>
                  <a:cubicBezTo>
                    <a:pt x="151413" y="-3103"/>
                    <a:pt x="161777" y="7100"/>
                    <a:pt x="161883" y="19673"/>
                  </a:cubicBezTo>
                  <a:lnTo>
                    <a:pt x="162447" y="90128"/>
                  </a:lnTo>
                  <a:cubicBezTo>
                    <a:pt x="162546" y="102701"/>
                    <a:pt x="152343" y="113071"/>
                    <a:pt x="139770" y="113171"/>
                  </a:cubicBezTo>
                  <a:lnTo>
                    <a:pt x="20913" y="114123"/>
                  </a:lnTo>
                  <a:cubicBezTo>
                    <a:pt x="8340" y="114222"/>
                    <a:pt x="-2031" y="104027"/>
                    <a:pt x="-2130" y="91454"/>
                  </a:cubicBezTo>
                  <a:lnTo>
                    <a:pt x="-2701" y="2099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496EC185-3BD7-CA08-8C22-EB9390E740AD}"/>
                </a:ext>
              </a:extLst>
            </p:cNvPr>
            <p:cNvSpPr/>
            <p:nvPr/>
          </p:nvSpPr>
          <p:spPr>
            <a:xfrm flipV="1">
              <a:off x="3994478" y="4314368"/>
              <a:ext cx="2214048" cy="485333"/>
            </a:xfrm>
            <a:custGeom>
              <a:avLst/>
              <a:gdLst>
                <a:gd name="connsiteX0" fmla="*/ 308676 w 3323815"/>
                <a:gd name="connsiteY0" fmla="*/ 1549 h 728601"/>
                <a:gd name="connsiteX1" fmla="*/ 2996966 w 3323815"/>
                <a:gd name="connsiteY1" fmla="*/ -3937 h 728601"/>
                <a:gd name="connsiteX2" fmla="*/ 3124875 w 3323815"/>
                <a:gd name="connsiteY2" fmla="*/ 101676 h 728601"/>
                <a:gd name="connsiteX3" fmla="*/ 3308913 w 3323815"/>
                <a:gd name="connsiteY3" fmla="*/ 578352 h 728601"/>
                <a:gd name="connsiteX4" fmla="*/ 3246209 w 3323815"/>
                <a:gd name="connsiteY4" fmla="*/ 718172 h 728601"/>
                <a:gd name="connsiteX5" fmla="*/ 71076 w 3323815"/>
                <a:gd name="connsiteY5" fmla="*/ 724664 h 728601"/>
                <a:gd name="connsiteX6" fmla="*/ 6123 w 3323815"/>
                <a:gd name="connsiteY6" fmla="*/ 585096 h 728601"/>
                <a:gd name="connsiteX7" fmla="*/ 190421 w 3323815"/>
                <a:gd name="connsiteY7" fmla="*/ 107863 h 728601"/>
                <a:gd name="connsiteX8" fmla="*/ 308676 w 3323815"/>
                <a:gd name="connsiteY8" fmla="*/ 1549 h 728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23815" h="728601">
                  <a:moveTo>
                    <a:pt x="308676" y="1549"/>
                  </a:moveTo>
                  <a:lnTo>
                    <a:pt x="2996966" y="-3937"/>
                  </a:lnTo>
                  <a:cubicBezTo>
                    <a:pt x="3050397" y="-4044"/>
                    <a:pt x="3103021" y="42521"/>
                    <a:pt x="3124875" y="101676"/>
                  </a:cubicBezTo>
                  <a:lnTo>
                    <a:pt x="3308913" y="578352"/>
                  </a:lnTo>
                  <a:cubicBezTo>
                    <a:pt x="3337008" y="654407"/>
                    <a:pt x="3309325" y="718050"/>
                    <a:pt x="3246209" y="718172"/>
                  </a:cubicBezTo>
                  <a:lnTo>
                    <a:pt x="71076" y="724664"/>
                  </a:lnTo>
                  <a:cubicBezTo>
                    <a:pt x="7968" y="724794"/>
                    <a:pt x="-20745" y="661265"/>
                    <a:pt x="6123" y="585096"/>
                  </a:cubicBezTo>
                  <a:lnTo>
                    <a:pt x="190421" y="107863"/>
                  </a:lnTo>
                  <a:cubicBezTo>
                    <a:pt x="211322" y="48625"/>
                    <a:pt x="255237" y="1663"/>
                    <a:pt x="308676" y="1549"/>
                  </a:cubicBez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E6FC759F-FB8D-2222-0DE6-5B843033BC07}"/>
                </a:ext>
              </a:extLst>
            </p:cNvPr>
            <p:cNvSpPr/>
            <p:nvPr/>
          </p:nvSpPr>
          <p:spPr>
            <a:xfrm flipV="1">
              <a:off x="3997945" y="4368202"/>
              <a:ext cx="2206953" cy="431706"/>
            </a:xfrm>
            <a:custGeom>
              <a:avLst/>
              <a:gdLst>
                <a:gd name="connsiteX0" fmla="*/ 303601 w 3313163"/>
                <a:gd name="connsiteY0" fmla="*/ 1912 h 648094"/>
                <a:gd name="connsiteX1" fmla="*/ 2992554 w 3313163"/>
                <a:gd name="connsiteY1" fmla="*/ -3582 h 648094"/>
                <a:gd name="connsiteX2" fmla="*/ 3095691 w 3313163"/>
                <a:gd name="connsiteY2" fmla="*/ 42648 h 648094"/>
                <a:gd name="connsiteX3" fmla="*/ 3298847 w 3313163"/>
                <a:gd name="connsiteY3" fmla="*/ 513938 h 648094"/>
                <a:gd name="connsiteX4" fmla="*/ 3235007 w 3313163"/>
                <a:gd name="connsiteY4" fmla="*/ 637755 h 648094"/>
                <a:gd name="connsiteX5" fmla="*/ 71495 w 3313163"/>
                <a:gd name="connsiteY5" fmla="*/ 644217 h 648094"/>
                <a:gd name="connsiteX6" fmla="*/ 5659 w 3313163"/>
                <a:gd name="connsiteY6" fmla="*/ 520666 h 648094"/>
                <a:gd name="connsiteX7" fmla="*/ 201988 w 3313163"/>
                <a:gd name="connsiteY7" fmla="*/ 49072 h 648094"/>
                <a:gd name="connsiteX8" fmla="*/ 303601 w 3313163"/>
                <a:gd name="connsiteY8" fmla="*/ 1912 h 648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13163" h="648094">
                  <a:moveTo>
                    <a:pt x="303601" y="1912"/>
                  </a:moveTo>
                  <a:lnTo>
                    <a:pt x="2992554" y="-3582"/>
                  </a:lnTo>
                  <a:cubicBezTo>
                    <a:pt x="3046008" y="-3697"/>
                    <a:pt x="3074362" y="-10052"/>
                    <a:pt x="3095691" y="42648"/>
                  </a:cubicBezTo>
                  <a:lnTo>
                    <a:pt x="3298847" y="513938"/>
                  </a:lnTo>
                  <a:cubicBezTo>
                    <a:pt x="3326104" y="581291"/>
                    <a:pt x="3297887" y="637626"/>
                    <a:pt x="3235007" y="637755"/>
                  </a:cubicBezTo>
                  <a:lnTo>
                    <a:pt x="71495" y="644217"/>
                  </a:lnTo>
                  <a:cubicBezTo>
                    <a:pt x="8615" y="644346"/>
                    <a:pt x="-20516" y="588134"/>
                    <a:pt x="5659" y="520666"/>
                  </a:cubicBezTo>
                  <a:lnTo>
                    <a:pt x="201988" y="49072"/>
                  </a:lnTo>
                  <a:cubicBezTo>
                    <a:pt x="222463" y="-3712"/>
                    <a:pt x="250154" y="2018"/>
                    <a:pt x="303601" y="1912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EF6C6A00-658D-9B43-41BE-302FDF45D8D0}"/>
                </a:ext>
              </a:extLst>
            </p:cNvPr>
            <p:cNvSpPr/>
            <p:nvPr/>
          </p:nvSpPr>
          <p:spPr>
            <a:xfrm flipV="1">
              <a:off x="4085733" y="4429522"/>
              <a:ext cx="2035385" cy="335600"/>
            </a:xfrm>
            <a:custGeom>
              <a:avLst/>
              <a:gdLst>
                <a:gd name="connsiteX0" fmla="*/ 246887 w 3055598"/>
                <a:gd name="connsiteY0" fmla="*/ 16667 h 503815"/>
                <a:gd name="connsiteX1" fmla="*/ 2793552 w 3055598"/>
                <a:gd name="connsiteY1" fmla="*/ -3846 h 503815"/>
                <a:gd name="connsiteX2" fmla="*/ 2916676 w 3055598"/>
                <a:gd name="connsiteY2" fmla="*/ 96395 h 503815"/>
                <a:gd name="connsiteX3" fmla="*/ 3034078 w 3055598"/>
                <a:gd name="connsiteY3" fmla="*/ 348480 h 503815"/>
                <a:gd name="connsiteX4" fmla="*/ 3004664 w 3055598"/>
                <a:gd name="connsiteY4" fmla="*/ 476115 h 503815"/>
                <a:gd name="connsiteX5" fmla="*/ 44050 w 3055598"/>
                <a:gd name="connsiteY5" fmla="*/ 499966 h 503815"/>
                <a:gd name="connsiteX6" fmla="*/ 12450 w 3055598"/>
                <a:gd name="connsiteY6" fmla="*/ 372818 h 503815"/>
                <a:gd name="connsiteX7" fmla="*/ 125501 w 3055598"/>
                <a:gd name="connsiteY7" fmla="*/ 118882 h 503815"/>
                <a:gd name="connsiteX8" fmla="*/ 246887 w 3055598"/>
                <a:gd name="connsiteY8" fmla="*/ 16667 h 50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55598" h="503815">
                  <a:moveTo>
                    <a:pt x="246887" y="16667"/>
                  </a:moveTo>
                  <a:lnTo>
                    <a:pt x="2793552" y="-3846"/>
                  </a:lnTo>
                  <a:cubicBezTo>
                    <a:pt x="2835439" y="-4181"/>
                    <a:pt x="2890448" y="40091"/>
                    <a:pt x="2916676" y="96395"/>
                  </a:cubicBezTo>
                  <a:lnTo>
                    <a:pt x="3034078" y="348480"/>
                  </a:lnTo>
                  <a:cubicBezTo>
                    <a:pt x="3066036" y="417098"/>
                    <a:pt x="3053356" y="475726"/>
                    <a:pt x="3004664" y="476115"/>
                  </a:cubicBezTo>
                  <a:lnTo>
                    <a:pt x="44050" y="499966"/>
                  </a:lnTo>
                  <a:cubicBezTo>
                    <a:pt x="-4641" y="500362"/>
                    <a:pt x="-18327" y="441947"/>
                    <a:pt x="12450" y="372818"/>
                  </a:cubicBezTo>
                  <a:lnTo>
                    <a:pt x="125501" y="118882"/>
                  </a:lnTo>
                  <a:cubicBezTo>
                    <a:pt x="150753" y="62159"/>
                    <a:pt x="205008" y="17010"/>
                    <a:pt x="246887" y="16667"/>
                  </a:cubicBez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42E2110C-E751-E082-9402-1781828686D7}"/>
                </a:ext>
              </a:extLst>
            </p:cNvPr>
            <p:cNvSpPr/>
            <p:nvPr/>
          </p:nvSpPr>
          <p:spPr>
            <a:xfrm flipV="1">
              <a:off x="5759563" y="5041284"/>
              <a:ext cx="110004" cy="78021"/>
            </a:xfrm>
            <a:custGeom>
              <a:avLst/>
              <a:gdLst>
                <a:gd name="connsiteX0" fmla="*/ -5157 w 165142"/>
                <a:gd name="connsiteY0" fmla="*/ 21234 h 117128"/>
                <a:gd name="connsiteX1" fmla="*/ 17521 w 165142"/>
                <a:gd name="connsiteY1" fmla="*/ -1808 h 117128"/>
                <a:gd name="connsiteX2" fmla="*/ 136370 w 165142"/>
                <a:gd name="connsiteY2" fmla="*/ -2769 h 117128"/>
                <a:gd name="connsiteX3" fmla="*/ 159420 w 165142"/>
                <a:gd name="connsiteY3" fmla="*/ 19909 h 117128"/>
                <a:gd name="connsiteX4" fmla="*/ 159984 w 165142"/>
                <a:gd name="connsiteY4" fmla="*/ 90363 h 117128"/>
                <a:gd name="connsiteX5" fmla="*/ 137315 w 165142"/>
                <a:gd name="connsiteY5" fmla="*/ 113406 h 117128"/>
                <a:gd name="connsiteX6" fmla="*/ 18450 w 165142"/>
                <a:gd name="connsiteY6" fmla="*/ 114358 h 117128"/>
                <a:gd name="connsiteX7" fmla="*/ -4593 w 165142"/>
                <a:gd name="connsiteY7" fmla="*/ 91689 h 117128"/>
                <a:gd name="connsiteX8" fmla="*/ -5157 w 165142"/>
                <a:gd name="connsiteY8" fmla="*/ 21234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5157" y="21234"/>
                  </a:moveTo>
                  <a:cubicBezTo>
                    <a:pt x="-5256" y="8661"/>
                    <a:pt x="4940" y="-1709"/>
                    <a:pt x="17521" y="-1808"/>
                  </a:cubicBezTo>
                  <a:lnTo>
                    <a:pt x="136370" y="-2769"/>
                  </a:lnTo>
                  <a:cubicBezTo>
                    <a:pt x="148950" y="-2868"/>
                    <a:pt x="159314" y="7336"/>
                    <a:pt x="159420" y="19909"/>
                  </a:cubicBezTo>
                  <a:lnTo>
                    <a:pt x="159984" y="90363"/>
                  </a:lnTo>
                  <a:cubicBezTo>
                    <a:pt x="160091" y="102928"/>
                    <a:pt x="149888" y="113299"/>
                    <a:pt x="137315" y="113406"/>
                  </a:cubicBezTo>
                  <a:lnTo>
                    <a:pt x="18450" y="114358"/>
                  </a:lnTo>
                  <a:cubicBezTo>
                    <a:pt x="5877" y="114465"/>
                    <a:pt x="-4494" y="104262"/>
                    <a:pt x="-4593" y="91689"/>
                  </a:cubicBezTo>
                  <a:lnTo>
                    <a:pt x="-5157" y="2123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F599BA05-3DD3-6E46-DA85-596A243700CC}"/>
                </a:ext>
              </a:extLst>
            </p:cNvPr>
            <p:cNvSpPr/>
            <p:nvPr/>
          </p:nvSpPr>
          <p:spPr>
            <a:xfrm flipV="1">
              <a:off x="5615679" y="5040122"/>
              <a:ext cx="109999" cy="78026"/>
            </a:xfrm>
            <a:custGeom>
              <a:avLst/>
              <a:gdLst>
                <a:gd name="connsiteX0" fmla="*/ -4911 w 165134"/>
                <a:gd name="connsiteY0" fmla="*/ 21232 h 117136"/>
                <a:gd name="connsiteX1" fmla="*/ 17759 w 165134"/>
                <a:gd name="connsiteY1" fmla="*/ -1811 h 117136"/>
                <a:gd name="connsiteX2" fmla="*/ 136623 w 165134"/>
                <a:gd name="connsiteY2" fmla="*/ -2771 h 117136"/>
                <a:gd name="connsiteX3" fmla="*/ 159658 w 165134"/>
                <a:gd name="connsiteY3" fmla="*/ 19906 h 117136"/>
                <a:gd name="connsiteX4" fmla="*/ 160222 w 165134"/>
                <a:gd name="connsiteY4" fmla="*/ 90360 h 117136"/>
                <a:gd name="connsiteX5" fmla="*/ 137553 w 165134"/>
                <a:gd name="connsiteY5" fmla="*/ 113403 h 117136"/>
                <a:gd name="connsiteX6" fmla="*/ 18696 w 165134"/>
                <a:gd name="connsiteY6" fmla="*/ 114363 h 117136"/>
                <a:gd name="connsiteX7" fmla="*/ -4347 w 165134"/>
                <a:gd name="connsiteY7" fmla="*/ 91686 h 117136"/>
                <a:gd name="connsiteX8" fmla="*/ -4911 w 165134"/>
                <a:gd name="connsiteY8" fmla="*/ 21232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36">
                  <a:moveTo>
                    <a:pt x="-4911" y="21232"/>
                  </a:moveTo>
                  <a:cubicBezTo>
                    <a:pt x="-5018" y="8659"/>
                    <a:pt x="5193" y="-1704"/>
                    <a:pt x="17759" y="-1811"/>
                  </a:cubicBezTo>
                  <a:lnTo>
                    <a:pt x="136623" y="-2771"/>
                  </a:lnTo>
                  <a:cubicBezTo>
                    <a:pt x="149188" y="-2870"/>
                    <a:pt x="159567" y="7333"/>
                    <a:pt x="159658" y="19906"/>
                  </a:cubicBezTo>
                  <a:lnTo>
                    <a:pt x="160222" y="90360"/>
                  </a:lnTo>
                  <a:cubicBezTo>
                    <a:pt x="160329" y="102933"/>
                    <a:pt x="150126" y="113304"/>
                    <a:pt x="137553" y="113403"/>
                  </a:cubicBezTo>
                  <a:lnTo>
                    <a:pt x="18696" y="114363"/>
                  </a:lnTo>
                  <a:cubicBezTo>
                    <a:pt x="6123" y="114463"/>
                    <a:pt x="-4248" y="104259"/>
                    <a:pt x="-4347" y="91686"/>
                  </a:cubicBezTo>
                  <a:lnTo>
                    <a:pt x="-4911" y="2123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4C3D9BAF-3C72-2807-F02E-C57BB39E7E93}"/>
                </a:ext>
              </a:extLst>
            </p:cNvPr>
            <p:cNvSpPr/>
            <p:nvPr/>
          </p:nvSpPr>
          <p:spPr>
            <a:xfrm flipV="1">
              <a:off x="5471790" y="5038965"/>
              <a:ext cx="110008" cy="78021"/>
            </a:xfrm>
            <a:custGeom>
              <a:avLst/>
              <a:gdLst>
                <a:gd name="connsiteX0" fmla="*/ -4665 w 165149"/>
                <a:gd name="connsiteY0" fmla="*/ 21222 h 117128"/>
                <a:gd name="connsiteX1" fmla="*/ 18012 w 165149"/>
                <a:gd name="connsiteY1" fmla="*/ -1821 h 117128"/>
                <a:gd name="connsiteX2" fmla="*/ 136868 w 165149"/>
                <a:gd name="connsiteY2" fmla="*/ -2774 h 117128"/>
                <a:gd name="connsiteX3" fmla="*/ 159919 w 165149"/>
                <a:gd name="connsiteY3" fmla="*/ 19903 h 117128"/>
                <a:gd name="connsiteX4" fmla="*/ 160483 w 165149"/>
                <a:gd name="connsiteY4" fmla="*/ 90350 h 117128"/>
                <a:gd name="connsiteX5" fmla="*/ 137806 w 165149"/>
                <a:gd name="connsiteY5" fmla="*/ 113401 h 117128"/>
                <a:gd name="connsiteX6" fmla="*/ 18949 w 165149"/>
                <a:gd name="connsiteY6" fmla="*/ 114353 h 117128"/>
                <a:gd name="connsiteX7" fmla="*/ -4102 w 165149"/>
                <a:gd name="connsiteY7" fmla="*/ 91676 h 117128"/>
                <a:gd name="connsiteX8" fmla="*/ -4665 w 165149"/>
                <a:gd name="connsiteY8" fmla="*/ 21222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665" y="21222"/>
                  </a:moveTo>
                  <a:cubicBezTo>
                    <a:pt x="-4765" y="8649"/>
                    <a:pt x="5439" y="-1715"/>
                    <a:pt x="18012" y="-1821"/>
                  </a:cubicBezTo>
                  <a:lnTo>
                    <a:pt x="136868" y="-2774"/>
                  </a:lnTo>
                  <a:cubicBezTo>
                    <a:pt x="149441" y="-2880"/>
                    <a:pt x="159812" y="7330"/>
                    <a:pt x="159919" y="19903"/>
                  </a:cubicBezTo>
                  <a:lnTo>
                    <a:pt x="160483" y="90350"/>
                  </a:lnTo>
                  <a:cubicBezTo>
                    <a:pt x="160574" y="102931"/>
                    <a:pt x="150379" y="113294"/>
                    <a:pt x="137806" y="113401"/>
                  </a:cubicBezTo>
                  <a:lnTo>
                    <a:pt x="18949" y="114353"/>
                  </a:lnTo>
                  <a:cubicBezTo>
                    <a:pt x="6376" y="114453"/>
                    <a:pt x="-3995" y="104249"/>
                    <a:pt x="-4102" y="91676"/>
                  </a:cubicBezTo>
                  <a:lnTo>
                    <a:pt x="-4665" y="2122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F97E876D-889A-6B17-6922-B8E34D858BF1}"/>
                </a:ext>
              </a:extLst>
            </p:cNvPr>
            <p:cNvSpPr/>
            <p:nvPr/>
          </p:nvSpPr>
          <p:spPr>
            <a:xfrm flipV="1">
              <a:off x="5327906" y="5037803"/>
              <a:ext cx="110004" cy="78026"/>
            </a:xfrm>
            <a:custGeom>
              <a:avLst/>
              <a:gdLst>
                <a:gd name="connsiteX0" fmla="*/ -4420 w 165142"/>
                <a:gd name="connsiteY0" fmla="*/ 21227 h 117136"/>
                <a:gd name="connsiteX1" fmla="*/ 18258 w 165142"/>
                <a:gd name="connsiteY1" fmla="*/ -1824 h 117136"/>
                <a:gd name="connsiteX2" fmla="*/ 137107 w 165142"/>
                <a:gd name="connsiteY2" fmla="*/ -2776 h 117136"/>
                <a:gd name="connsiteX3" fmla="*/ 160157 w 165142"/>
                <a:gd name="connsiteY3" fmla="*/ 19901 h 117136"/>
                <a:gd name="connsiteX4" fmla="*/ 160721 w 165142"/>
                <a:gd name="connsiteY4" fmla="*/ 90355 h 117136"/>
                <a:gd name="connsiteX5" fmla="*/ 138052 w 165142"/>
                <a:gd name="connsiteY5" fmla="*/ 113398 h 117136"/>
                <a:gd name="connsiteX6" fmla="*/ 19187 w 165142"/>
                <a:gd name="connsiteY6" fmla="*/ 114358 h 117136"/>
                <a:gd name="connsiteX7" fmla="*/ -3856 w 165142"/>
                <a:gd name="connsiteY7" fmla="*/ 91674 h 117136"/>
                <a:gd name="connsiteX8" fmla="*/ -4420 w 165142"/>
                <a:gd name="connsiteY8" fmla="*/ 21227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36">
                  <a:moveTo>
                    <a:pt x="-4420" y="21227"/>
                  </a:moveTo>
                  <a:cubicBezTo>
                    <a:pt x="-4519" y="8654"/>
                    <a:pt x="5677" y="-1717"/>
                    <a:pt x="18258" y="-1824"/>
                  </a:cubicBezTo>
                  <a:lnTo>
                    <a:pt x="137107" y="-2776"/>
                  </a:lnTo>
                  <a:cubicBezTo>
                    <a:pt x="149687" y="-2875"/>
                    <a:pt x="160050" y="7328"/>
                    <a:pt x="160157" y="19901"/>
                  </a:cubicBezTo>
                  <a:lnTo>
                    <a:pt x="160721" y="90355"/>
                  </a:lnTo>
                  <a:cubicBezTo>
                    <a:pt x="160828" y="102928"/>
                    <a:pt x="150625" y="113291"/>
                    <a:pt x="138052" y="113398"/>
                  </a:cubicBezTo>
                  <a:lnTo>
                    <a:pt x="19187" y="114358"/>
                  </a:lnTo>
                  <a:cubicBezTo>
                    <a:pt x="6614" y="114457"/>
                    <a:pt x="-3757" y="104247"/>
                    <a:pt x="-3856" y="91674"/>
                  </a:cubicBezTo>
                  <a:lnTo>
                    <a:pt x="-4420" y="2122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CE88CEF5-BAEC-3A70-93FD-5F0C0A00CAED}"/>
                </a:ext>
              </a:extLst>
            </p:cNvPr>
            <p:cNvSpPr/>
            <p:nvPr/>
          </p:nvSpPr>
          <p:spPr>
            <a:xfrm flipV="1">
              <a:off x="5184022" y="5036646"/>
              <a:ext cx="109999" cy="78026"/>
            </a:xfrm>
            <a:custGeom>
              <a:avLst/>
              <a:gdLst>
                <a:gd name="connsiteX0" fmla="*/ -4174 w 165135"/>
                <a:gd name="connsiteY0" fmla="*/ 21224 h 117136"/>
                <a:gd name="connsiteX1" fmla="*/ 18496 w 165135"/>
                <a:gd name="connsiteY1" fmla="*/ -1819 h 117136"/>
                <a:gd name="connsiteX2" fmla="*/ 137360 w 165135"/>
                <a:gd name="connsiteY2" fmla="*/ -2779 h 117136"/>
                <a:gd name="connsiteX3" fmla="*/ 160396 w 165135"/>
                <a:gd name="connsiteY3" fmla="*/ 19898 h 117136"/>
                <a:gd name="connsiteX4" fmla="*/ 160960 w 165135"/>
                <a:gd name="connsiteY4" fmla="*/ 90353 h 117136"/>
                <a:gd name="connsiteX5" fmla="*/ 138290 w 165135"/>
                <a:gd name="connsiteY5" fmla="*/ 113396 h 117136"/>
                <a:gd name="connsiteX6" fmla="*/ 19433 w 165135"/>
                <a:gd name="connsiteY6" fmla="*/ 114356 h 117136"/>
                <a:gd name="connsiteX7" fmla="*/ -3610 w 165135"/>
                <a:gd name="connsiteY7" fmla="*/ 91679 h 117136"/>
                <a:gd name="connsiteX8" fmla="*/ -4174 w 165135"/>
                <a:gd name="connsiteY8" fmla="*/ 21224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5" h="117136">
                  <a:moveTo>
                    <a:pt x="-4174" y="21224"/>
                  </a:moveTo>
                  <a:cubicBezTo>
                    <a:pt x="-4280" y="8651"/>
                    <a:pt x="5931" y="-1720"/>
                    <a:pt x="18496" y="-1819"/>
                  </a:cubicBezTo>
                  <a:lnTo>
                    <a:pt x="137360" y="-2779"/>
                  </a:lnTo>
                  <a:cubicBezTo>
                    <a:pt x="149926" y="-2878"/>
                    <a:pt x="160304" y="7325"/>
                    <a:pt x="160396" y="19898"/>
                  </a:cubicBezTo>
                  <a:lnTo>
                    <a:pt x="160960" y="90353"/>
                  </a:lnTo>
                  <a:cubicBezTo>
                    <a:pt x="161066" y="102926"/>
                    <a:pt x="150863" y="113296"/>
                    <a:pt x="138290" y="113396"/>
                  </a:cubicBezTo>
                  <a:lnTo>
                    <a:pt x="19433" y="114356"/>
                  </a:lnTo>
                  <a:cubicBezTo>
                    <a:pt x="6860" y="114455"/>
                    <a:pt x="-3511" y="104252"/>
                    <a:pt x="-3610" y="91679"/>
                  </a:cubicBezTo>
                  <a:lnTo>
                    <a:pt x="-4174" y="2122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3E1FD47B-DFDF-2A32-A8EA-2B2B3FC808A2}"/>
                </a:ext>
              </a:extLst>
            </p:cNvPr>
            <p:cNvSpPr/>
            <p:nvPr/>
          </p:nvSpPr>
          <p:spPr>
            <a:xfrm flipV="1">
              <a:off x="5040133" y="5035488"/>
              <a:ext cx="110008" cy="78026"/>
            </a:xfrm>
            <a:custGeom>
              <a:avLst/>
              <a:gdLst>
                <a:gd name="connsiteX0" fmla="*/ -3928 w 165149"/>
                <a:gd name="connsiteY0" fmla="*/ 21221 h 117136"/>
                <a:gd name="connsiteX1" fmla="*/ 18749 w 165149"/>
                <a:gd name="connsiteY1" fmla="*/ -1822 h 117136"/>
                <a:gd name="connsiteX2" fmla="*/ 137606 w 165149"/>
                <a:gd name="connsiteY2" fmla="*/ -2782 h 117136"/>
                <a:gd name="connsiteX3" fmla="*/ 160656 w 165149"/>
                <a:gd name="connsiteY3" fmla="*/ 19903 h 117136"/>
                <a:gd name="connsiteX4" fmla="*/ 161220 w 165149"/>
                <a:gd name="connsiteY4" fmla="*/ 90350 h 117136"/>
                <a:gd name="connsiteX5" fmla="*/ 138543 w 165149"/>
                <a:gd name="connsiteY5" fmla="*/ 113393 h 117136"/>
                <a:gd name="connsiteX6" fmla="*/ 19686 w 165149"/>
                <a:gd name="connsiteY6" fmla="*/ 114353 h 117136"/>
                <a:gd name="connsiteX7" fmla="*/ -3364 w 165149"/>
                <a:gd name="connsiteY7" fmla="*/ 91676 h 117136"/>
                <a:gd name="connsiteX8" fmla="*/ -3928 w 165149"/>
                <a:gd name="connsiteY8" fmla="*/ 21221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3928" y="21221"/>
                  </a:moveTo>
                  <a:cubicBezTo>
                    <a:pt x="-4027" y="8648"/>
                    <a:pt x="6176" y="-1715"/>
                    <a:pt x="18749" y="-1822"/>
                  </a:cubicBezTo>
                  <a:lnTo>
                    <a:pt x="137606" y="-2782"/>
                  </a:lnTo>
                  <a:cubicBezTo>
                    <a:pt x="150179" y="-2881"/>
                    <a:pt x="160550" y="7330"/>
                    <a:pt x="160656" y="19903"/>
                  </a:cubicBezTo>
                  <a:lnTo>
                    <a:pt x="161220" y="90350"/>
                  </a:lnTo>
                  <a:cubicBezTo>
                    <a:pt x="161312" y="102923"/>
                    <a:pt x="151116" y="113294"/>
                    <a:pt x="138543" y="113393"/>
                  </a:cubicBezTo>
                  <a:lnTo>
                    <a:pt x="19686" y="114353"/>
                  </a:lnTo>
                  <a:cubicBezTo>
                    <a:pt x="7113" y="114452"/>
                    <a:pt x="-3257" y="104249"/>
                    <a:pt x="-3364" y="91676"/>
                  </a:cubicBezTo>
                  <a:lnTo>
                    <a:pt x="-3928" y="2122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B7242F38-C0AE-7AFC-AB14-DBD32C7360E4}"/>
                </a:ext>
              </a:extLst>
            </p:cNvPr>
            <p:cNvSpPr/>
            <p:nvPr/>
          </p:nvSpPr>
          <p:spPr>
            <a:xfrm flipV="1">
              <a:off x="4896249" y="5034331"/>
              <a:ext cx="110003" cy="78021"/>
            </a:xfrm>
            <a:custGeom>
              <a:avLst/>
              <a:gdLst>
                <a:gd name="connsiteX0" fmla="*/ -3683 w 165141"/>
                <a:gd name="connsiteY0" fmla="*/ 21211 h 117128"/>
                <a:gd name="connsiteX1" fmla="*/ 18994 w 165141"/>
                <a:gd name="connsiteY1" fmla="*/ -1824 h 117128"/>
                <a:gd name="connsiteX2" fmla="*/ 137844 w 165141"/>
                <a:gd name="connsiteY2" fmla="*/ -2784 h 117128"/>
                <a:gd name="connsiteX3" fmla="*/ 160894 w 165141"/>
                <a:gd name="connsiteY3" fmla="*/ 19893 h 117128"/>
                <a:gd name="connsiteX4" fmla="*/ 161458 w 165141"/>
                <a:gd name="connsiteY4" fmla="*/ 90348 h 117128"/>
                <a:gd name="connsiteX5" fmla="*/ 138788 w 165141"/>
                <a:gd name="connsiteY5" fmla="*/ 113391 h 117128"/>
                <a:gd name="connsiteX6" fmla="*/ 19924 w 165141"/>
                <a:gd name="connsiteY6" fmla="*/ 114343 h 117128"/>
                <a:gd name="connsiteX7" fmla="*/ -3119 w 165141"/>
                <a:gd name="connsiteY7" fmla="*/ 91674 h 117128"/>
                <a:gd name="connsiteX8" fmla="*/ -3683 w 165141"/>
                <a:gd name="connsiteY8" fmla="*/ 21211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1" h="117128">
                  <a:moveTo>
                    <a:pt x="-3683" y="21211"/>
                  </a:moveTo>
                  <a:cubicBezTo>
                    <a:pt x="-3782" y="8646"/>
                    <a:pt x="6414" y="-1725"/>
                    <a:pt x="18994" y="-1824"/>
                  </a:cubicBezTo>
                  <a:lnTo>
                    <a:pt x="137844" y="-2784"/>
                  </a:lnTo>
                  <a:cubicBezTo>
                    <a:pt x="150424" y="-2883"/>
                    <a:pt x="160787" y="7320"/>
                    <a:pt x="160894" y="19893"/>
                  </a:cubicBezTo>
                  <a:lnTo>
                    <a:pt x="161458" y="90348"/>
                  </a:lnTo>
                  <a:cubicBezTo>
                    <a:pt x="161565" y="102921"/>
                    <a:pt x="151361" y="113284"/>
                    <a:pt x="138788" y="113391"/>
                  </a:cubicBezTo>
                  <a:lnTo>
                    <a:pt x="19924" y="114343"/>
                  </a:lnTo>
                  <a:cubicBezTo>
                    <a:pt x="7351" y="114442"/>
                    <a:pt x="-3020" y="104239"/>
                    <a:pt x="-3119" y="91674"/>
                  </a:cubicBezTo>
                  <a:lnTo>
                    <a:pt x="-3683" y="2121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24F35209-8306-9237-12D0-E85193032F01}"/>
                </a:ext>
              </a:extLst>
            </p:cNvPr>
            <p:cNvSpPr/>
            <p:nvPr/>
          </p:nvSpPr>
          <p:spPr>
            <a:xfrm flipV="1">
              <a:off x="4752365" y="5033168"/>
              <a:ext cx="109999" cy="78026"/>
            </a:xfrm>
            <a:custGeom>
              <a:avLst/>
              <a:gdLst>
                <a:gd name="connsiteX0" fmla="*/ -3437 w 165134"/>
                <a:gd name="connsiteY0" fmla="*/ 21216 h 117136"/>
                <a:gd name="connsiteX1" fmla="*/ 19233 w 165134"/>
                <a:gd name="connsiteY1" fmla="*/ -1827 h 117136"/>
                <a:gd name="connsiteX2" fmla="*/ 138097 w 165134"/>
                <a:gd name="connsiteY2" fmla="*/ -2787 h 117136"/>
                <a:gd name="connsiteX3" fmla="*/ 161132 w 165134"/>
                <a:gd name="connsiteY3" fmla="*/ 19890 h 117136"/>
                <a:gd name="connsiteX4" fmla="*/ 161696 w 165134"/>
                <a:gd name="connsiteY4" fmla="*/ 90345 h 117136"/>
                <a:gd name="connsiteX5" fmla="*/ 139027 w 165134"/>
                <a:gd name="connsiteY5" fmla="*/ 113388 h 117136"/>
                <a:gd name="connsiteX6" fmla="*/ 20170 w 165134"/>
                <a:gd name="connsiteY6" fmla="*/ 114348 h 117136"/>
                <a:gd name="connsiteX7" fmla="*/ -2873 w 165134"/>
                <a:gd name="connsiteY7" fmla="*/ 91671 h 117136"/>
                <a:gd name="connsiteX8" fmla="*/ -3437 w 165134"/>
                <a:gd name="connsiteY8" fmla="*/ 21216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36">
                  <a:moveTo>
                    <a:pt x="-3437" y="21216"/>
                  </a:moveTo>
                  <a:cubicBezTo>
                    <a:pt x="-3544" y="8643"/>
                    <a:pt x="6660" y="-1727"/>
                    <a:pt x="19233" y="-1827"/>
                  </a:cubicBezTo>
                  <a:lnTo>
                    <a:pt x="138097" y="-2787"/>
                  </a:lnTo>
                  <a:cubicBezTo>
                    <a:pt x="150662" y="-2886"/>
                    <a:pt x="161041" y="7317"/>
                    <a:pt x="161132" y="19890"/>
                  </a:cubicBezTo>
                  <a:lnTo>
                    <a:pt x="161696" y="90345"/>
                  </a:lnTo>
                  <a:cubicBezTo>
                    <a:pt x="161803" y="102918"/>
                    <a:pt x="151600" y="113281"/>
                    <a:pt x="139027" y="113388"/>
                  </a:cubicBezTo>
                  <a:lnTo>
                    <a:pt x="20170" y="114348"/>
                  </a:lnTo>
                  <a:cubicBezTo>
                    <a:pt x="7597" y="114447"/>
                    <a:pt x="-2774" y="104244"/>
                    <a:pt x="-2873" y="91671"/>
                  </a:cubicBezTo>
                  <a:lnTo>
                    <a:pt x="-3437" y="21216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58A9B266-9DC2-155A-5720-7E01F3999D46}"/>
                </a:ext>
              </a:extLst>
            </p:cNvPr>
            <p:cNvSpPr/>
            <p:nvPr/>
          </p:nvSpPr>
          <p:spPr>
            <a:xfrm flipV="1">
              <a:off x="4608476" y="5032011"/>
              <a:ext cx="110008" cy="78021"/>
            </a:xfrm>
            <a:custGeom>
              <a:avLst/>
              <a:gdLst>
                <a:gd name="connsiteX0" fmla="*/ -3191 w 165149"/>
                <a:gd name="connsiteY0" fmla="*/ 21206 h 117128"/>
                <a:gd name="connsiteX1" fmla="*/ 19486 w 165149"/>
                <a:gd name="connsiteY1" fmla="*/ -1837 h 117128"/>
                <a:gd name="connsiteX2" fmla="*/ 138343 w 165149"/>
                <a:gd name="connsiteY2" fmla="*/ -2789 h 117128"/>
                <a:gd name="connsiteX3" fmla="*/ 161393 w 165149"/>
                <a:gd name="connsiteY3" fmla="*/ 19880 h 117128"/>
                <a:gd name="connsiteX4" fmla="*/ 161957 w 165149"/>
                <a:gd name="connsiteY4" fmla="*/ 90335 h 117128"/>
                <a:gd name="connsiteX5" fmla="*/ 139280 w 165149"/>
                <a:gd name="connsiteY5" fmla="*/ 113378 h 117128"/>
                <a:gd name="connsiteX6" fmla="*/ 20423 w 165149"/>
                <a:gd name="connsiteY6" fmla="*/ 114338 h 117128"/>
                <a:gd name="connsiteX7" fmla="*/ -2627 w 165149"/>
                <a:gd name="connsiteY7" fmla="*/ 91661 h 117128"/>
                <a:gd name="connsiteX8" fmla="*/ -3191 w 165149"/>
                <a:gd name="connsiteY8" fmla="*/ 21206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191" y="21206"/>
                  </a:moveTo>
                  <a:cubicBezTo>
                    <a:pt x="-3290" y="8633"/>
                    <a:pt x="6913" y="-1738"/>
                    <a:pt x="19486" y="-1837"/>
                  </a:cubicBezTo>
                  <a:lnTo>
                    <a:pt x="138343" y="-2789"/>
                  </a:lnTo>
                  <a:cubicBezTo>
                    <a:pt x="150916" y="-2896"/>
                    <a:pt x="161286" y="7307"/>
                    <a:pt x="161393" y="19880"/>
                  </a:cubicBezTo>
                  <a:lnTo>
                    <a:pt x="161957" y="90335"/>
                  </a:lnTo>
                  <a:cubicBezTo>
                    <a:pt x="162048" y="102908"/>
                    <a:pt x="151853" y="113279"/>
                    <a:pt x="139280" y="113378"/>
                  </a:cubicBezTo>
                  <a:lnTo>
                    <a:pt x="20423" y="114338"/>
                  </a:lnTo>
                  <a:cubicBezTo>
                    <a:pt x="7850" y="114437"/>
                    <a:pt x="-2521" y="104234"/>
                    <a:pt x="-2627" y="91661"/>
                  </a:cubicBezTo>
                  <a:lnTo>
                    <a:pt x="-3191" y="21206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4C5A9D62-CAF9-76DD-4E56-4FF035068BEF}"/>
                </a:ext>
              </a:extLst>
            </p:cNvPr>
            <p:cNvSpPr/>
            <p:nvPr/>
          </p:nvSpPr>
          <p:spPr>
            <a:xfrm flipV="1">
              <a:off x="4464592" y="5030854"/>
              <a:ext cx="110004" cy="78021"/>
            </a:xfrm>
            <a:custGeom>
              <a:avLst/>
              <a:gdLst>
                <a:gd name="connsiteX0" fmla="*/ -2946 w 165142"/>
                <a:gd name="connsiteY0" fmla="*/ 21204 h 117128"/>
                <a:gd name="connsiteX1" fmla="*/ 19732 w 165142"/>
                <a:gd name="connsiteY1" fmla="*/ -1832 h 117128"/>
                <a:gd name="connsiteX2" fmla="*/ 138588 w 165142"/>
                <a:gd name="connsiteY2" fmla="*/ -2792 h 117128"/>
                <a:gd name="connsiteX3" fmla="*/ 161631 w 165142"/>
                <a:gd name="connsiteY3" fmla="*/ 19885 h 117128"/>
                <a:gd name="connsiteX4" fmla="*/ 162195 w 165142"/>
                <a:gd name="connsiteY4" fmla="*/ 90332 h 117128"/>
                <a:gd name="connsiteX5" fmla="*/ 139526 w 165142"/>
                <a:gd name="connsiteY5" fmla="*/ 113383 h 117128"/>
                <a:gd name="connsiteX6" fmla="*/ 20661 w 165142"/>
                <a:gd name="connsiteY6" fmla="*/ 114335 h 117128"/>
                <a:gd name="connsiteX7" fmla="*/ -2382 w 165142"/>
                <a:gd name="connsiteY7" fmla="*/ 91666 h 117128"/>
                <a:gd name="connsiteX8" fmla="*/ -2946 w 165142"/>
                <a:gd name="connsiteY8" fmla="*/ 21204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2946" y="21204"/>
                  </a:moveTo>
                  <a:cubicBezTo>
                    <a:pt x="-3044" y="8638"/>
                    <a:pt x="7151" y="-1733"/>
                    <a:pt x="19732" y="-1832"/>
                  </a:cubicBezTo>
                  <a:lnTo>
                    <a:pt x="138588" y="-2792"/>
                  </a:lnTo>
                  <a:cubicBezTo>
                    <a:pt x="151161" y="-2898"/>
                    <a:pt x="161525" y="7312"/>
                    <a:pt x="161631" y="19885"/>
                  </a:cubicBezTo>
                  <a:lnTo>
                    <a:pt x="162195" y="90332"/>
                  </a:lnTo>
                  <a:cubicBezTo>
                    <a:pt x="162302" y="102905"/>
                    <a:pt x="152091" y="113276"/>
                    <a:pt x="139526" y="113383"/>
                  </a:cubicBezTo>
                  <a:lnTo>
                    <a:pt x="20661" y="114335"/>
                  </a:lnTo>
                  <a:cubicBezTo>
                    <a:pt x="8096" y="114434"/>
                    <a:pt x="-2282" y="104231"/>
                    <a:pt x="-2382" y="91666"/>
                  </a:cubicBezTo>
                  <a:lnTo>
                    <a:pt x="-2946" y="2120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9AEB17A7-E6DF-CA63-D5DE-BE33172859C9}"/>
                </a:ext>
              </a:extLst>
            </p:cNvPr>
            <p:cNvSpPr/>
            <p:nvPr/>
          </p:nvSpPr>
          <p:spPr>
            <a:xfrm flipV="1">
              <a:off x="4320708" y="5029697"/>
              <a:ext cx="109999" cy="78021"/>
            </a:xfrm>
            <a:custGeom>
              <a:avLst/>
              <a:gdLst>
                <a:gd name="connsiteX0" fmla="*/ -2700 w 165134"/>
                <a:gd name="connsiteY0" fmla="*/ 21209 h 117128"/>
                <a:gd name="connsiteX1" fmla="*/ 19970 w 165134"/>
                <a:gd name="connsiteY1" fmla="*/ -1834 h 117128"/>
                <a:gd name="connsiteX2" fmla="*/ 138834 w 165134"/>
                <a:gd name="connsiteY2" fmla="*/ -2794 h 117128"/>
                <a:gd name="connsiteX3" fmla="*/ 161869 w 165134"/>
                <a:gd name="connsiteY3" fmla="*/ 19883 h 117128"/>
                <a:gd name="connsiteX4" fmla="*/ 162433 w 165134"/>
                <a:gd name="connsiteY4" fmla="*/ 90337 h 117128"/>
                <a:gd name="connsiteX5" fmla="*/ 139764 w 165134"/>
                <a:gd name="connsiteY5" fmla="*/ 113380 h 117128"/>
                <a:gd name="connsiteX6" fmla="*/ 20907 w 165134"/>
                <a:gd name="connsiteY6" fmla="*/ 114333 h 117128"/>
                <a:gd name="connsiteX7" fmla="*/ -2136 w 165134"/>
                <a:gd name="connsiteY7" fmla="*/ 91663 h 117128"/>
                <a:gd name="connsiteX8" fmla="*/ -2700 w 165134"/>
                <a:gd name="connsiteY8" fmla="*/ 21209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28">
                  <a:moveTo>
                    <a:pt x="-2700" y="21209"/>
                  </a:moveTo>
                  <a:cubicBezTo>
                    <a:pt x="-2806" y="8636"/>
                    <a:pt x="7397" y="-1735"/>
                    <a:pt x="19970" y="-1834"/>
                  </a:cubicBezTo>
                  <a:lnTo>
                    <a:pt x="138834" y="-2794"/>
                  </a:lnTo>
                  <a:cubicBezTo>
                    <a:pt x="151400" y="-2894"/>
                    <a:pt x="161778" y="7310"/>
                    <a:pt x="161869" y="19883"/>
                  </a:cubicBezTo>
                  <a:lnTo>
                    <a:pt x="162433" y="90337"/>
                  </a:lnTo>
                  <a:cubicBezTo>
                    <a:pt x="162540" y="102910"/>
                    <a:pt x="152337" y="113281"/>
                    <a:pt x="139764" y="113380"/>
                  </a:cubicBezTo>
                  <a:lnTo>
                    <a:pt x="20907" y="114333"/>
                  </a:lnTo>
                  <a:cubicBezTo>
                    <a:pt x="8334" y="114439"/>
                    <a:pt x="-2037" y="104236"/>
                    <a:pt x="-2136" y="91663"/>
                  </a:cubicBezTo>
                  <a:lnTo>
                    <a:pt x="-2700" y="2120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41BEFDED-35B1-49AA-0050-9B7E2FE2FC23}"/>
                </a:ext>
              </a:extLst>
            </p:cNvPr>
            <p:cNvSpPr/>
            <p:nvPr/>
          </p:nvSpPr>
          <p:spPr>
            <a:xfrm flipV="1">
              <a:off x="5757999" y="5336667"/>
              <a:ext cx="110004" cy="78021"/>
            </a:xfrm>
            <a:custGeom>
              <a:avLst/>
              <a:gdLst>
                <a:gd name="connsiteX0" fmla="*/ -5154 w 165142"/>
                <a:gd name="connsiteY0" fmla="*/ 21886 h 117128"/>
                <a:gd name="connsiteX1" fmla="*/ 17523 w 165142"/>
                <a:gd name="connsiteY1" fmla="*/ -1149 h 117128"/>
                <a:gd name="connsiteX2" fmla="*/ 136380 w 165142"/>
                <a:gd name="connsiteY2" fmla="*/ -2109 h 117128"/>
                <a:gd name="connsiteX3" fmla="*/ 159423 w 165142"/>
                <a:gd name="connsiteY3" fmla="*/ 20568 h 117128"/>
                <a:gd name="connsiteX4" fmla="*/ 159987 w 165142"/>
                <a:gd name="connsiteY4" fmla="*/ 91015 h 117128"/>
                <a:gd name="connsiteX5" fmla="*/ 137317 w 165142"/>
                <a:gd name="connsiteY5" fmla="*/ 114065 h 117128"/>
                <a:gd name="connsiteX6" fmla="*/ 18453 w 165142"/>
                <a:gd name="connsiteY6" fmla="*/ 115018 h 117128"/>
                <a:gd name="connsiteX7" fmla="*/ -4582 w 165142"/>
                <a:gd name="connsiteY7" fmla="*/ 92348 h 117128"/>
                <a:gd name="connsiteX8" fmla="*/ -5154 w 165142"/>
                <a:gd name="connsiteY8" fmla="*/ 21886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5154" y="21886"/>
                  </a:moveTo>
                  <a:cubicBezTo>
                    <a:pt x="-5253" y="9321"/>
                    <a:pt x="4950" y="-1050"/>
                    <a:pt x="17523" y="-1149"/>
                  </a:cubicBezTo>
                  <a:lnTo>
                    <a:pt x="136380" y="-2109"/>
                  </a:lnTo>
                  <a:cubicBezTo>
                    <a:pt x="148953" y="-2208"/>
                    <a:pt x="159324" y="7995"/>
                    <a:pt x="159423" y="20568"/>
                  </a:cubicBezTo>
                  <a:lnTo>
                    <a:pt x="159987" y="91015"/>
                  </a:lnTo>
                  <a:cubicBezTo>
                    <a:pt x="160094" y="103596"/>
                    <a:pt x="149883" y="113959"/>
                    <a:pt x="137317" y="114065"/>
                  </a:cubicBezTo>
                  <a:lnTo>
                    <a:pt x="18453" y="115018"/>
                  </a:lnTo>
                  <a:cubicBezTo>
                    <a:pt x="5888" y="115117"/>
                    <a:pt x="-4483" y="104921"/>
                    <a:pt x="-4582" y="92348"/>
                  </a:cubicBezTo>
                  <a:lnTo>
                    <a:pt x="-5154" y="21886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1BDCA01F-E701-56A1-AB54-01B3EBAC98E5}"/>
                </a:ext>
              </a:extLst>
            </p:cNvPr>
            <p:cNvSpPr/>
            <p:nvPr/>
          </p:nvSpPr>
          <p:spPr>
            <a:xfrm flipV="1">
              <a:off x="5614115" y="5335504"/>
              <a:ext cx="110004" cy="78026"/>
            </a:xfrm>
            <a:custGeom>
              <a:avLst/>
              <a:gdLst>
                <a:gd name="connsiteX0" fmla="*/ -4908 w 165142"/>
                <a:gd name="connsiteY0" fmla="*/ 21891 h 117136"/>
                <a:gd name="connsiteX1" fmla="*/ 17761 w 165142"/>
                <a:gd name="connsiteY1" fmla="*/ -1152 h 117136"/>
                <a:gd name="connsiteX2" fmla="*/ 136618 w 165142"/>
                <a:gd name="connsiteY2" fmla="*/ -2112 h 117136"/>
                <a:gd name="connsiteX3" fmla="*/ 159669 w 165142"/>
                <a:gd name="connsiteY3" fmla="*/ 20565 h 117136"/>
                <a:gd name="connsiteX4" fmla="*/ 160232 w 165142"/>
                <a:gd name="connsiteY4" fmla="*/ 91020 h 117136"/>
                <a:gd name="connsiteX5" fmla="*/ 137555 w 165142"/>
                <a:gd name="connsiteY5" fmla="*/ 114063 h 117136"/>
                <a:gd name="connsiteX6" fmla="*/ 18699 w 165142"/>
                <a:gd name="connsiteY6" fmla="*/ 115023 h 117136"/>
                <a:gd name="connsiteX7" fmla="*/ -4344 w 165142"/>
                <a:gd name="connsiteY7" fmla="*/ 92346 h 117136"/>
                <a:gd name="connsiteX8" fmla="*/ -4908 w 165142"/>
                <a:gd name="connsiteY8" fmla="*/ 21891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36">
                  <a:moveTo>
                    <a:pt x="-4908" y="21891"/>
                  </a:moveTo>
                  <a:cubicBezTo>
                    <a:pt x="-5015" y="9318"/>
                    <a:pt x="5188" y="-1053"/>
                    <a:pt x="17761" y="-1152"/>
                  </a:cubicBezTo>
                  <a:lnTo>
                    <a:pt x="136618" y="-2112"/>
                  </a:lnTo>
                  <a:cubicBezTo>
                    <a:pt x="149199" y="-2211"/>
                    <a:pt x="159562" y="7992"/>
                    <a:pt x="159669" y="20565"/>
                  </a:cubicBezTo>
                  <a:lnTo>
                    <a:pt x="160232" y="91020"/>
                  </a:lnTo>
                  <a:cubicBezTo>
                    <a:pt x="160339" y="103593"/>
                    <a:pt x="150136" y="113964"/>
                    <a:pt x="137555" y="114063"/>
                  </a:cubicBezTo>
                  <a:lnTo>
                    <a:pt x="18699" y="115023"/>
                  </a:lnTo>
                  <a:cubicBezTo>
                    <a:pt x="6126" y="115122"/>
                    <a:pt x="-4238" y="104911"/>
                    <a:pt x="-4344" y="92346"/>
                  </a:cubicBezTo>
                  <a:lnTo>
                    <a:pt x="-4908" y="2189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62649EA5-F6A4-25C3-0F64-7CF3D1A05FF2}"/>
                </a:ext>
              </a:extLst>
            </p:cNvPr>
            <p:cNvSpPr/>
            <p:nvPr/>
          </p:nvSpPr>
          <p:spPr>
            <a:xfrm flipV="1">
              <a:off x="5470227" y="5334346"/>
              <a:ext cx="110008" cy="78021"/>
            </a:xfrm>
            <a:custGeom>
              <a:avLst/>
              <a:gdLst>
                <a:gd name="connsiteX0" fmla="*/ -4663 w 165149"/>
                <a:gd name="connsiteY0" fmla="*/ 21881 h 117128"/>
                <a:gd name="connsiteX1" fmla="*/ 18014 w 165149"/>
                <a:gd name="connsiteY1" fmla="*/ -1162 h 117128"/>
                <a:gd name="connsiteX2" fmla="*/ 136879 w 165149"/>
                <a:gd name="connsiteY2" fmla="*/ -2114 h 117128"/>
                <a:gd name="connsiteX3" fmla="*/ 159914 w 165149"/>
                <a:gd name="connsiteY3" fmla="*/ 20555 h 117128"/>
                <a:gd name="connsiteX4" fmla="*/ 160486 w 165149"/>
                <a:gd name="connsiteY4" fmla="*/ 91010 h 117128"/>
                <a:gd name="connsiteX5" fmla="*/ 137816 w 165149"/>
                <a:gd name="connsiteY5" fmla="*/ 114053 h 117128"/>
                <a:gd name="connsiteX6" fmla="*/ 18952 w 165149"/>
                <a:gd name="connsiteY6" fmla="*/ 115013 h 117128"/>
                <a:gd name="connsiteX7" fmla="*/ -4099 w 165149"/>
                <a:gd name="connsiteY7" fmla="*/ 92336 h 117128"/>
                <a:gd name="connsiteX8" fmla="*/ -4663 w 165149"/>
                <a:gd name="connsiteY8" fmla="*/ 21881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663" y="21881"/>
                  </a:moveTo>
                  <a:cubicBezTo>
                    <a:pt x="-4762" y="9308"/>
                    <a:pt x="5441" y="-1063"/>
                    <a:pt x="18014" y="-1162"/>
                  </a:cubicBezTo>
                  <a:lnTo>
                    <a:pt x="136879" y="-2114"/>
                  </a:lnTo>
                  <a:cubicBezTo>
                    <a:pt x="149444" y="-2213"/>
                    <a:pt x="159815" y="7982"/>
                    <a:pt x="159914" y="20555"/>
                  </a:cubicBezTo>
                  <a:lnTo>
                    <a:pt x="160486" y="91010"/>
                  </a:lnTo>
                  <a:cubicBezTo>
                    <a:pt x="160585" y="103583"/>
                    <a:pt x="150381" y="113953"/>
                    <a:pt x="137816" y="114053"/>
                  </a:cubicBezTo>
                  <a:lnTo>
                    <a:pt x="18952" y="115013"/>
                  </a:lnTo>
                  <a:cubicBezTo>
                    <a:pt x="6379" y="115112"/>
                    <a:pt x="-3992" y="104909"/>
                    <a:pt x="-4099" y="92336"/>
                  </a:cubicBezTo>
                  <a:lnTo>
                    <a:pt x="-4663" y="2188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747225A1-85D9-A74F-AFC2-AEBFFCAB77E3}"/>
                </a:ext>
              </a:extLst>
            </p:cNvPr>
            <p:cNvSpPr/>
            <p:nvPr/>
          </p:nvSpPr>
          <p:spPr>
            <a:xfrm flipV="1">
              <a:off x="5326342" y="5333189"/>
              <a:ext cx="110008" cy="78021"/>
            </a:xfrm>
            <a:custGeom>
              <a:avLst/>
              <a:gdLst>
                <a:gd name="connsiteX0" fmla="*/ -4417 w 165149"/>
                <a:gd name="connsiteY0" fmla="*/ 21886 h 117128"/>
                <a:gd name="connsiteX1" fmla="*/ 18260 w 165149"/>
                <a:gd name="connsiteY1" fmla="*/ -1157 h 117128"/>
                <a:gd name="connsiteX2" fmla="*/ 137117 w 165149"/>
                <a:gd name="connsiteY2" fmla="*/ -2117 h 117128"/>
                <a:gd name="connsiteX3" fmla="*/ 160160 w 165149"/>
                <a:gd name="connsiteY3" fmla="*/ 20560 h 117128"/>
                <a:gd name="connsiteX4" fmla="*/ 160731 w 165149"/>
                <a:gd name="connsiteY4" fmla="*/ 91007 h 117128"/>
                <a:gd name="connsiteX5" fmla="*/ 138054 w 165149"/>
                <a:gd name="connsiteY5" fmla="*/ 114050 h 117128"/>
                <a:gd name="connsiteX6" fmla="*/ 19190 w 165149"/>
                <a:gd name="connsiteY6" fmla="*/ 115010 h 117128"/>
                <a:gd name="connsiteX7" fmla="*/ -3845 w 165149"/>
                <a:gd name="connsiteY7" fmla="*/ 92333 h 117128"/>
                <a:gd name="connsiteX8" fmla="*/ -4417 w 165149"/>
                <a:gd name="connsiteY8" fmla="*/ 21886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417" y="21886"/>
                  </a:moveTo>
                  <a:cubicBezTo>
                    <a:pt x="-4516" y="9313"/>
                    <a:pt x="5687" y="-1058"/>
                    <a:pt x="18260" y="-1157"/>
                  </a:cubicBezTo>
                  <a:lnTo>
                    <a:pt x="137117" y="-2117"/>
                  </a:lnTo>
                  <a:cubicBezTo>
                    <a:pt x="149690" y="-2216"/>
                    <a:pt x="160053" y="7987"/>
                    <a:pt x="160160" y="20560"/>
                  </a:cubicBezTo>
                  <a:lnTo>
                    <a:pt x="160731" y="91007"/>
                  </a:lnTo>
                  <a:cubicBezTo>
                    <a:pt x="160830" y="103580"/>
                    <a:pt x="150620" y="113951"/>
                    <a:pt x="138054" y="114050"/>
                  </a:cubicBezTo>
                  <a:lnTo>
                    <a:pt x="19190" y="115010"/>
                  </a:lnTo>
                  <a:cubicBezTo>
                    <a:pt x="6625" y="115109"/>
                    <a:pt x="-3746" y="104906"/>
                    <a:pt x="-3845" y="92333"/>
                  </a:cubicBezTo>
                  <a:lnTo>
                    <a:pt x="-4417" y="21886"/>
                  </a:lnTo>
                </a:path>
              </a:pathLst>
            </a:custGeom>
            <a:solidFill>
              <a:srgbClr val="989697"/>
            </a:solidFill>
            <a:ln w="762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8D957F6A-AD8B-CDDE-5EC6-A16A6946CAEA}"/>
                </a:ext>
              </a:extLst>
            </p:cNvPr>
            <p:cNvSpPr/>
            <p:nvPr/>
          </p:nvSpPr>
          <p:spPr>
            <a:xfrm flipV="1">
              <a:off x="5182458" y="5332032"/>
              <a:ext cx="110004" cy="78021"/>
            </a:xfrm>
            <a:custGeom>
              <a:avLst/>
              <a:gdLst>
                <a:gd name="connsiteX0" fmla="*/ -4171 w 165142"/>
                <a:gd name="connsiteY0" fmla="*/ 21884 h 117128"/>
                <a:gd name="connsiteX1" fmla="*/ 18506 w 165142"/>
                <a:gd name="connsiteY1" fmla="*/ -1159 h 117128"/>
                <a:gd name="connsiteX2" fmla="*/ 137355 w 165142"/>
                <a:gd name="connsiteY2" fmla="*/ -2119 h 117128"/>
                <a:gd name="connsiteX3" fmla="*/ 160406 w 165142"/>
                <a:gd name="connsiteY3" fmla="*/ 20558 h 117128"/>
                <a:gd name="connsiteX4" fmla="*/ 160969 w 165142"/>
                <a:gd name="connsiteY4" fmla="*/ 91012 h 117128"/>
                <a:gd name="connsiteX5" fmla="*/ 138292 w 165142"/>
                <a:gd name="connsiteY5" fmla="*/ 114055 h 117128"/>
                <a:gd name="connsiteX6" fmla="*/ 19443 w 165142"/>
                <a:gd name="connsiteY6" fmla="*/ 115008 h 117128"/>
                <a:gd name="connsiteX7" fmla="*/ -3607 w 165142"/>
                <a:gd name="connsiteY7" fmla="*/ 92338 h 117128"/>
                <a:gd name="connsiteX8" fmla="*/ -4171 w 165142"/>
                <a:gd name="connsiteY8" fmla="*/ 21884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4171" y="21884"/>
                  </a:moveTo>
                  <a:cubicBezTo>
                    <a:pt x="-4278" y="9311"/>
                    <a:pt x="5925" y="-1060"/>
                    <a:pt x="18506" y="-1159"/>
                  </a:cubicBezTo>
                  <a:lnTo>
                    <a:pt x="137355" y="-2119"/>
                  </a:lnTo>
                  <a:cubicBezTo>
                    <a:pt x="149936" y="-2218"/>
                    <a:pt x="160299" y="7985"/>
                    <a:pt x="160406" y="20558"/>
                  </a:cubicBezTo>
                  <a:lnTo>
                    <a:pt x="160969" y="91012"/>
                  </a:lnTo>
                  <a:cubicBezTo>
                    <a:pt x="161076" y="103585"/>
                    <a:pt x="150873" y="113956"/>
                    <a:pt x="138292" y="114055"/>
                  </a:cubicBezTo>
                  <a:lnTo>
                    <a:pt x="19443" y="115008"/>
                  </a:lnTo>
                  <a:cubicBezTo>
                    <a:pt x="6863" y="115107"/>
                    <a:pt x="-3501" y="104911"/>
                    <a:pt x="-3607" y="92338"/>
                  </a:cubicBezTo>
                  <a:lnTo>
                    <a:pt x="-4171" y="2188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8A2BCCB3-DC59-98B3-D171-630A0DE8BAD9}"/>
                </a:ext>
              </a:extLst>
            </p:cNvPr>
            <p:cNvSpPr/>
            <p:nvPr/>
          </p:nvSpPr>
          <p:spPr>
            <a:xfrm flipV="1">
              <a:off x="5038570" y="5330870"/>
              <a:ext cx="110008" cy="78026"/>
            </a:xfrm>
            <a:custGeom>
              <a:avLst/>
              <a:gdLst>
                <a:gd name="connsiteX0" fmla="*/ -3926 w 165149"/>
                <a:gd name="connsiteY0" fmla="*/ 21881 h 117136"/>
                <a:gd name="connsiteX1" fmla="*/ 18751 w 165149"/>
                <a:gd name="connsiteY1" fmla="*/ -1162 h 117136"/>
                <a:gd name="connsiteX2" fmla="*/ 137616 w 165149"/>
                <a:gd name="connsiteY2" fmla="*/ -2122 h 117136"/>
                <a:gd name="connsiteX3" fmla="*/ 160651 w 165149"/>
                <a:gd name="connsiteY3" fmla="*/ 20555 h 117136"/>
                <a:gd name="connsiteX4" fmla="*/ 161223 w 165149"/>
                <a:gd name="connsiteY4" fmla="*/ 91010 h 117136"/>
                <a:gd name="connsiteX5" fmla="*/ 138545 w 165149"/>
                <a:gd name="connsiteY5" fmla="*/ 114053 h 117136"/>
                <a:gd name="connsiteX6" fmla="*/ 19689 w 165149"/>
                <a:gd name="connsiteY6" fmla="*/ 115013 h 117136"/>
                <a:gd name="connsiteX7" fmla="*/ -3354 w 165149"/>
                <a:gd name="connsiteY7" fmla="*/ 92336 h 117136"/>
                <a:gd name="connsiteX8" fmla="*/ -3926 w 165149"/>
                <a:gd name="connsiteY8" fmla="*/ 21881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3926" y="21881"/>
                  </a:moveTo>
                  <a:cubicBezTo>
                    <a:pt x="-4025" y="9308"/>
                    <a:pt x="6178" y="-1063"/>
                    <a:pt x="18751" y="-1162"/>
                  </a:cubicBezTo>
                  <a:lnTo>
                    <a:pt x="137616" y="-2122"/>
                  </a:lnTo>
                  <a:cubicBezTo>
                    <a:pt x="150181" y="-2221"/>
                    <a:pt x="160552" y="7982"/>
                    <a:pt x="160651" y="20555"/>
                  </a:cubicBezTo>
                  <a:lnTo>
                    <a:pt x="161223" y="91010"/>
                  </a:lnTo>
                  <a:cubicBezTo>
                    <a:pt x="161322" y="103583"/>
                    <a:pt x="151118" y="113954"/>
                    <a:pt x="138545" y="114053"/>
                  </a:cubicBezTo>
                  <a:lnTo>
                    <a:pt x="19689" y="115013"/>
                  </a:lnTo>
                  <a:cubicBezTo>
                    <a:pt x="7116" y="115112"/>
                    <a:pt x="-3255" y="104909"/>
                    <a:pt x="-3354" y="92336"/>
                  </a:cubicBezTo>
                  <a:lnTo>
                    <a:pt x="-3926" y="2188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E4D43E7A-205E-E26F-D59F-5D75377111C0}"/>
                </a:ext>
              </a:extLst>
            </p:cNvPr>
            <p:cNvSpPr/>
            <p:nvPr/>
          </p:nvSpPr>
          <p:spPr>
            <a:xfrm flipV="1">
              <a:off x="4894685" y="5329712"/>
              <a:ext cx="110008" cy="78021"/>
            </a:xfrm>
            <a:custGeom>
              <a:avLst/>
              <a:gdLst>
                <a:gd name="connsiteX0" fmla="*/ -3680 w 165149"/>
                <a:gd name="connsiteY0" fmla="*/ 21879 h 117128"/>
                <a:gd name="connsiteX1" fmla="*/ 18997 w 165149"/>
                <a:gd name="connsiteY1" fmla="*/ -1172 h 117128"/>
                <a:gd name="connsiteX2" fmla="*/ 137854 w 165149"/>
                <a:gd name="connsiteY2" fmla="*/ -2124 h 117128"/>
                <a:gd name="connsiteX3" fmla="*/ 160897 w 165149"/>
                <a:gd name="connsiteY3" fmla="*/ 20545 h 117128"/>
                <a:gd name="connsiteX4" fmla="*/ 161468 w 165149"/>
                <a:gd name="connsiteY4" fmla="*/ 91000 h 117128"/>
                <a:gd name="connsiteX5" fmla="*/ 138791 w 165149"/>
                <a:gd name="connsiteY5" fmla="*/ 114042 h 117128"/>
                <a:gd name="connsiteX6" fmla="*/ 19927 w 165149"/>
                <a:gd name="connsiteY6" fmla="*/ 115003 h 117128"/>
                <a:gd name="connsiteX7" fmla="*/ -3108 w 165149"/>
                <a:gd name="connsiteY7" fmla="*/ 92325 h 117128"/>
                <a:gd name="connsiteX8" fmla="*/ -3680 w 165149"/>
                <a:gd name="connsiteY8" fmla="*/ 21879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680" y="21879"/>
                  </a:moveTo>
                  <a:cubicBezTo>
                    <a:pt x="-3779" y="9306"/>
                    <a:pt x="6424" y="-1065"/>
                    <a:pt x="18997" y="-1172"/>
                  </a:cubicBezTo>
                  <a:lnTo>
                    <a:pt x="137854" y="-2124"/>
                  </a:lnTo>
                  <a:cubicBezTo>
                    <a:pt x="150427" y="-2231"/>
                    <a:pt x="160798" y="7972"/>
                    <a:pt x="160897" y="20545"/>
                  </a:cubicBezTo>
                  <a:lnTo>
                    <a:pt x="161468" y="91000"/>
                  </a:lnTo>
                  <a:cubicBezTo>
                    <a:pt x="161567" y="103573"/>
                    <a:pt x="151357" y="113943"/>
                    <a:pt x="138791" y="114042"/>
                  </a:cubicBezTo>
                  <a:lnTo>
                    <a:pt x="19927" y="115003"/>
                  </a:lnTo>
                  <a:cubicBezTo>
                    <a:pt x="7362" y="115102"/>
                    <a:pt x="-3009" y="104898"/>
                    <a:pt x="-3108" y="92325"/>
                  </a:cubicBezTo>
                  <a:lnTo>
                    <a:pt x="-3680" y="2187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78157D58-93BB-FCD0-26CF-19F665B58C62}"/>
                </a:ext>
              </a:extLst>
            </p:cNvPr>
            <p:cNvSpPr/>
            <p:nvPr/>
          </p:nvSpPr>
          <p:spPr>
            <a:xfrm flipV="1">
              <a:off x="4750802" y="5328555"/>
              <a:ext cx="110004" cy="78021"/>
            </a:xfrm>
            <a:custGeom>
              <a:avLst/>
              <a:gdLst>
                <a:gd name="connsiteX0" fmla="*/ -3434 w 165142"/>
                <a:gd name="connsiteY0" fmla="*/ 21876 h 117128"/>
                <a:gd name="connsiteX1" fmla="*/ 19243 w 165142"/>
                <a:gd name="connsiteY1" fmla="*/ -1167 h 117128"/>
                <a:gd name="connsiteX2" fmla="*/ 138092 w 165142"/>
                <a:gd name="connsiteY2" fmla="*/ -2127 h 117128"/>
                <a:gd name="connsiteX3" fmla="*/ 161143 w 165142"/>
                <a:gd name="connsiteY3" fmla="*/ 20550 h 117128"/>
                <a:gd name="connsiteX4" fmla="*/ 161707 w 165142"/>
                <a:gd name="connsiteY4" fmla="*/ 91005 h 117128"/>
                <a:gd name="connsiteX5" fmla="*/ 139029 w 165142"/>
                <a:gd name="connsiteY5" fmla="*/ 114047 h 117128"/>
                <a:gd name="connsiteX6" fmla="*/ 20180 w 165142"/>
                <a:gd name="connsiteY6" fmla="*/ 115000 h 117128"/>
                <a:gd name="connsiteX7" fmla="*/ -2870 w 165142"/>
                <a:gd name="connsiteY7" fmla="*/ 92330 h 117128"/>
                <a:gd name="connsiteX8" fmla="*/ -3434 w 165142"/>
                <a:gd name="connsiteY8" fmla="*/ 21876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3434" y="21876"/>
                  </a:moveTo>
                  <a:cubicBezTo>
                    <a:pt x="-3541" y="9303"/>
                    <a:pt x="6662" y="-1068"/>
                    <a:pt x="19243" y="-1167"/>
                  </a:cubicBezTo>
                  <a:lnTo>
                    <a:pt x="138092" y="-2127"/>
                  </a:lnTo>
                  <a:cubicBezTo>
                    <a:pt x="150673" y="-2234"/>
                    <a:pt x="161036" y="7977"/>
                    <a:pt x="161143" y="20550"/>
                  </a:cubicBezTo>
                  <a:lnTo>
                    <a:pt x="161707" y="91005"/>
                  </a:lnTo>
                  <a:cubicBezTo>
                    <a:pt x="161806" y="103570"/>
                    <a:pt x="151610" y="113941"/>
                    <a:pt x="139029" y="114047"/>
                  </a:cubicBezTo>
                  <a:lnTo>
                    <a:pt x="20180" y="115000"/>
                  </a:lnTo>
                  <a:cubicBezTo>
                    <a:pt x="7600" y="115107"/>
                    <a:pt x="-2764" y="104903"/>
                    <a:pt x="-2870" y="92330"/>
                  </a:cubicBezTo>
                  <a:lnTo>
                    <a:pt x="-3434" y="21876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C84A5A37-C49D-5D4C-8C63-5A3711BBC004}"/>
                </a:ext>
              </a:extLst>
            </p:cNvPr>
            <p:cNvSpPr/>
            <p:nvPr/>
          </p:nvSpPr>
          <p:spPr>
            <a:xfrm flipV="1">
              <a:off x="4606913" y="5327398"/>
              <a:ext cx="110008" cy="78021"/>
            </a:xfrm>
            <a:custGeom>
              <a:avLst/>
              <a:gdLst>
                <a:gd name="connsiteX0" fmla="*/ -3189 w 165149"/>
                <a:gd name="connsiteY0" fmla="*/ 21873 h 117128"/>
                <a:gd name="connsiteX1" fmla="*/ 19489 w 165149"/>
                <a:gd name="connsiteY1" fmla="*/ -1170 h 117128"/>
                <a:gd name="connsiteX2" fmla="*/ 138353 w 165149"/>
                <a:gd name="connsiteY2" fmla="*/ -2130 h 117128"/>
                <a:gd name="connsiteX3" fmla="*/ 161388 w 165149"/>
                <a:gd name="connsiteY3" fmla="*/ 20547 h 117128"/>
                <a:gd name="connsiteX4" fmla="*/ 161960 w 165149"/>
                <a:gd name="connsiteY4" fmla="*/ 91002 h 117128"/>
                <a:gd name="connsiteX5" fmla="*/ 139283 w 165149"/>
                <a:gd name="connsiteY5" fmla="*/ 114045 h 117128"/>
                <a:gd name="connsiteX6" fmla="*/ 20426 w 165149"/>
                <a:gd name="connsiteY6" fmla="*/ 114997 h 117128"/>
                <a:gd name="connsiteX7" fmla="*/ -2617 w 165149"/>
                <a:gd name="connsiteY7" fmla="*/ 92328 h 117128"/>
                <a:gd name="connsiteX8" fmla="*/ -3189 w 165149"/>
                <a:gd name="connsiteY8" fmla="*/ 21873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189" y="21873"/>
                  </a:moveTo>
                  <a:cubicBezTo>
                    <a:pt x="-3288" y="9300"/>
                    <a:pt x="6923" y="-1071"/>
                    <a:pt x="19489" y="-1170"/>
                  </a:cubicBezTo>
                  <a:lnTo>
                    <a:pt x="138353" y="-2130"/>
                  </a:lnTo>
                  <a:cubicBezTo>
                    <a:pt x="150918" y="-2229"/>
                    <a:pt x="161289" y="7974"/>
                    <a:pt x="161388" y="20547"/>
                  </a:cubicBezTo>
                  <a:lnTo>
                    <a:pt x="161960" y="91002"/>
                  </a:lnTo>
                  <a:cubicBezTo>
                    <a:pt x="162059" y="103575"/>
                    <a:pt x="151856" y="113946"/>
                    <a:pt x="139283" y="114045"/>
                  </a:cubicBezTo>
                  <a:lnTo>
                    <a:pt x="20426" y="114997"/>
                  </a:lnTo>
                  <a:cubicBezTo>
                    <a:pt x="7853" y="115104"/>
                    <a:pt x="-2518" y="104901"/>
                    <a:pt x="-2617" y="92328"/>
                  </a:cubicBezTo>
                  <a:lnTo>
                    <a:pt x="-3189" y="21873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DBDDAA94-9949-0381-2D32-5B180BFC2A59}"/>
                </a:ext>
              </a:extLst>
            </p:cNvPr>
            <p:cNvSpPr/>
            <p:nvPr/>
          </p:nvSpPr>
          <p:spPr>
            <a:xfrm flipV="1">
              <a:off x="4463029" y="5326235"/>
              <a:ext cx="110004" cy="78021"/>
            </a:xfrm>
            <a:custGeom>
              <a:avLst/>
              <a:gdLst>
                <a:gd name="connsiteX0" fmla="*/ -2943 w 165142"/>
                <a:gd name="connsiteY0" fmla="*/ 21863 h 117128"/>
                <a:gd name="connsiteX1" fmla="*/ 19734 w 165142"/>
                <a:gd name="connsiteY1" fmla="*/ -1180 h 117128"/>
                <a:gd name="connsiteX2" fmla="*/ 138591 w 165142"/>
                <a:gd name="connsiteY2" fmla="*/ -2132 h 117128"/>
                <a:gd name="connsiteX3" fmla="*/ 161634 w 165142"/>
                <a:gd name="connsiteY3" fmla="*/ 20537 h 117128"/>
                <a:gd name="connsiteX4" fmla="*/ 162198 w 165142"/>
                <a:gd name="connsiteY4" fmla="*/ 90992 h 117128"/>
                <a:gd name="connsiteX5" fmla="*/ 139528 w 165142"/>
                <a:gd name="connsiteY5" fmla="*/ 114035 h 117128"/>
                <a:gd name="connsiteX6" fmla="*/ 20664 w 165142"/>
                <a:gd name="connsiteY6" fmla="*/ 114995 h 117128"/>
                <a:gd name="connsiteX7" fmla="*/ -2371 w 165142"/>
                <a:gd name="connsiteY7" fmla="*/ 92318 h 117128"/>
                <a:gd name="connsiteX8" fmla="*/ -2943 w 165142"/>
                <a:gd name="connsiteY8" fmla="*/ 21863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2943" y="21863"/>
                  </a:moveTo>
                  <a:cubicBezTo>
                    <a:pt x="-3042" y="9290"/>
                    <a:pt x="7161" y="-1081"/>
                    <a:pt x="19734" y="-1180"/>
                  </a:cubicBezTo>
                  <a:lnTo>
                    <a:pt x="138591" y="-2132"/>
                  </a:lnTo>
                  <a:cubicBezTo>
                    <a:pt x="151164" y="-2239"/>
                    <a:pt x="161535" y="7964"/>
                    <a:pt x="161634" y="20537"/>
                  </a:cubicBezTo>
                  <a:lnTo>
                    <a:pt x="162198" y="90992"/>
                  </a:lnTo>
                  <a:cubicBezTo>
                    <a:pt x="162304" y="103565"/>
                    <a:pt x="152094" y="113935"/>
                    <a:pt x="139528" y="114035"/>
                  </a:cubicBezTo>
                  <a:lnTo>
                    <a:pt x="20664" y="114995"/>
                  </a:lnTo>
                  <a:cubicBezTo>
                    <a:pt x="8099" y="115094"/>
                    <a:pt x="-2280" y="104891"/>
                    <a:pt x="-2371" y="92318"/>
                  </a:cubicBezTo>
                  <a:lnTo>
                    <a:pt x="-2943" y="21863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0E0B19F-0AEF-78DB-F877-C23E2D33D447}"/>
                </a:ext>
              </a:extLst>
            </p:cNvPr>
            <p:cNvSpPr/>
            <p:nvPr/>
          </p:nvSpPr>
          <p:spPr>
            <a:xfrm flipV="1">
              <a:off x="4319140" y="5325078"/>
              <a:ext cx="110008" cy="78021"/>
            </a:xfrm>
            <a:custGeom>
              <a:avLst/>
              <a:gdLst>
                <a:gd name="connsiteX0" fmla="*/ -2697 w 165149"/>
                <a:gd name="connsiteY0" fmla="*/ 21868 h 117128"/>
                <a:gd name="connsiteX1" fmla="*/ 19988 w 165149"/>
                <a:gd name="connsiteY1" fmla="*/ -1175 h 117128"/>
                <a:gd name="connsiteX2" fmla="*/ 138837 w 165149"/>
                <a:gd name="connsiteY2" fmla="*/ -2135 h 117128"/>
                <a:gd name="connsiteX3" fmla="*/ 161887 w 165149"/>
                <a:gd name="connsiteY3" fmla="*/ 20542 h 117128"/>
                <a:gd name="connsiteX4" fmla="*/ 162451 w 165149"/>
                <a:gd name="connsiteY4" fmla="*/ 90989 h 117128"/>
                <a:gd name="connsiteX5" fmla="*/ 139774 w 165149"/>
                <a:gd name="connsiteY5" fmla="*/ 114032 h 117128"/>
                <a:gd name="connsiteX6" fmla="*/ 20917 w 165149"/>
                <a:gd name="connsiteY6" fmla="*/ 114992 h 117128"/>
                <a:gd name="connsiteX7" fmla="*/ -2126 w 165149"/>
                <a:gd name="connsiteY7" fmla="*/ 92315 h 117128"/>
                <a:gd name="connsiteX8" fmla="*/ -2697 w 165149"/>
                <a:gd name="connsiteY8" fmla="*/ 21868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2697" y="21868"/>
                  </a:moveTo>
                  <a:cubicBezTo>
                    <a:pt x="-2796" y="9295"/>
                    <a:pt x="7415" y="-1076"/>
                    <a:pt x="19988" y="-1175"/>
                  </a:cubicBezTo>
                  <a:lnTo>
                    <a:pt x="138837" y="-2135"/>
                  </a:lnTo>
                  <a:cubicBezTo>
                    <a:pt x="151417" y="-2234"/>
                    <a:pt x="161780" y="7962"/>
                    <a:pt x="161887" y="20542"/>
                  </a:cubicBezTo>
                  <a:lnTo>
                    <a:pt x="162451" y="90989"/>
                  </a:lnTo>
                  <a:cubicBezTo>
                    <a:pt x="162558" y="103562"/>
                    <a:pt x="152355" y="113933"/>
                    <a:pt x="139774" y="114032"/>
                  </a:cubicBezTo>
                  <a:lnTo>
                    <a:pt x="20917" y="114992"/>
                  </a:lnTo>
                  <a:cubicBezTo>
                    <a:pt x="8344" y="115099"/>
                    <a:pt x="-2027" y="104888"/>
                    <a:pt x="-2126" y="92315"/>
                  </a:cubicBezTo>
                  <a:lnTo>
                    <a:pt x="-2697" y="2186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1AEDED40-1D7C-6BDA-CBEC-D1084BC41B06}"/>
                </a:ext>
              </a:extLst>
            </p:cNvPr>
            <p:cNvSpPr/>
            <p:nvPr/>
          </p:nvSpPr>
          <p:spPr>
            <a:xfrm flipV="1">
              <a:off x="5757999" y="5235246"/>
              <a:ext cx="110004" cy="78021"/>
            </a:xfrm>
            <a:custGeom>
              <a:avLst/>
              <a:gdLst>
                <a:gd name="connsiteX0" fmla="*/ -5154 w 165142"/>
                <a:gd name="connsiteY0" fmla="*/ 21660 h 117128"/>
                <a:gd name="connsiteX1" fmla="*/ 17523 w 165142"/>
                <a:gd name="connsiteY1" fmla="*/ -1383 h 117128"/>
                <a:gd name="connsiteX2" fmla="*/ 136380 w 165142"/>
                <a:gd name="connsiteY2" fmla="*/ -2335 h 117128"/>
                <a:gd name="connsiteX3" fmla="*/ 159423 w 165142"/>
                <a:gd name="connsiteY3" fmla="*/ 20334 h 117128"/>
                <a:gd name="connsiteX4" fmla="*/ 159987 w 165142"/>
                <a:gd name="connsiteY4" fmla="*/ 90789 h 117128"/>
                <a:gd name="connsiteX5" fmla="*/ 137317 w 165142"/>
                <a:gd name="connsiteY5" fmla="*/ 113831 h 117128"/>
                <a:gd name="connsiteX6" fmla="*/ 18453 w 165142"/>
                <a:gd name="connsiteY6" fmla="*/ 114792 h 117128"/>
                <a:gd name="connsiteX7" fmla="*/ -4582 w 165142"/>
                <a:gd name="connsiteY7" fmla="*/ 92114 h 117128"/>
                <a:gd name="connsiteX8" fmla="*/ -5154 w 165142"/>
                <a:gd name="connsiteY8" fmla="*/ 21660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5154" y="21660"/>
                  </a:moveTo>
                  <a:cubicBezTo>
                    <a:pt x="-5253" y="9087"/>
                    <a:pt x="4950" y="-1284"/>
                    <a:pt x="17523" y="-1383"/>
                  </a:cubicBezTo>
                  <a:lnTo>
                    <a:pt x="136380" y="-2335"/>
                  </a:lnTo>
                  <a:cubicBezTo>
                    <a:pt x="148953" y="-2442"/>
                    <a:pt x="159324" y="7761"/>
                    <a:pt x="159423" y="20334"/>
                  </a:cubicBezTo>
                  <a:lnTo>
                    <a:pt x="159987" y="90789"/>
                  </a:lnTo>
                  <a:cubicBezTo>
                    <a:pt x="160094" y="103362"/>
                    <a:pt x="149883" y="113732"/>
                    <a:pt x="137317" y="113831"/>
                  </a:cubicBezTo>
                  <a:lnTo>
                    <a:pt x="18453" y="114792"/>
                  </a:lnTo>
                  <a:cubicBezTo>
                    <a:pt x="5888" y="114891"/>
                    <a:pt x="-4483" y="104687"/>
                    <a:pt x="-4582" y="92114"/>
                  </a:cubicBezTo>
                  <a:lnTo>
                    <a:pt x="-5154" y="21660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36DCBEC7-C4AB-2F6F-E9A6-F3BDDD970200}"/>
                </a:ext>
              </a:extLst>
            </p:cNvPr>
            <p:cNvSpPr/>
            <p:nvPr/>
          </p:nvSpPr>
          <p:spPr>
            <a:xfrm flipV="1">
              <a:off x="5614115" y="5234089"/>
              <a:ext cx="110004" cy="78021"/>
            </a:xfrm>
            <a:custGeom>
              <a:avLst/>
              <a:gdLst>
                <a:gd name="connsiteX0" fmla="*/ -4908 w 165142"/>
                <a:gd name="connsiteY0" fmla="*/ 21657 h 117128"/>
                <a:gd name="connsiteX1" fmla="*/ 17769 w 165142"/>
                <a:gd name="connsiteY1" fmla="*/ -1378 h 117128"/>
                <a:gd name="connsiteX2" fmla="*/ 136618 w 165142"/>
                <a:gd name="connsiteY2" fmla="*/ -2338 h 117128"/>
                <a:gd name="connsiteX3" fmla="*/ 159669 w 165142"/>
                <a:gd name="connsiteY3" fmla="*/ 20339 h 117128"/>
                <a:gd name="connsiteX4" fmla="*/ 160232 w 165142"/>
                <a:gd name="connsiteY4" fmla="*/ 90786 h 117128"/>
                <a:gd name="connsiteX5" fmla="*/ 137555 w 165142"/>
                <a:gd name="connsiteY5" fmla="*/ 113829 h 117128"/>
                <a:gd name="connsiteX6" fmla="*/ 18706 w 165142"/>
                <a:gd name="connsiteY6" fmla="*/ 114789 h 117128"/>
                <a:gd name="connsiteX7" fmla="*/ -4344 w 165142"/>
                <a:gd name="connsiteY7" fmla="*/ 92112 h 117128"/>
                <a:gd name="connsiteX8" fmla="*/ -4908 w 165142"/>
                <a:gd name="connsiteY8" fmla="*/ 21657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4908" y="21657"/>
                  </a:moveTo>
                  <a:cubicBezTo>
                    <a:pt x="-5015" y="9092"/>
                    <a:pt x="5188" y="-1279"/>
                    <a:pt x="17769" y="-1378"/>
                  </a:cubicBezTo>
                  <a:lnTo>
                    <a:pt x="136618" y="-2338"/>
                  </a:lnTo>
                  <a:cubicBezTo>
                    <a:pt x="149199" y="-2445"/>
                    <a:pt x="159562" y="7759"/>
                    <a:pt x="159669" y="20339"/>
                  </a:cubicBezTo>
                  <a:lnTo>
                    <a:pt x="160232" y="90786"/>
                  </a:lnTo>
                  <a:cubicBezTo>
                    <a:pt x="160339" y="103359"/>
                    <a:pt x="150136" y="113730"/>
                    <a:pt x="137555" y="113829"/>
                  </a:cubicBezTo>
                  <a:lnTo>
                    <a:pt x="18706" y="114789"/>
                  </a:lnTo>
                  <a:cubicBezTo>
                    <a:pt x="6126" y="114888"/>
                    <a:pt x="-4238" y="104685"/>
                    <a:pt x="-4344" y="92112"/>
                  </a:cubicBezTo>
                  <a:lnTo>
                    <a:pt x="-4908" y="2165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4218C37D-94F1-73D8-2D3C-DA7D44AE3814}"/>
                </a:ext>
              </a:extLst>
            </p:cNvPr>
            <p:cNvSpPr/>
            <p:nvPr/>
          </p:nvSpPr>
          <p:spPr>
            <a:xfrm flipV="1">
              <a:off x="5470227" y="5232932"/>
              <a:ext cx="110008" cy="78021"/>
            </a:xfrm>
            <a:custGeom>
              <a:avLst/>
              <a:gdLst>
                <a:gd name="connsiteX0" fmla="*/ -4663 w 165149"/>
                <a:gd name="connsiteY0" fmla="*/ 21655 h 117128"/>
                <a:gd name="connsiteX1" fmla="*/ 18014 w 165149"/>
                <a:gd name="connsiteY1" fmla="*/ -1381 h 117128"/>
                <a:gd name="connsiteX2" fmla="*/ 136879 w 165149"/>
                <a:gd name="connsiteY2" fmla="*/ -2341 h 117128"/>
                <a:gd name="connsiteX3" fmla="*/ 159914 w 165149"/>
                <a:gd name="connsiteY3" fmla="*/ 20336 h 117128"/>
                <a:gd name="connsiteX4" fmla="*/ 160486 w 165149"/>
                <a:gd name="connsiteY4" fmla="*/ 90791 h 117128"/>
                <a:gd name="connsiteX5" fmla="*/ 137816 w 165149"/>
                <a:gd name="connsiteY5" fmla="*/ 113834 h 117128"/>
                <a:gd name="connsiteX6" fmla="*/ 18952 w 165149"/>
                <a:gd name="connsiteY6" fmla="*/ 114787 h 117128"/>
                <a:gd name="connsiteX7" fmla="*/ -4091 w 165149"/>
                <a:gd name="connsiteY7" fmla="*/ 92117 h 117128"/>
                <a:gd name="connsiteX8" fmla="*/ -4663 w 165149"/>
                <a:gd name="connsiteY8" fmla="*/ 21655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663" y="21655"/>
                  </a:moveTo>
                  <a:cubicBezTo>
                    <a:pt x="-4762" y="9089"/>
                    <a:pt x="5441" y="-1281"/>
                    <a:pt x="18014" y="-1381"/>
                  </a:cubicBezTo>
                  <a:lnTo>
                    <a:pt x="136879" y="-2341"/>
                  </a:lnTo>
                  <a:cubicBezTo>
                    <a:pt x="149444" y="-2440"/>
                    <a:pt x="159815" y="7763"/>
                    <a:pt x="159914" y="20336"/>
                  </a:cubicBezTo>
                  <a:lnTo>
                    <a:pt x="160486" y="90791"/>
                  </a:lnTo>
                  <a:cubicBezTo>
                    <a:pt x="160585" y="103364"/>
                    <a:pt x="150381" y="113727"/>
                    <a:pt x="137816" y="113834"/>
                  </a:cubicBezTo>
                  <a:lnTo>
                    <a:pt x="18952" y="114787"/>
                  </a:lnTo>
                  <a:cubicBezTo>
                    <a:pt x="6379" y="114885"/>
                    <a:pt x="-3992" y="104682"/>
                    <a:pt x="-4091" y="92117"/>
                  </a:cubicBezTo>
                  <a:lnTo>
                    <a:pt x="-4663" y="21655"/>
                  </a:lnTo>
                </a:path>
              </a:pathLst>
            </a:custGeom>
            <a:solidFill>
              <a:srgbClr val="989697"/>
            </a:solidFill>
            <a:ln w="762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C271008E-C45A-00A8-5B85-09CA156B5DD1}"/>
                </a:ext>
              </a:extLst>
            </p:cNvPr>
            <p:cNvSpPr/>
            <p:nvPr/>
          </p:nvSpPr>
          <p:spPr>
            <a:xfrm flipV="1">
              <a:off x="5326342" y="5231770"/>
              <a:ext cx="110008" cy="78026"/>
            </a:xfrm>
            <a:custGeom>
              <a:avLst/>
              <a:gdLst>
                <a:gd name="connsiteX0" fmla="*/ -4417 w 165149"/>
                <a:gd name="connsiteY0" fmla="*/ 21660 h 117136"/>
                <a:gd name="connsiteX1" fmla="*/ 18260 w 165149"/>
                <a:gd name="connsiteY1" fmla="*/ -1383 h 117136"/>
                <a:gd name="connsiteX2" fmla="*/ 137117 w 165149"/>
                <a:gd name="connsiteY2" fmla="*/ -2343 h 117136"/>
                <a:gd name="connsiteX3" fmla="*/ 160160 w 165149"/>
                <a:gd name="connsiteY3" fmla="*/ 20334 h 117136"/>
                <a:gd name="connsiteX4" fmla="*/ 160731 w 165149"/>
                <a:gd name="connsiteY4" fmla="*/ 90788 h 117136"/>
                <a:gd name="connsiteX5" fmla="*/ 138054 w 165149"/>
                <a:gd name="connsiteY5" fmla="*/ 113831 h 117136"/>
                <a:gd name="connsiteX6" fmla="*/ 19190 w 165149"/>
                <a:gd name="connsiteY6" fmla="*/ 114791 h 117136"/>
                <a:gd name="connsiteX7" fmla="*/ -3845 w 165149"/>
                <a:gd name="connsiteY7" fmla="*/ 92114 h 117136"/>
                <a:gd name="connsiteX8" fmla="*/ -4417 w 165149"/>
                <a:gd name="connsiteY8" fmla="*/ 21660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4417" y="21660"/>
                  </a:moveTo>
                  <a:cubicBezTo>
                    <a:pt x="-4516" y="9087"/>
                    <a:pt x="5687" y="-1284"/>
                    <a:pt x="18260" y="-1383"/>
                  </a:cubicBezTo>
                  <a:lnTo>
                    <a:pt x="137117" y="-2343"/>
                  </a:lnTo>
                  <a:cubicBezTo>
                    <a:pt x="149690" y="-2442"/>
                    <a:pt x="160061" y="7761"/>
                    <a:pt x="160160" y="20334"/>
                  </a:cubicBezTo>
                  <a:lnTo>
                    <a:pt x="160731" y="90788"/>
                  </a:lnTo>
                  <a:cubicBezTo>
                    <a:pt x="160830" y="103361"/>
                    <a:pt x="150620" y="113732"/>
                    <a:pt x="138054" y="113831"/>
                  </a:cubicBezTo>
                  <a:lnTo>
                    <a:pt x="19190" y="114791"/>
                  </a:lnTo>
                  <a:cubicBezTo>
                    <a:pt x="6625" y="114891"/>
                    <a:pt x="-3746" y="104680"/>
                    <a:pt x="-3845" y="92114"/>
                  </a:cubicBezTo>
                  <a:lnTo>
                    <a:pt x="-4417" y="21660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105A5293-2C95-78B7-619D-3A157D19D268}"/>
                </a:ext>
              </a:extLst>
            </p:cNvPr>
            <p:cNvSpPr/>
            <p:nvPr/>
          </p:nvSpPr>
          <p:spPr>
            <a:xfrm flipV="1">
              <a:off x="5182458" y="5230612"/>
              <a:ext cx="110004" cy="78021"/>
            </a:xfrm>
            <a:custGeom>
              <a:avLst/>
              <a:gdLst>
                <a:gd name="connsiteX0" fmla="*/ -4171 w 165142"/>
                <a:gd name="connsiteY0" fmla="*/ 21650 h 117128"/>
                <a:gd name="connsiteX1" fmla="*/ 18506 w 165142"/>
                <a:gd name="connsiteY1" fmla="*/ -1393 h 117128"/>
                <a:gd name="connsiteX2" fmla="*/ 137355 w 165142"/>
                <a:gd name="connsiteY2" fmla="*/ -2346 h 117128"/>
                <a:gd name="connsiteX3" fmla="*/ 160406 w 165142"/>
                <a:gd name="connsiteY3" fmla="*/ 20324 h 117128"/>
                <a:gd name="connsiteX4" fmla="*/ 160969 w 165142"/>
                <a:gd name="connsiteY4" fmla="*/ 90778 h 117128"/>
                <a:gd name="connsiteX5" fmla="*/ 138292 w 165142"/>
                <a:gd name="connsiteY5" fmla="*/ 113821 h 117128"/>
                <a:gd name="connsiteX6" fmla="*/ 19443 w 165142"/>
                <a:gd name="connsiteY6" fmla="*/ 114781 h 117128"/>
                <a:gd name="connsiteX7" fmla="*/ -3607 w 165142"/>
                <a:gd name="connsiteY7" fmla="*/ 92104 h 117128"/>
                <a:gd name="connsiteX8" fmla="*/ -4171 w 165142"/>
                <a:gd name="connsiteY8" fmla="*/ 21650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4171" y="21650"/>
                  </a:moveTo>
                  <a:cubicBezTo>
                    <a:pt x="-4278" y="9077"/>
                    <a:pt x="5925" y="-1294"/>
                    <a:pt x="18506" y="-1393"/>
                  </a:cubicBezTo>
                  <a:lnTo>
                    <a:pt x="137355" y="-2346"/>
                  </a:lnTo>
                  <a:cubicBezTo>
                    <a:pt x="149936" y="-2452"/>
                    <a:pt x="160299" y="7751"/>
                    <a:pt x="160406" y="20324"/>
                  </a:cubicBezTo>
                  <a:lnTo>
                    <a:pt x="160969" y="90778"/>
                  </a:lnTo>
                  <a:cubicBezTo>
                    <a:pt x="161076" y="103351"/>
                    <a:pt x="150873" y="113722"/>
                    <a:pt x="138292" y="113821"/>
                  </a:cubicBezTo>
                  <a:lnTo>
                    <a:pt x="19443" y="114781"/>
                  </a:lnTo>
                  <a:cubicBezTo>
                    <a:pt x="6863" y="114880"/>
                    <a:pt x="-3501" y="104677"/>
                    <a:pt x="-3607" y="92104"/>
                  </a:cubicBezTo>
                  <a:lnTo>
                    <a:pt x="-4171" y="21650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DD3268B6-DBC4-3F75-7A3A-A8D168C50FAF}"/>
                </a:ext>
              </a:extLst>
            </p:cNvPr>
            <p:cNvSpPr/>
            <p:nvPr/>
          </p:nvSpPr>
          <p:spPr>
            <a:xfrm flipV="1">
              <a:off x="5038570" y="5229455"/>
              <a:ext cx="110008" cy="78021"/>
            </a:xfrm>
            <a:custGeom>
              <a:avLst/>
              <a:gdLst>
                <a:gd name="connsiteX0" fmla="*/ -3926 w 165149"/>
                <a:gd name="connsiteY0" fmla="*/ 21655 h 117128"/>
                <a:gd name="connsiteX1" fmla="*/ 18751 w 165149"/>
                <a:gd name="connsiteY1" fmla="*/ -1388 h 117128"/>
                <a:gd name="connsiteX2" fmla="*/ 137616 w 165149"/>
                <a:gd name="connsiteY2" fmla="*/ -2348 h 117128"/>
                <a:gd name="connsiteX3" fmla="*/ 160651 w 165149"/>
                <a:gd name="connsiteY3" fmla="*/ 20329 h 117128"/>
                <a:gd name="connsiteX4" fmla="*/ 161223 w 165149"/>
                <a:gd name="connsiteY4" fmla="*/ 90776 h 117128"/>
                <a:gd name="connsiteX5" fmla="*/ 138545 w 165149"/>
                <a:gd name="connsiteY5" fmla="*/ 113819 h 117128"/>
                <a:gd name="connsiteX6" fmla="*/ 19689 w 165149"/>
                <a:gd name="connsiteY6" fmla="*/ 114779 h 117128"/>
                <a:gd name="connsiteX7" fmla="*/ -3354 w 165149"/>
                <a:gd name="connsiteY7" fmla="*/ 92102 h 117128"/>
                <a:gd name="connsiteX8" fmla="*/ -3926 w 165149"/>
                <a:gd name="connsiteY8" fmla="*/ 21655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926" y="21655"/>
                  </a:moveTo>
                  <a:cubicBezTo>
                    <a:pt x="-4025" y="9082"/>
                    <a:pt x="6178" y="-1289"/>
                    <a:pt x="18751" y="-1388"/>
                  </a:cubicBezTo>
                  <a:lnTo>
                    <a:pt x="137616" y="-2348"/>
                  </a:lnTo>
                  <a:cubicBezTo>
                    <a:pt x="150181" y="-2455"/>
                    <a:pt x="160552" y="7756"/>
                    <a:pt x="160651" y="20329"/>
                  </a:cubicBezTo>
                  <a:lnTo>
                    <a:pt x="161223" y="90776"/>
                  </a:lnTo>
                  <a:cubicBezTo>
                    <a:pt x="161322" y="103349"/>
                    <a:pt x="151118" y="113720"/>
                    <a:pt x="138545" y="113819"/>
                  </a:cubicBezTo>
                  <a:lnTo>
                    <a:pt x="19689" y="114779"/>
                  </a:lnTo>
                  <a:cubicBezTo>
                    <a:pt x="7116" y="114878"/>
                    <a:pt x="-3255" y="104682"/>
                    <a:pt x="-3354" y="92102"/>
                  </a:cubicBezTo>
                  <a:lnTo>
                    <a:pt x="-3926" y="21655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0BDC91D1-9B85-C8E9-DF34-07E407D442D7}"/>
                </a:ext>
              </a:extLst>
            </p:cNvPr>
            <p:cNvSpPr/>
            <p:nvPr/>
          </p:nvSpPr>
          <p:spPr>
            <a:xfrm flipV="1">
              <a:off x="4894685" y="5228297"/>
              <a:ext cx="110008" cy="78021"/>
            </a:xfrm>
            <a:custGeom>
              <a:avLst/>
              <a:gdLst>
                <a:gd name="connsiteX0" fmla="*/ -3680 w 165149"/>
                <a:gd name="connsiteY0" fmla="*/ 21652 h 117128"/>
                <a:gd name="connsiteX1" fmla="*/ 18997 w 165149"/>
                <a:gd name="connsiteY1" fmla="*/ -1391 h 117128"/>
                <a:gd name="connsiteX2" fmla="*/ 137854 w 165149"/>
                <a:gd name="connsiteY2" fmla="*/ -2351 h 117128"/>
                <a:gd name="connsiteX3" fmla="*/ 160897 w 165149"/>
                <a:gd name="connsiteY3" fmla="*/ 20326 h 117128"/>
                <a:gd name="connsiteX4" fmla="*/ 161468 w 165149"/>
                <a:gd name="connsiteY4" fmla="*/ 90781 h 117128"/>
                <a:gd name="connsiteX5" fmla="*/ 138791 w 165149"/>
                <a:gd name="connsiteY5" fmla="*/ 113823 h 117128"/>
                <a:gd name="connsiteX6" fmla="*/ 19927 w 165149"/>
                <a:gd name="connsiteY6" fmla="*/ 114776 h 117128"/>
                <a:gd name="connsiteX7" fmla="*/ -3108 w 165149"/>
                <a:gd name="connsiteY7" fmla="*/ 92106 h 117128"/>
                <a:gd name="connsiteX8" fmla="*/ -3680 w 165149"/>
                <a:gd name="connsiteY8" fmla="*/ 21652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680" y="21652"/>
                  </a:moveTo>
                  <a:cubicBezTo>
                    <a:pt x="-3779" y="9079"/>
                    <a:pt x="6424" y="-1292"/>
                    <a:pt x="18997" y="-1391"/>
                  </a:cubicBezTo>
                  <a:lnTo>
                    <a:pt x="137854" y="-2351"/>
                  </a:lnTo>
                  <a:cubicBezTo>
                    <a:pt x="150427" y="-2450"/>
                    <a:pt x="160798" y="7753"/>
                    <a:pt x="160897" y="20326"/>
                  </a:cubicBezTo>
                  <a:lnTo>
                    <a:pt x="161468" y="90781"/>
                  </a:lnTo>
                  <a:cubicBezTo>
                    <a:pt x="161567" y="103354"/>
                    <a:pt x="151357" y="113725"/>
                    <a:pt x="138791" y="113823"/>
                  </a:cubicBezTo>
                  <a:lnTo>
                    <a:pt x="19927" y="114776"/>
                  </a:lnTo>
                  <a:cubicBezTo>
                    <a:pt x="7362" y="114883"/>
                    <a:pt x="-3009" y="104679"/>
                    <a:pt x="-3108" y="92106"/>
                  </a:cubicBezTo>
                  <a:lnTo>
                    <a:pt x="-3680" y="2165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FF92D656-1AFF-131D-32E1-F766981665BA}"/>
                </a:ext>
              </a:extLst>
            </p:cNvPr>
            <p:cNvSpPr/>
            <p:nvPr/>
          </p:nvSpPr>
          <p:spPr>
            <a:xfrm flipV="1">
              <a:off x="4750802" y="5227136"/>
              <a:ext cx="110004" cy="78021"/>
            </a:xfrm>
            <a:custGeom>
              <a:avLst/>
              <a:gdLst>
                <a:gd name="connsiteX0" fmla="*/ -3434 w 165142"/>
                <a:gd name="connsiteY0" fmla="*/ 21642 h 117128"/>
                <a:gd name="connsiteX1" fmla="*/ 19243 w 165142"/>
                <a:gd name="connsiteY1" fmla="*/ -1401 h 117128"/>
                <a:gd name="connsiteX2" fmla="*/ 138092 w 165142"/>
                <a:gd name="connsiteY2" fmla="*/ -2353 h 117128"/>
                <a:gd name="connsiteX3" fmla="*/ 161143 w 165142"/>
                <a:gd name="connsiteY3" fmla="*/ 20316 h 117128"/>
                <a:gd name="connsiteX4" fmla="*/ 161707 w 165142"/>
                <a:gd name="connsiteY4" fmla="*/ 90771 h 117128"/>
                <a:gd name="connsiteX5" fmla="*/ 139029 w 165142"/>
                <a:gd name="connsiteY5" fmla="*/ 113813 h 117128"/>
                <a:gd name="connsiteX6" fmla="*/ 20180 w 165142"/>
                <a:gd name="connsiteY6" fmla="*/ 114774 h 117128"/>
                <a:gd name="connsiteX7" fmla="*/ -2870 w 165142"/>
                <a:gd name="connsiteY7" fmla="*/ 92096 h 117128"/>
                <a:gd name="connsiteX8" fmla="*/ -3434 w 165142"/>
                <a:gd name="connsiteY8" fmla="*/ 21642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3434" y="21642"/>
                  </a:moveTo>
                  <a:cubicBezTo>
                    <a:pt x="-3541" y="9069"/>
                    <a:pt x="6662" y="-1302"/>
                    <a:pt x="19243" y="-1401"/>
                  </a:cubicBezTo>
                  <a:lnTo>
                    <a:pt x="138092" y="-2353"/>
                  </a:lnTo>
                  <a:cubicBezTo>
                    <a:pt x="150673" y="-2460"/>
                    <a:pt x="161036" y="7743"/>
                    <a:pt x="161143" y="20316"/>
                  </a:cubicBezTo>
                  <a:lnTo>
                    <a:pt x="161707" y="90771"/>
                  </a:lnTo>
                  <a:cubicBezTo>
                    <a:pt x="161806" y="103344"/>
                    <a:pt x="151610" y="113714"/>
                    <a:pt x="139029" y="113813"/>
                  </a:cubicBezTo>
                  <a:lnTo>
                    <a:pt x="20180" y="114774"/>
                  </a:lnTo>
                  <a:cubicBezTo>
                    <a:pt x="7600" y="114872"/>
                    <a:pt x="-2764" y="104669"/>
                    <a:pt x="-2870" y="92096"/>
                  </a:cubicBezTo>
                  <a:lnTo>
                    <a:pt x="-3434" y="2164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327D688A-0972-3D39-806F-E3AE4A072CA0}"/>
                </a:ext>
              </a:extLst>
            </p:cNvPr>
            <p:cNvSpPr/>
            <p:nvPr/>
          </p:nvSpPr>
          <p:spPr>
            <a:xfrm flipV="1">
              <a:off x="4606913" y="5225978"/>
              <a:ext cx="110008" cy="78021"/>
            </a:xfrm>
            <a:custGeom>
              <a:avLst/>
              <a:gdLst>
                <a:gd name="connsiteX0" fmla="*/ -3189 w 165149"/>
                <a:gd name="connsiteY0" fmla="*/ 21647 h 117128"/>
                <a:gd name="connsiteX1" fmla="*/ 19489 w 165149"/>
                <a:gd name="connsiteY1" fmla="*/ -1404 h 117128"/>
                <a:gd name="connsiteX2" fmla="*/ 138353 w 165149"/>
                <a:gd name="connsiteY2" fmla="*/ -2356 h 117128"/>
                <a:gd name="connsiteX3" fmla="*/ 161388 w 165149"/>
                <a:gd name="connsiteY3" fmla="*/ 20313 h 117128"/>
                <a:gd name="connsiteX4" fmla="*/ 161960 w 165149"/>
                <a:gd name="connsiteY4" fmla="*/ 90768 h 117128"/>
                <a:gd name="connsiteX5" fmla="*/ 139283 w 165149"/>
                <a:gd name="connsiteY5" fmla="*/ 113811 h 117128"/>
                <a:gd name="connsiteX6" fmla="*/ 20426 w 165149"/>
                <a:gd name="connsiteY6" fmla="*/ 114771 h 117128"/>
                <a:gd name="connsiteX7" fmla="*/ -2617 w 165149"/>
                <a:gd name="connsiteY7" fmla="*/ 92094 h 117128"/>
                <a:gd name="connsiteX8" fmla="*/ -3189 w 165149"/>
                <a:gd name="connsiteY8" fmla="*/ 21647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189" y="21647"/>
                  </a:moveTo>
                  <a:cubicBezTo>
                    <a:pt x="-3288" y="9074"/>
                    <a:pt x="6923" y="-1297"/>
                    <a:pt x="19489" y="-1404"/>
                  </a:cubicBezTo>
                  <a:lnTo>
                    <a:pt x="138353" y="-2356"/>
                  </a:lnTo>
                  <a:cubicBezTo>
                    <a:pt x="150918" y="-2455"/>
                    <a:pt x="161289" y="7740"/>
                    <a:pt x="161388" y="20313"/>
                  </a:cubicBezTo>
                  <a:lnTo>
                    <a:pt x="161960" y="90768"/>
                  </a:lnTo>
                  <a:cubicBezTo>
                    <a:pt x="162059" y="103341"/>
                    <a:pt x="151856" y="113712"/>
                    <a:pt x="139283" y="113811"/>
                  </a:cubicBezTo>
                  <a:lnTo>
                    <a:pt x="20426" y="114771"/>
                  </a:lnTo>
                  <a:cubicBezTo>
                    <a:pt x="7853" y="114870"/>
                    <a:pt x="-2518" y="104667"/>
                    <a:pt x="-2617" y="92094"/>
                  </a:cubicBezTo>
                  <a:lnTo>
                    <a:pt x="-3189" y="2164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50C7335F-30E6-4179-2701-5433664C9CAE}"/>
                </a:ext>
              </a:extLst>
            </p:cNvPr>
            <p:cNvSpPr/>
            <p:nvPr/>
          </p:nvSpPr>
          <p:spPr>
            <a:xfrm flipV="1">
              <a:off x="4463029" y="5224821"/>
              <a:ext cx="110008" cy="78021"/>
            </a:xfrm>
            <a:custGeom>
              <a:avLst/>
              <a:gdLst>
                <a:gd name="connsiteX0" fmla="*/ -2943 w 165149"/>
                <a:gd name="connsiteY0" fmla="*/ 21644 h 117128"/>
                <a:gd name="connsiteX1" fmla="*/ 19734 w 165149"/>
                <a:gd name="connsiteY1" fmla="*/ -1399 h 117128"/>
                <a:gd name="connsiteX2" fmla="*/ 138591 w 165149"/>
                <a:gd name="connsiteY2" fmla="*/ -2359 h 117128"/>
                <a:gd name="connsiteX3" fmla="*/ 161634 w 165149"/>
                <a:gd name="connsiteY3" fmla="*/ 20318 h 117128"/>
                <a:gd name="connsiteX4" fmla="*/ 162205 w 165149"/>
                <a:gd name="connsiteY4" fmla="*/ 90765 h 117128"/>
                <a:gd name="connsiteX5" fmla="*/ 139528 w 165149"/>
                <a:gd name="connsiteY5" fmla="*/ 113816 h 117128"/>
                <a:gd name="connsiteX6" fmla="*/ 20664 w 165149"/>
                <a:gd name="connsiteY6" fmla="*/ 114768 h 117128"/>
                <a:gd name="connsiteX7" fmla="*/ -2371 w 165149"/>
                <a:gd name="connsiteY7" fmla="*/ 92099 h 117128"/>
                <a:gd name="connsiteX8" fmla="*/ -2943 w 165149"/>
                <a:gd name="connsiteY8" fmla="*/ 21644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2943" y="21644"/>
                  </a:moveTo>
                  <a:cubicBezTo>
                    <a:pt x="-3042" y="9071"/>
                    <a:pt x="7161" y="-1300"/>
                    <a:pt x="19734" y="-1399"/>
                  </a:cubicBezTo>
                  <a:lnTo>
                    <a:pt x="138591" y="-2359"/>
                  </a:lnTo>
                  <a:cubicBezTo>
                    <a:pt x="151164" y="-2458"/>
                    <a:pt x="161535" y="7745"/>
                    <a:pt x="161634" y="20318"/>
                  </a:cubicBezTo>
                  <a:lnTo>
                    <a:pt x="162205" y="90765"/>
                  </a:lnTo>
                  <a:cubicBezTo>
                    <a:pt x="162304" y="103338"/>
                    <a:pt x="152094" y="113709"/>
                    <a:pt x="139528" y="113816"/>
                  </a:cubicBezTo>
                  <a:lnTo>
                    <a:pt x="20664" y="114768"/>
                  </a:lnTo>
                  <a:cubicBezTo>
                    <a:pt x="8099" y="114867"/>
                    <a:pt x="-2272" y="104672"/>
                    <a:pt x="-2371" y="92099"/>
                  </a:cubicBezTo>
                  <a:lnTo>
                    <a:pt x="-2943" y="2164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00C06062-2824-500D-A49D-B9F25D05F8B7}"/>
                </a:ext>
              </a:extLst>
            </p:cNvPr>
            <p:cNvSpPr/>
            <p:nvPr/>
          </p:nvSpPr>
          <p:spPr>
            <a:xfrm flipV="1">
              <a:off x="4319140" y="5223659"/>
              <a:ext cx="110008" cy="78026"/>
            </a:xfrm>
            <a:custGeom>
              <a:avLst/>
              <a:gdLst>
                <a:gd name="connsiteX0" fmla="*/ -2697 w 165149"/>
                <a:gd name="connsiteY0" fmla="*/ 21642 h 117136"/>
                <a:gd name="connsiteX1" fmla="*/ 19988 w 165149"/>
                <a:gd name="connsiteY1" fmla="*/ -1401 h 117136"/>
                <a:gd name="connsiteX2" fmla="*/ 138837 w 165149"/>
                <a:gd name="connsiteY2" fmla="*/ -2361 h 117136"/>
                <a:gd name="connsiteX3" fmla="*/ 161887 w 165149"/>
                <a:gd name="connsiteY3" fmla="*/ 20316 h 117136"/>
                <a:gd name="connsiteX4" fmla="*/ 162451 w 165149"/>
                <a:gd name="connsiteY4" fmla="*/ 90770 h 117136"/>
                <a:gd name="connsiteX5" fmla="*/ 139774 w 165149"/>
                <a:gd name="connsiteY5" fmla="*/ 113813 h 117136"/>
                <a:gd name="connsiteX6" fmla="*/ 20917 w 165149"/>
                <a:gd name="connsiteY6" fmla="*/ 114773 h 117136"/>
                <a:gd name="connsiteX7" fmla="*/ -2126 w 165149"/>
                <a:gd name="connsiteY7" fmla="*/ 92096 h 117136"/>
                <a:gd name="connsiteX8" fmla="*/ -2697 w 165149"/>
                <a:gd name="connsiteY8" fmla="*/ 21642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2697" y="21642"/>
                  </a:moveTo>
                  <a:cubicBezTo>
                    <a:pt x="-2796" y="9069"/>
                    <a:pt x="7415" y="-1302"/>
                    <a:pt x="19988" y="-1401"/>
                  </a:cubicBezTo>
                  <a:lnTo>
                    <a:pt x="138837" y="-2361"/>
                  </a:lnTo>
                  <a:cubicBezTo>
                    <a:pt x="151417" y="-2460"/>
                    <a:pt x="161780" y="7743"/>
                    <a:pt x="161887" y="20316"/>
                  </a:cubicBezTo>
                  <a:lnTo>
                    <a:pt x="162451" y="90770"/>
                  </a:lnTo>
                  <a:cubicBezTo>
                    <a:pt x="162558" y="103343"/>
                    <a:pt x="152355" y="113714"/>
                    <a:pt x="139774" y="113813"/>
                  </a:cubicBezTo>
                  <a:lnTo>
                    <a:pt x="20917" y="114773"/>
                  </a:lnTo>
                  <a:cubicBezTo>
                    <a:pt x="8344" y="114872"/>
                    <a:pt x="-2027" y="104669"/>
                    <a:pt x="-2126" y="92096"/>
                  </a:cubicBezTo>
                  <a:lnTo>
                    <a:pt x="-2697" y="2164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5AFFDBA-2DFD-E369-F053-0D6C57401EFF}"/>
                </a:ext>
              </a:extLst>
            </p:cNvPr>
            <p:cNvSpPr/>
            <p:nvPr/>
          </p:nvSpPr>
          <p:spPr>
            <a:xfrm flipV="1">
              <a:off x="5758781" y="5138263"/>
              <a:ext cx="110008" cy="78026"/>
            </a:xfrm>
            <a:custGeom>
              <a:avLst/>
              <a:gdLst>
                <a:gd name="connsiteX0" fmla="*/ -5155 w 165149"/>
                <a:gd name="connsiteY0" fmla="*/ 21451 h 117136"/>
                <a:gd name="connsiteX1" fmla="*/ 17522 w 165149"/>
                <a:gd name="connsiteY1" fmla="*/ -1592 h 117136"/>
                <a:gd name="connsiteX2" fmla="*/ 136379 w 165149"/>
                <a:gd name="connsiteY2" fmla="*/ -2552 h 117136"/>
                <a:gd name="connsiteX3" fmla="*/ 159422 w 165149"/>
                <a:gd name="connsiteY3" fmla="*/ 20125 h 117136"/>
                <a:gd name="connsiteX4" fmla="*/ 159993 w 165149"/>
                <a:gd name="connsiteY4" fmla="*/ 90580 h 117136"/>
                <a:gd name="connsiteX5" fmla="*/ 137308 w 165149"/>
                <a:gd name="connsiteY5" fmla="*/ 113623 h 117136"/>
                <a:gd name="connsiteX6" fmla="*/ 18459 w 165149"/>
                <a:gd name="connsiteY6" fmla="*/ 114583 h 117136"/>
                <a:gd name="connsiteX7" fmla="*/ -4591 w 165149"/>
                <a:gd name="connsiteY7" fmla="*/ 91906 h 117136"/>
                <a:gd name="connsiteX8" fmla="*/ -5155 w 165149"/>
                <a:gd name="connsiteY8" fmla="*/ 21451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5155" y="21451"/>
                  </a:moveTo>
                  <a:cubicBezTo>
                    <a:pt x="-5262" y="8878"/>
                    <a:pt x="4949" y="-1493"/>
                    <a:pt x="17522" y="-1592"/>
                  </a:cubicBezTo>
                  <a:lnTo>
                    <a:pt x="136379" y="-2552"/>
                  </a:lnTo>
                  <a:cubicBezTo>
                    <a:pt x="148952" y="-2651"/>
                    <a:pt x="159323" y="7552"/>
                    <a:pt x="159422" y="20125"/>
                  </a:cubicBezTo>
                  <a:lnTo>
                    <a:pt x="159993" y="90580"/>
                  </a:lnTo>
                  <a:cubicBezTo>
                    <a:pt x="160085" y="103153"/>
                    <a:pt x="149889" y="113516"/>
                    <a:pt x="137308" y="113623"/>
                  </a:cubicBezTo>
                  <a:lnTo>
                    <a:pt x="18459" y="114583"/>
                  </a:lnTo>
                  <a:cubicBezTo>
                    <a:pt x="5879" y="114682"/>
                    <a:pt x="-4484" y="104479"/>
                    <a:pt x="-4591" y="91906"/>
                  </a:cubicBezTo>
                  <a:lnTo>
                    <a:pt x="-5155" y="2145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3ABC5243-BDCF-8D4E-303F-A573642D5EA4}"/>
                </a:ext>
              </a:extLst>
            </p:cNvPr>
            <p:cNvSpPr/>
            <p:nvPr/>
          </p:nvSpPr>
          <p:spPr>
            <a:xfrm flipV="1">
              <a:off x="5614892" y="5137106"/>
              <a:ext cx="110008" cy="78026"/>
            </a:xfrm>
            <a:custGeom>
              <a:avLst/>
              <a:gdLst>
                <a:gd name="connsiteX0" fmla="*/ -4910 w 165149"/>
                <a:gd name="connsiteY0" fmla="*/ 21448 h 117136"/>
                <a:gd name="connsiteX1" fmla="*/ 17775 w 165149"/>
                <a:gd name="connsiteY1" fmla="*/ -1594 h 117136"/>
                <a:gd name="connsiteX2" fmla="*/ 136632 w 165149"/>
                <a:gd name="connsiteY2" fmla="*/ -2555 h 117136"/>
                <a:gd name="connsiteX3" fmla="*/ 159675 w 165149"/>
                <a:gd name="connsiteY3" fmla="*/ 20130 h 117136"/>
                <a:gd name="connsiteX4" fmla="*/ 160239 w 165149"/>
                <a:gd name="connsiteY4" fmla="*/ 90577 h 117136"/>
                <a:gd name="connsiteX5" fmla="*/ 137569 w 165149"/>
                <a:gd name="connsiteY5" fmla="*/ 113620 h 117136"/>
                <a:gd name="connsiteX6" fmla="*/ 18705 w 165149"/>
                <a:gd name="connsiteY6" fmla="*/ 114580 h 117136"/>
                <a:gd name="connsiteX7" fmla="*/ -4338 w 165149"/>
                <a:gd name="connsiteY7" fmla="*/ 91903 h 117136"/>
                <a:gd name="connsiteX8" fmla="*/ -4910 w 165149"/>
                <a:gd name="connsiteY8" fmla="*/ 21448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4910" y="21448"/>
                  </a:moveTo>
                  <a:cubicBezTo>
                    <a:pt x="-5001" y="8875"/>
                    <a:pt x="5195" y="-1488"/>
                    <a:pt x="17775" y="-1594"/>
                  </a:cubicBezTo>
                  <a:lnTo>
                    <a:pt x="136632" y="-2555"/>
                  </a:lnTo>
                  <a:cubicBezTo>
                    <a:pt x="149205" y="-2654"/>
                    <a:pt x="159568" y="7550"/>
                    <a:pt x="159675" y="20130"/>
                  </a:cubicBezTo>
                  <a:lnTo>
                    <a:pt x="160239" y="90577"/>
                  </a:lnTo>
                  <a:cubicBezTo>
                    <a:pt x="160345" y="103150"/>
                    <a:pt x="150135" y="113521"/>
                    <a:pt x="137569" y="113620"/>
                  </a:cubicBezTo>
                  <a:lnTo>
                    <a:pt x="18705" y="114580"/>
                  </a:lnTo>
                  <a:cubicBezTo>
                    <a:pt x="6139" y="114679"/>
                    <a:pt x="-4239" y="104476"/>
                    <a:pt x="-4338" y="91903"/>
                  </a:cubicBezTo>
                  <a:lnTo>
                    <a:pt x="-4910" y="2144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D32CCF43-6904-280C-4C81-520EF80B4B20}"/>
                </a:ext>
              </a:extLst>
            </p:cNvPr>
            <p:cNvSpPr/>
            <p:nvPr/>
          </p:nvSpPr>
          <p:spPr>
            <a:xfrm flipV="1">
              <a:off x="5471014" y="5135948"/>
              <a:ext cx="109999" cy="78021"/>
            </a:xfrm>
            <a:custGeom>
              <a:avLst/>
              <a:gdLst>
                <a:gd name="connsiteX0" fmla="*/ -4664 w 165134"/>
                <a:gd name="connsiteY0" fmla="*/ 21438 h 117128"/>
                <a:gd name="connsiteX1" fmla="*/ 18006 w 165134"/>
                <a:gd name="connsiteY1" fmla="*/ -1605 h 117128"/>
                <a:gd name="connsiteX2" fmla="*/ 136862 w 165134"/>
                <a:gd name="connsiteY2" fmla="*/ -2557 h 117128"/>
                <a:gd name="connsiteX3" fmla="*/ 159905 w 165134"/>
                <a:gd name="connsiteY3" fmla="*/ 20120 h 117128"/>
                <a:gd name="connsiteX4" fmla="*/ 160469 w 165134"/>
                <a:gd name="connsiteY4" fmla="*/ 90567 h 117128"/>
                <a:gd name="connsiteX5" fmla="*/ 137800 w 165134"/>
                <a:gd name="connsiteY5" fmla="*/ 113617 h 117128"/>
                <a:gd name="connsiteX6" fmla="*/ 18943 w 165134"/>
                <a:gd name="connsiteY6" fmla="*/ 114570 h 117128"/>
                <a:gd name="connsiteX7" fmla="*/ -4100 w 165134"/>
                <a:gd name="connsiteY7" fmla="*/ 91900 h 117128"/>
                <a:gd name="connsiteX8" fmla="*/ -4664 w 165134"/>
                <a:gd name="connsiteY8" fmla="*/ 21438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28">
                  <a:moveTo>
                    <a:pt x="-4664" y="21438"/>
                  </a:moveTo>
                  <a:cubicBezTo>
                    <a:pt x="-4771" y="8873"/>
                    <a:pt x="5433" y="-1498"/>
                    <a:pt x="18006" y="-1605"/>
                  </a:cubicBezTo>
                  <a:lnTo>
                    <a:pt x="136862" y="-2557"/>
                  </a:lnTo>
                  <a:cubicBezTo>
                    <a:pt x="149435" y="-2656"/>
                    <a:pt x="159806" y="7547"/>
                    <a:pt x="159905" y="20120"/>
                  </a:cubicBezTo>
                  <a:lnTo>
                    <a:pt x="160469" y="90567"/>
                  </a:lnTo>
                  <a:cubicBezTo>
                    <a:pt x="160576" y="103147"/>
                    <a:pt x="150373" y="113511"/>
                    <a:pt x="137800" y="113617"/>
                  </a:cubicBezTo>
                  <a:lnTo>
                    <a:pt x="18943" y="114570"/>
                  </a:lnTo>
                  <a:cubicBezTo>
                    <a:pt x="6370" y="114669"/>
                    <a:pt x="-4001" y="104466"/>
                    <a:pt x="-4100" y="91900"/>
                  </a:cubicBezTo>
                  <a:lnTo>
                    <a:pt x="-4664" y="2143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D5F86877-8B90-1A03-B063-9A7CC2655374}"/>
                </a:ext>
              </a:extLst>
            </p:cNvPr>
            <p:cNvSpPr/>
            <p:nvPr/>
          </p:nvSpPr>
          <p:spPr>
            <a:xfrm flipV="1">
              <a:off x="5327124" y="5134786"/>
              <a:ext cx="110008" cy="78026"/>
            </a:xfrm>
            <a:custGeom>
              <a:avLst/>
              <a:gdLst>
                <a:gd name="connsiteX0" fmla="*/ -4418 w 165149"/>
                <a:gd name="connsiteY0" fmla="*/ 21443 h 117136"/>
                <a:gd name="connsiteX1" fmla="*/ 18259 w 165149"/>
                <a:gd name="connsiteY1" fmla="*/ -1600 h 117136"/>
                <a:gd name="connsiteX2" fmla="*/ 137116 w 165149"/>
                <a:gd name="connsiteY2" fmla="*/ -2560 h 117136"/>
                <a:gd name="connsiteX3" fmla="*/ 160159 w 165149"/>
                <a:gd name="connsiteY3" fmla="*/ 20117 h 117136"/>
                <a:gd name="connsiteX4" fmla="*/ 160730 w 165149"/>
                <a:gd name="connsiteY4" fmla="*/ 90572 h 117136"/>
                <a:gd name="connsiteX5" fmla="*/ 138045 w 165149"/>
                <a:gd name="connsiteY5" fmla="*/ 113615 h 117136"/>
                <a:gd name="connsiteX6" fmla="*/ 19196 w 165149"/>
                <a:gd name="connsiteY6" fmla="*/ 114575 h 117136"/>
                <a:gd name="connsiteX7" fmla="*/ -3854 w 165149"/>
                <a:gd name="connsiteY7" fmla="*/ 91898 h 117136"/>
                <a:gd name="connsiteX8" fmla="*/ -4418 w 165149"/>
                <a:gd name="connsiteY8" fmla="*/ 21443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4418" y="21443"/>
                  </a:moveTo>
                  <a:cubicBezTo>
                    <a:pt x="-4525" y="8870"/>
                    <a:pt x="5686" y="-1501"/>
                    <a:pt x="18259" y="-1600"/>
                  </a:cubicBezTo>
                  <a:lnTo>
                    <a:pt x="137116" y="-2560"/>
                  </a:lnTo>
                  <a:cubicBezTo>
                    <a:pt x="149689" y="-2659"/>
                    <a:pt x="160060" y="7544"/>
                    <a:pt x="160159" y="20117"/>
                  </a:cubicBezTo>
                  <a:lnTo>
                    <a:pt x="160730" y="90572"/>
                  </a:lnTo>
                  <a:cubicBezTo>
                    <a:pt x="160822" y="103145"/>
                    <a:pt x="150626" y="113508"/>
                    <a:pt x="138045" y="113615"/>
                  </a:cubicBezTo>
                  <a:lnTo>
                    <a:pt x="19196" y="114575"/>
                  </a:lnTo>
                  <a:cubicBezTo>
                    <a:pt x="6616" y="114674"/>
                    <a:pt x="-3748" y="104463"/>
                    <a:pt x="-3854" y="91898"/>
                  </a:cubicBezTo>
                  <a:lnTo>
                    <a:pt x="-4418" y="21443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DA31DEB9-4A28-E70D-4205-66196FA944AD}"/>
                </a:ext>
              </a:extLst>
            </p:cNvPr>
            <p:cNvSpPr/>
            <p:nvPr/>
          </p:nvSpPr>
          <p:spPr>
            <a:xfrm flipV="1">
              <a:off x="5183235" y="5133629"/>
              <a:ext cx="110008" cy="78021"/>
            </a:xfrm>
            <a:custGeom>
              <a:avLst/>
              <a:gdLst>
                <a:gd name="connsiteX0" fmla="*/ -4173 w 165149"/>
                <a:gd name="connsiteY0" fmla="*/ 21433 h 117128"/>
                <a:gd name="connsiteX1" fmla="*/ 18505 w 165149"/>
                <a:gd name="connsiteY1" fmla="*/ -1610 h 117128"/>
                <a:gd name="connsiteX2" fmla="*/ 137369 w 165149"/>
                <a:gd name="connsiteY2" fmla="*/ -2562 h 117128"/>
                <a:gd name="connsiteX3" fmla="*/ 160412 w 165149"/>
                <a:gd name="connsiteY3" fmla="*/ 20107 h 117128"/>
                <a:gd name="connsiteX4" fmla="*/ 160976 w 165149"/>
                <a:gd name="connsiteY4" fmla="*/ 90562 h 117128"/>
                <a:gd name="connsiteX5" fmla="*/ 138306 w 165149"/>
                <a:gd name="connsiteY5" fmla="*/ 113605 h 117128"/>
                <a:gd name="connsiteX6" fmla="*/ 19442 w 165149"/>
                <a:gd name="connsiteY6" fmla="*/ 114565 h 117128"/>
                <a:gd name="connsiteX7" fmla="*/ -3601 w 165149"/>
                <a:gd name="connsiteY7" fmla="*/ 91888 h 117128"/>
                <a:gd name="connsiteX8" fmla="*/ -4173 w 165149"/>
                <a:gd name="connsiteY8" fmla="*/ 21433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173" y="21433"/>
                  </a:moveTo>
                  <a:cubicBezTo>
                    <a:pt x="-4264" y="8860"/>
                    <a:pt x="5932" y="-1511"/>
                    <a:pt x="18505" y="-1610"/>
                  </a:cubicBezTo>
                  <a:lnTo>
                    <a:pt x="137369" y="-2562"/>
                  </a:lnTo>
                  <a:cubicBezTo>
                    <a:pt x="149942" y="-2669"/>
                    <a:pt x="160305" y="7534"/>
                    <a:pt x="160412" y="20107"/>
                  </a:cubicBezTo>
                  <a:lnTo>
                    <a:pt x="160976" y="90562"/>
                  </a:lnTo>
                  <a:cubicBezTo>
                    <a:pt x="161082" y="103135"/>
                    <a:pt x="150872" y="113506"/>
                    <a:pt x="138306" y="113605"/>
                  </a:cubicBezTo>
                  <a:lnTo>
                    <a:pt x="19442" y="114565"/>
                  </a:lnTo>
                  <a:cubicBezTo>
                    <a:pt x="6876" y="114664"/>
                    <a:pt x="-3502" y="104461"/>
                    <a:pt x="-3601" y="91888"/>
                  </a:cubicBezTo>
                  <a:lnTo>
                    <a:pt x="-4173" y="21433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D40EF2DE-1802-17F8-E3AC-E09B3C145CDF}"/>
                </a:ext>
              </a:extLst>
            </p:cNvPr>
            <p:cNvSpPr/>
            <p:nvPr/>
          </p:nvSpPr>
          <p:spPr>
            <a:xfrm flipV="1">
              <a:off x="5039357" y="5132472"/>
              <a:ext cx="109999" cy="78021"/>
            </a:xfrm>
            <a:custGeom>
              <a:avLst/>
              <a:gdLst>
                <a:gd name="connsiteX0" fmla="*/ -3927 w 165134"/>
                <a:gd name="connsiteY0" fmla="*/ 21431 h 117128"/>
                <a:gd name="connsiteX1" fmla="*/ 18743 w 165134"/>
                <a:gd name="connsiteY1" fmla="*/ -1605 h 117128"/>
                <a:gd name="connsiteX2" fmla="*/ 137599 w 165134"/>
                <a:gd name="connsiteY2" fmla="*/ -2565 h 117128"/>
                <a:gd name="connsiteX3" fmla="*/ 160643 w 165134"/>
                <a:gd name="connsiteY3" fmla="*/ 20112 h 117128"/>
                <a:gd name="connsiteX4" fmla="*/ 161206 w 165134"/>
                <a:gd name="connsiteY4" fmla="*/ 90559 h 117128"/>
                <a:gd name="connsiteX5" fmla="*/ 138537 w 165134"/>
                <a:gd name="connsiteY5" fmla="*/ 113602 h 117128"/>
                <a:gd name="connsiteX6" fmla="*/ 19680 w 165134"/>
                <a:gd name="connsiteY6" fmla="*/ 114562 h 117128"/>
                <a:gd name="connsiteX7" fmla="*/ -3363 w 165134"/>
                <a:gd name="connsiteY7" fmla="*/ 91885 h 117128"/>
                <a:gd name="connsiteX8" fmla="*/ -3927 w 165134"/>
                <a:gd name="connsiteY8" fmla="*/ 21431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28">
                  <a:moveTo>
                    <a:pt x="-3927" y="21431"/>
                  </a:moveTo>
                  <a:cubicBezTo>
                    <a:pt x="-4034" y="8865"/>
                    <a:pt x="6170" y="-1506"/>
                    <a:pt x="18743" y="-1605"/>
                  </a:cubicBezTo>
                  <a:lnTo>
                    <a:pt x="137599" y="-2565"/>
                  </a:lnTo>
                  <a:cubicBezTo>
                    <a:pt x="150172" y="-2672"/>
                    <a:pt x="160543" y="7539"/>
                    <a:pt x="160643" y="20112"/>
                  </a:cubicBezTo>
                  <a:lnTo>
                    <a:pt x="161206" y="90559"/>
                  </a:lnTo>
                  <a:cubicBezTo>
                    <a:pt x="161313" y="103132"/>
                    <a:pt x="151110" y="113503"/>
                    <a:pt x="138537" y="113602"/>
                  </a:cubicBezTo>
                  <a:lnTo>
                    <a:pt x="19680" y="114562"/>
                  </a:lnTo>
                  <a:cubicBezTo>
                    <a:pt x="7107" y="114661"/>
                    <a:pt x="-3256" y="104458"/>
                    <a:pt x="-3363" y="91885"/>
                  </a:cubicBezTo>
                  <a:lnTo>
                    <a:pt x="-3927" y="2143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B643CC04-384A-E25F-8881-036A046F4E00}"/>
                </a:ext>
              </a:extLst>
            </p:cNvPr>
            <p:cNvSpPr/>
            <p:nvPr/>
          </p:nvSpPr>
          <p:spPr>
            <a:xfrm flipV="1">
              <a:off x="4895467" y="5131314"/>
              <a:ext cx="110008" cy="78021"/>
            </a:xfrm>
            <a:custGeom>
              <a:avLst/>
              <a:gdLst>
                <a:gd name="connsiteX0" fmla="*/ -3681 w 165149"/>
                <a:gd name="connsiteY0" fmla="*/ 21428 h 117128"/>
                <a:gd name="connsiteX1" fmla="*/ 18996 w 165149"/>
                <a:gd name="connsiteY1" fmla="*/ -1607 h 117128"/>
                <a:gd name="connsiteX2" fmla="*/ 137853 w 165149"/>
                <a:gd name="connsiteY2" fmla="*/ -2568 h 117128"/>
                <a:gd name="connsiteX3" fmla="*/ 160896 w 165149"/>
                <a:gd name="connsiteY3" fmla="*/ 20110 h 117128"/>
                <a:gd name="connsiteX4" fmla="*/ 161467 w 165149"/>
                <a:gd name="connsiteY4" fmla="*/ 90564 h 117128"/>
                <a:gd name="connsiteX5" fmla="*/ 138782 w 165149"/>
                <a:gd name="connsiteY5" fmla="*/ 113607 h 117128"/>
                <a:gd name="connsiteX6" fmla="*/ 19933 w 165149"/>
                <a:gd name="connsiteY6" fmla="*/ 114559 h 117128"/>
                <a:gd name="connsiteX7" fmla="*/ -3117 w 165149"/>
                <a:gd name="connsiteY7" fmla="*/ 91890 h 117128"/>
                <a:gd name="connsiteX8" fmla="*/ -3681 w 165149"/>
                <a:gd name="connsiteY8" fmla="*/ 21428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681" y="21428"/>
                  </a:moveTo>
                  <a:cubicBezTo>
                    <a:pt x="-3788" y="8862"/>
                    <a:pt x="6423" y="-1508"/>
                    <a:pt x="18996" y="-1607"/>
                  </a:cubicBezTo>
                  <a:lnTo>
                    <a:pt x="137853" y="-2568"/>
                  </a:lnTo>
                  <a:cubicBezTo>
                    <a:pt x="150426" y="-2667"/>
                    <a:pt x="160797" y="7537"/>
                    <a:pt x="160896" y="20110"/>
                  </a:cubicBezTo>
                  <a:lnTo>
                    <a:pt x="161467" y="90564"/>
                  </a:lnTo>
                  <a:cubicBezTo>
                    <a:pt x="161566" y="103137"/>
                    <a:pt x="151363" y="113508"/>
                    <a:pt x="138782" y="113607"/>
                  </a:cubicBezTo>
                  <a:lnTo>
                    <a:pt x="19933" y="114559"/>
                  </a:lnTo>
                  <a:cubicBezTo>
                    <a:pt x="7353" y="114658"/>
                    <a:pt x="-3011" y="104455"/>
                    <a:pt x="-3117" y="91890"/>
                  </a:cubicBezTo>
                  <a:lnTo>
                    <a:pt x="-3681" y="2142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C82D08D-2561-23B5-15AD-F6C962B88D1D}"/>
                </a:ext>
              </a:extLst>
            </p:cNvPr>
            <p:cNvSpPr/>
            <p:nvPr/>
          </p:nvSpPr>
          <p:spPr>
            <a:xfrm flipV="1">
              <a:off x="4751578" y="5130152"/>
              <a:ext cx="110008" cy="78026"/>
            </a:xfrm>
            <a:custGeom>
              <a:avLst/>
              <a:gdLst>
                <a:gd name="connsiteX0" fmla="*/ -3436 w 165149"/>
                <a:gd name="connsiteY0" fmla="*/ 21433 h 117136"/>
                <a:gd name="connsiteX1" fmla="*/ 19241 w 165149"/>
                <a:gd name="connsiteY1" fmla="*/ -1610 h 117136"/>
                <a:gd name="connsiteX2" fmla="*/ 138106 w 165149"/>
                <a:gd name="connsiteY2" fmla="*/ -2570 h 117136"/>
                <a:gd name="connsiteX3" fmla="*/ 161149 w 165149"/>
                <a:gd name="connsiteY3" fmla="*/ 20107 h 117136"/>
                <a:gd name="connsiteX4" fmla="*/ 161713 w 165149"/>
                <a:gd name="connsiteY4" fmla="*/ 90561 h 117136"/>
                <a:gd name="connsiteX5" fmla="*/ 139043 w 165149"/>
                <a:gd name="connsiteY5" fmla="*/ 113604 h 117136"/>
                <a:gd name="connsiteX6" fmla="*/ 20179 w 165149"/>
                <a:gd name="connsiteY6" fmla="*/ 114564 h 117136"/>
                <a:gd name="connsiteX7" fmla="*/ -2864 w 165149"/>
                <a:gd name="connsiteY7" fmla="*/ 91887 h 117136"/>
                <a:gd name="connsiteX8" fmla="*/ -3436 w 165149"/>
                <a:gd name="connsiteY8" fmla="*/ 21433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3436" y="21433"/>
                  </a:moveTo>
                  <a:cubicBezTo>
                    <a:pt x="-3527" y="8860"/>
                    <a:pt x="6668" y="-1511"/>
                    <a:pt x="19241" y="-1610"/>
                  </a:cubicBezTo>
                  <a:lnTo>
                    <a:pt x="138106" y="-2570"/>
                  </a:lnTo>
                  <a:cubicBezTo>
                    <a:pt x="150679" y="-2669"/>
                    <a:pt x="161042" y="7534"/>
                    <a:pt x="161149" y="20107"/>
                  </a:cubicBezTo>
                  <a:lnTo>
                    <a:pt x="161713" y="90561"/>
                  </a:lnTo>
                  <a:cubicBezTo>
                    <a:pt x="161812" y="103134"/>
                    <a:pt x="151608" y="113505"/>
                    <a:pt x="139043" y="113604"/>
                  </a:cubicBezTo>
                  <a:lnTo>
                    <a:pt x="20179" y="114564"/>
                  </a:lnTo>
                  <a:cubicBezTo>
                    <a:pt x="7613" y="114663"/>
                    <a:pt x="-2765" y="104460"/>
                    <a:pt x="-2864" y="91887"/>
                  </a:cubicBezTo>
                  <a:lnTo>
                    <a:pt x="-3436" y="21433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05866837-9A3A-C5E4-333C-64CDCE96731E}"/>
                </a:ext>
              </a:extLst>
            </p:cNvPr>
            <p:cNvSpPr/>
            <p:nvPr/>
          </p:nvSpPr>
          <p:spPr>
            <a:xfrm flipV="1">
              <a:off x="4607700" y="5128995"/>
              <a:ext cx="109999" cy="78021"/>
            </a:xfrm>
            <a:custGeom>
              <a:avLst/>
              <a:gdLst>
                <a:gd name="connsiteX0" fmla="*/ -3190 w 165134"/>
                <a:gd name="connsiteY0" fmla="*/ 21430 h 117128"/>
                <a:gd name="connsiteX1" fmla="*/ 19480 w 165134"/>
                <a:gd name="connsiteY1" fmla="*/ -1620 h 117128"/>
                <a:gd name="connsiteX2" fmla="*/ 138337 w 165134"/>
                <a:gd name="connsiteY2" fmla="*/ -2573 h 117128"/>
                <a:gd name="connsiteX3" fmla="*/ 161379 w 165134"/>
                <a:gd name="connsiteY3" fmla="*/ 20097 h 117128"/>
                <a:gd name="connsiteX4" fmla="*/ 161943 w 165134"/>
                <a:gd name="connsiteY4" fmla="*/ 90552 h 117128"/>
                <a:gd name="connsiteX5" fmla="*/ 139274 w 165134"/>
                <a:gd name="connsiteY5" fmla="*/ 113594 h 117128"/>
                <a:gd name="connsiteX6" fmla="*/ 20417 w 165134"/>
                <a:gd name="connsiteY6" fmla="*/ 114555 h 117128"/>
                <a:gd name="connsiteX7" fmla="*/ -2626 w 165134"/>
                <a:gd name="connsiteY7" fmla="*/ 91877 h 117128"/>
                <a:gd name="connsiteX8" fmla="*/ -3190 w 165134"/>
                <a:gd name="connsiteY8" fmla="*/ 21430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28">
                  <a:moveTo>
                    <a:pt x="-3190" y="21430"/>
                  </a:moveTo>
                  <a:cubicBezTo>
                    <a:pt x="-3297" y="8850"/>
                    <a:pt x="6907" y="-1513"/>
                    <a:pt x="19480" y="-1620"/>
                  </a:cubicBezTo>
                  <a:lnTo>
                    <a:pt x="138337" y="-2573"/>
                  </a:lnTo>
                  <a:cubicBezTo>
                    <a:pt x="150910" y="-2679"/>
                    <a:pt x="161280" y="7524"/>
                    <a:pt x="161379" y="20097"/>
                  </a:cubicBezTo>
                  <a:lnTo>
                    <a:pt x="161943" y="90552"/>
                  </a:lnTo>
                  <a:cubicBezTo>
                    <a:pt x="162050" y="103125"/>
                    <a:pt x="151847" y="113495"/>
                    <a:pt x="139274" y="113594"/>
                  </a:cubicBezTo>
                  <a:lnTo>
                    <a:pt x="20417" y="114555"/>
                  </a:lnTo>
                  <a:cubicBezTo>
                    <a:pt x="7844" y="114654"/>
                    <a:pt x="-2527" y="104450"/>
                    <a:pt x="-2626" y="91877"/>
                  </a:cubicBezTo>
                  <a:lnTo>
                    <a:pt x="-3190" y="21430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E502F9F8-5267-9B3F-2F1E-C9B1DF068E1A}"/>
                </a:ext>
              </a:extLst>
            </p:cNvPr>
            <p:cNvSpPr/>
            <p:nvPr/>
          </p:nvSpPr>
          <p:spPr>
            <a:xfrm flipV="1">
              <a:off x="4463811" y="5127838"/>
              <a:ext cx="110008" cy="78021"/>
            </a:xfrm>
            <a:custGeom>
              <a:avLst/>
              <a:gdLst>
                <a:gd name="connsiteX0" fmla="*/ -2944 w 165149"/>
                <a:gd name="connsiteY0" fmla="*/ 21428 h 117128"/>
                <a:gd name="connsiteX1" fmla="*/ 19733 w 165149"/>
                <a:gd name="connsiteY1" fmla="*/ -1615 h 117128"/>
                <a:gd name="connsiteX2" fmla="*/ 138590 w 165149"/>
                <a:gd name="connsiteY2" fmla="*/ -2575 h 117128"/>
                <a:gd name="connsiteX3" fmla="*/ 161633 w 165149"/>
                <a:gd name="connsiteY3" fmla="*/ 20102 h 117128"/>
                <a:gd name="connsiteX4" fmla="*/ 162204 w 165149"/>
                <a:gd name="connsiteY4" fmla="*/ 90549 h 117128"/>
                <a:gd name="connsiteX5" fmla="*/ 139519 w 165149"/>
                <a:gd name="connsiteY5" fmla="*/ 113599 h 117128"/>
                <a:gd name="connsiteX6" fmla="*/ 20670 w 165149"/>
                <a:gd name="connsiteY6" fmla="*/ 114552 h 117128"/>
                <a:gd name="connsiteX7" fmla="*/ -2380 w 165149"/>
                <a:gd name="connsiteY7" fmla="*/ 91882 h 117128"/>
                <a:gd name="connsiteX8" fmla="*/ -2944 w 165149"/>
                <a:gd name="connsiteY8" fmla="*/ 21428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2944" y="21428"/>
                  </a:moveTo>
                  <a:cubicBezTo>
                    <a:pt x="-3051" y="8855"/>
                    <a:pt x="7160" y="-1516"/>
                    <a:pt x="19733" y="-1615"/>
                  </a:cubicBezTo>
                  <a:lnTo>
                    <a:pt x="138590" y="-2575"/>
                  </a:lnTo>
                  <a:cubicBezTo>
                    <a:pt x="151163" y="-2682"/>
                    <a:pt x="161534" y="7529"/>
                    <a:pt x="161633" y="20102"/>
                  </a:cubicBezTo>
                  <a:lnTo>
                    <a:pt x="162204" y="90549"/>
                  </a:lnTo>
                  <a:cubicBezTo>
                    <a:pt x="162303" y="103122"/>
                    <a:pt x="152100" y="113493"/>
                    <a:pt x="139519" y="113599"/>
                  </a:cubicBezTo>
                  <a:lnTo>
                    <a:pt x="20670" y="114552"/>
                  </a:lnTo>
                  <a:cubicBezTo>
                    <a:pt x="8090" y="114651"/>
                    <a:pt x="-2274" y="104455"/>
                    <a:pt x="-2380" y="91882"/>
                  </a:cubicBezTo>
                  <a:lnTo>
                    <a:pt x="-2944" y="2142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4637670A-FF26-9FAE-9EA6-6155D6A72E9A}"/>
                </a:ext>
              </a:extLst>
            </p:cNvPr>
            <p:cNvSpPr/>
            <p:nvPr/>
          </p:nvSpPr>
          <p:spPr>
            <a:xfrm flipV="1">
              <a:off x="4319927" y="5126680"/>
              <a:ext cx="110004" cy="78021"/>
            </a:xfrm>
            <a:custGeom>
              <a:avLst/>
              <a:gdLst>
                <a:gd name="connsiteX0" fmla="*/ -2698 w 165142"/>
                <a:gd name="connsiteY0" fmla="*/ 21425 h 117128"/>
                <a:gd name="connsiteX1" fmla="*/ 19971 w 165142"/>
                <a:gd name="connsiteY1" fmla="*/ -1618 h 117128"/>
                <a:gd name="connsiteX2" fmla="*/ 138836 w 165142"/>
                <a:gd name="connsiteY2" fmla="*/ -2578 h 117128"/>
                <a:gd name="connsiteX3" fmla="*/ 161879 w 165142"/>
                <a:gd name="connsiteY3" fmla="*/ 20099 h 117128"/>
                <a:gd name="connsiteX4" fmla="*/ 162442 w 165142"/>
                <a:gd name="connsiteY4" fmla="*/ 90554 h 117128"/>
                <a:gd name="connsiteX5" fmla="*/ 139773 w 165142"/>
                <a:gd name="connsiteY5" fmla="*/ 113597 h 117128"/>
                <a:gd name="connsiteX6" fmla="*/ 20909 w 165142"/>
                <a:gd name="connsiteY6" fmla="*/ 114549 h 117128"/>
                <a:gd name="connsiteX7" fmla="*/ -2134 w 165142"/>
                <a:gd name="connsiteY7" fmla="*/ 91880 h 117128"/>
                <a:gd name="connsiteX8" fmla="*/ -2698 w 165142"/>
                <a:gd name="connsiteY8" fmla="*/ 21425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2698" y="21425"/>
                  </a:moveTo>
                  <a:cubicBezTo>
                    <a:pt x="-2805" y="8852"/>
                    <a:pt x="7398" y="-1519"/>
                    <a:pt x="19971" y="-1618"/>
                  </a:cubicBezTo>
                  <a:lnTo>
                    <a:pt x="138836" y="-2578"/>
                  </a:lnTo>
                  <a:cubicBezTo>
                    <a:pt x="151409" y="-2677"/>
                    <a:pt x="161772" y="7526"/>
                    <a:pt x="161879" y="20099"/>
                  </a:cubicBezTo>
                  <a:lnTo>
                    <a:pt x="162442" y="90554"/>
                  </a:lnTo>
                  <a:cubicBezTo>
                    <a:pt x="162541" y="103127"/>
                    <a:pt x="152338" y="113498"/>
                    <a:pt x="139773" y="113597"/>
                  </a:cubicBezTo>
                  <a:lnTo>
                    <a:pt x="20909" y="114549"/>
                  </a:lnTo>
                  <a:cubicBezTo>
                    <a:pt x="8336" y="114656"/>
                    <a:pt x="-2035" y="104453"/>
                    <a:pt x="-2134" y="91880"/>
                  </a:cubicBezTo>
                  <a:lnTo>
                    <a:pt x="-2698" y="21425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FD6BD94A-697D-02BF-9FE4-36F928CF030F}"/>
                </a:ext>
              </a:extLst>
            </p:cNvPr>
            <p:cNvSpPr/>
            <p:nvPr/>
          </p:nvSpPr>
          <p:spPr>
            <a:xfrm flipV="1">
              <a:off x="5614238" y="5335606"/>
              <a:ext cx="251187" cy="78812"/>
            </a:xfrm>
            <a:custGeom>
              <a:avLst/>
              <a:gdLst>
                <a:gd name="connsiteX0" fmla="*/ -5030 w 377091"/>
                <a:gd name="connsiteY0" fmla="*/ 914 h 118315"/>
                <a:gd name="connsiteX1" fmla="*/ 371132 w 377091"/>
                <a:gd name="connsiteY1" fmla="*/ -2111 h 118315"/>
                <a:gd name="connsiteX2" fmla="*/ 372061 w 377091"/>
                <a:gd name="connsiteY2" fmla="*/ 113172 h 118315"/>
                <a:gd name="connsiteX3" fmla="*/ -4092 w 377091"/>
                <a:gd name="connsiteY3" fmla="*/ 116205 h 118315"/>
                <a:gd name="connsiteX4" fmla="*/ -5030 w 377091"/>
                <a:gd name="connsiteY4" fmla="*/ 914 h 118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7091" h="118315">
                  <a:moveTo>
                    <a:pt x="-5030" y="914"/>
                  </a:moveTo>
                  <a:lnTo>
                    <a:pt x="371132" y="-2111"/>
                  </a:lnTo>
                  <a:lnTo>
                    <a:pt x="372061" y="113172"/>
                  </a:lnTo>
                  <a:lnTo>
                    <a:pt x="-4092" y="116205"/>
                  </a:lnTo>
                  <a:lnTo>
                    <a:pt x="-5030" y="91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E9341766-F593-DDDE-1338-A25C54CD4A64}"/>
                </a:ext>
              </a:extLst>
            </p:cNvPr>
            <p:cNvSpPr/>
            <p:nvPr/>
          </p:nvSpPr>
          <p:spPr>
            <a:xfrm flipV="1">
              <a:off x="4752071" y="5428934"/>
              <a:ext cx="830225" cy="78869"/>
            </a:xfrm>
            <a:custGeom>
              <a:avLst/>
              <a:gdLst>
                <a:gd name="connsiteX0" fmla="*/ -4051 w 1246366"/>
                <a:gd name="connsiteY0" fmla="*/ 30811 h 118401"/>
                <a:gd name="connsiteX1" fmla="*/ 18618 w 1246366"/>
                <a:gd name="connsiteY1" fmla="*/ 7768 h 118401"/>
                <a:gd name="connsiteX2" fmla="*/ 1218768 w 1246366"/>
                <a:gd name="connsiteY2" fmla="*/ -1902 h 118401"/>
                <a:gd name="connsiteX3" fmla="*/ 1241804 w 1246366"/>
                <a:gd name="connsiteY3" fmla="*/ 20775 h 118401"/>
                <a:gd name="connsiteX4" fmla="*/ 1242314 w 1246366"/>
                <a:gd name="connsiteY4" fmla="*/ 83792 h 118401"/>
                <a:gd name="connsiteX5" fmla="*/ 1219645 w 1246366"/>
                <a:gd name="connsiteY5" fmla="*/ 106835 h 118401"/>
                <a:gd name="connsiteX6" fmla="*/ 19502 w 1246366"/>
                <a:gd name="connsiteY6" fmla="*/ 116497 h 118401"/>
                <a:gd name="connsiteX7" fmla="*/ -3548 w 1246366"/>
                <a:gd name="connsiteY7" fmla="*/ 93828 h 118401"/>
                <a:gd name="connsiteX8" fmla="*/ -4051 w 1246366"/>
                <a:gd name="connsiteY8" fmla="*/ 30811 h 118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6366" h="118401">
                  <a:moveTo>
                    <a:pt x="-4051" y="30811"/>
                  </a:moveTo>
                  <a:cubicBezTo>
                    <a:pt x="-4158" y="18238"/>
                    <a:pt x="6053" y="7867"/>
                    <a:pt x="18618" y="7768"/>
                  </a:cubicBezTo>
                  <a:lnTo>
                    <a:pt x="1218768" y="-1902"/>
                  </a:lnTo>
                  <a:cubicBezTo>
                    <a:pt x="1231334" y="-2001"/>
                    <a:pt x="1241704" y="8202"/>
                    <a:pt x="1241804" y="20775"/>
                  </a:cubicBezTo>
                  <a:lnTo>
                    <a:pt x="1242314" y="83792"/>
                  </a:lnTo>
                  <a:cubicBezTo>
                    <a:pt x="1242413" y="96365"/>
                    <a:pt x="1232210" y="106736"/>
                    <a:pt x="1219645" y="106835"/>
                  </a:cubicBezTo>
                  <a:lnTo>
                    <a:pt x="19502" y="116497"/>
                  </a:lnTo>
                  <a:cubicBezTo>
                    <a:pt x="6922" y="116604"/>
                    <a:pt x="-3441" y="106401"/>
                    <a:pt x="-3548" y="93828"/>
                  </a:cubicBezTo>
                  <a:lnTo>
                    <a:pt x="-4051" y="3081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F63CD203-4325-09F0-7639-668C2D48E9CE}"/>
                </a:ext>
              </a:extLst>
            </p:cNvPr>
            <p:cNvSpPr/>
            <p:nvPr/>
          </p:nvSpPr>
          <p:spPr>
            <a:xfrm flipV="1">
              <a:off x="4608359" y="5427777"/>
              <a:ext cx="109247" cy="73062"/>
            </a:xfrm>
            <a:custGeom>
              <a:avLst/>
              <a:gdLst>
                <a:gd name="connsiteX0" fmla="*/ -3190 w 164006"/>
                <a:gd name="connsiteY0" fmla="*/ 22084 h 109683"/>
                <a:gd name="connsiteX1" fmla="*/ 19494 w 164006"/>
                <a:gd name="connsiteY1" fmla="*/ -966 h 109683"/>
                <a:gd name="connsiteX2" fmla="*/ 137261 w 164006"/>
                <a:gd name="connsiteY2" fmla="*/ -1911 h 109683"/>
                <a:gd name="connsiteX3" fmla="*/ 160312 w 164006"/>
                <a:gd name="connsiteY3" fmla="*/ 20766 h 109683"/>
                <a:gd name="connsiteX4" fmla="*/ 160815 w 164006"/>
                <a:gd name="connsiteY4" fmla="*/ 83783 h 109683"/>
                <a:gd name="connsiteX5" fmla="*/ 138138 w 164006"/>
                <a:gd name="connsiteY5" fmla="*/ 106826 h 109683"/>
                <a:gd name="connsiteX6" fmla="*/ 20363 w 164006"/>
                <a:gd name="connsiteY6" fmla="*/ 107771 h 109683"/>
                <a:gd name="connsiteX7" fmla="*/ -2672 w 164006"/>
                <a:gd name="connsiteY7" fmla="*/ 85102 h 109683"/>
                <a:gd name="connsiteX8" fmla="*/ -3190 w 164006"/>
                <a:gd name="connsiteY8" fmla="*/ 22084 h 10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006" h="109683">
                  <a:moveTo>
                    <a:pt x="-3190" y="22084"/>
                  </a:moveTo>
                  <a:cubicBezTo>
                    <a:pt x="-3282" y="9511"/>
                    <a:pt x="6921" y="-860"/>
                    <a:pt x="19494" y="-966"/>
                  </a:cubicBezTo>
                  <a:lnTo>
                    <a:pt x="137261" y="-1911"/>
                  </a:lnTo>
                  <a:cubicBezTo>
                    <a:pt x="149834" y="-2010"/>
                    <a:pt x="160205" y="8193"/>
                    <a:pt x="160312" y="20766"/>
                  </a:cubicBezTo>
                  <a:lnTo>
                    <a:pt x="160815" y="83783"/>
                  </a:lnTo>
                  <a:cubicBezTo>
                    <a:pt x="160922" y="96356"/>
                    <a:pt x="150718" y="106727"/>
                    <a:pt x="138138" y="106826"/>
                  </a:cubicBezTo>
                  <a:lnTo>
                    <a:pt x="20363" y="107771"/>
                  </a:lnTo>
                  <a:cubicBezTo>
                    <a:pt x="7798" y="107878"/>
                    <a:pt x="-2573" y="97675"/>
                    <a:pt x="-2672" y="85102"/>
                  </a:cubicBezTo>
                  <a:lnTo>
                    <a:pt x="-3190" y="2208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67B4336-41DB-7B29-3B0B-E8795836EE16}"/>
                </a:ext>
              </a:extLst>
            </p:cNvPr>
            <p:cNvSpPr/>
            <p:nvPr/>
          </p:nvSpPr>
          <p:spPr>
            <a:xfrm flipV="1">
              <a:off x="4319439" y="5426437"/>
              <a:ext cx="109963" cy="73067"/>
            </a:xfrm>
            <a:custGeom>
              <a:avLst/>
              <a:gdLst>
                <a:gd name="connsiteX0" fmla="*/ -2698 w 165081"/>
                <a:gd name="connsiteY0" fmla="*/ 22089 h 109691"/>
                <a:gd name="connsiteX1" fmla="*/ 19972 w 165081"/>
                <a:gd name="connsiteY1" fmla="*/ -962 h 109691"/>
                <a:gd name="connsiteX2" fmla="*/ 138836 w 165081"/>
                <a:gd name="connsiteY2" fmla="*/ -1914 h 109691"/>
                <a:gd name="connsiteX3" fmla="*/ 161872 w 165081"/>
                <a:gd name="connsiteY3" fmla="*/ 20755 h 109691"/>
                <a:gd name="connsiteX4" fmla="*/ 162382 w 165081"/>
                <a:gd name="connsiteY4" fmla="*/ 83780 h 109691"/>
                <a:gd name="connsiteX5" fmla="*/ 139705 w 165081"/>
                <a:gd name="connsiteY5" fmla="*/ 106824 h 109691"/>
                <a:gd name="connsiteX6" fmla="*/ 20848 w 165081"/>
                <a:gd name="connsiteY6" fmla="*/ 107776 h 109691"/>
                <a:gd name="connsiteX7" fmla="*/ -2194 w 165081"/>
                <a:gd name="connsiteY7" fmla="*/ 85107 h 109691"/>
                <a:gd name="connsiteX8" fmla="*/ -2698 w 165081"/>
                <a:gd name="connsiteY8" fmla="*/ 22089 h 10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1" h="109691">
                  <a:moveTo>
                    <a:pt x="-2698" y="22089"/>
                  </a:moveTo>
                  <a:cubicBezTo>
                    <a:pt x="-2804" y="9508"/>
                    <a:pt x="7399" y="-862"/>
                    <a:pt x="19972" y="-962"/>
                  </a:cubicBezTo>
                  <a:lnTo>
                    <a:pt x="138836" y="-1914"/>
                  </a:lnTo>
                  <a:cubicBezTo>
                    <a:pt x="151402" y="-2021"/>
                    <a:pt x="161780" y="8182"/>
                    <a:pt x="161872" y="20755"/>
                  </a:cubicBezTo>
                  <a:lnTo>
                    <a:pt x="162382" y="83780"/>
                  </a:lnTo>
                  <a:cubicBezTo>
                    <a:pt x="162481" y="96353"/>
                    <a:pt x="152278" y="106717"/>
                    <a:pt x="139705" y="106824"/>
                  </a:cubicBezTo>
                  <a:lnTo>
                    <a:pt x="20848" y="107776"/>
                  </a:lnTo>
                  <a:cubicBezTo>
                    <a:pt x="8275" y="107875"/>
                    <a:pt x="-2096" y="97672"/>
                    <a:pt x="-2194" y="85107"/>
                  </a:cubicBezTo>
                  <a:lnTo>
                    <a:pt x="-2698" y="2208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A01320EA-BB2D-10CB-AC29-AB543C1453F2}"/>
                </a:ext>
              </a:extLst>
            </p:cNvPr>
            <p:cNvSpPr/>
            <p:nvPr/>
          </p:nvSpPr>
          <p:spPr>
            <a:xfrm flipV="1">
              <a:off x="4464764" y="5426615"/>
              <a:ext cx="109968" cy="73072"/>
            </a:xfrm>
            <a:custGeom>
              <a:avLst/>
              <a:gdLst>
                <a:gd name="connsiteX0" fmla="*/ -2946 w 165088"/>
                <a:gd name="connsiteY0" fmla="*/ 22082 h 109699"/>
                <a:gd name="connsiteX1" fmla="*/ 19731 w 165088"/>
                <a:gd name="connsiteY1" fmla="*/ -953 h 109699"/>
                <a:gd name="connsiteX2" fmla="*/ 138596 w 165088"/>
                <a:gd name="connsiteY2" fmla="*/ -1914 h 109699"/>
                <a:gd name="connsiteX3" fmla="*/ 161631 w 165088"/>
                <a:gd name="connsiteY3" fmla="*/ 20764 h 109699"/>
                <a:gd name="connsiteX4" fmla="*/ 162141 w 165088"/>
                <a:gd name="connsiteY4" fmla="*/ 83781 h 109699"/>
                <a:gd name="connsiteX5" fmla="*/ 139465 w 165088"/>
                <a:gd name="connsiteY5" fmla="*/ 106824 h 109699"/>
                <a:gd name="connsiteX6" fmla="*/ 20608 w 165088"/>
                <a:gd name="connsiteY6" fmla="*/ 107784 h 109699"/>
                <a:gd name="connsiteX7" fmla="*/ -2435 w 165088"/>
                <a:gd name="connsiteY7" fmla="*/ 85107 h 109699"/>
                <a:gd name="connsiteX8" fmla="*/ -2946 w 165088"/>
                <a:gd name="connsiteY8" fmla="*/ 22082 h 1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8" h="109699">
                  <a:moveTo>
                    <a:pt x="-2946" y="22082"/>
                  </a:moveTo>
                  <a:cubicBezTo>
                    <a:pt x="-3045" y="9509"/>
                    <a:pt x="7166" y="-855"/>
                    <a:pt x="19731" y="-953"/>
                  </a:cubicBezTo>
                  <a:lnTo>
                    <a:pt x="138596" y="-1914"/>
                  </a:lnTo>
                  <a:cubicBezTo>
                    <a:pt x="151161" y="-2020"/>
                    <a:pt x="161532" y="8191"/>
                    <a:pt x="161631" y="20764"/>
                  </a:cubicBezTo>
                  <a:lnTo>
                    <a:pt x="162141" y="83781"/>
                  </a:lnTo>
                  <a:cubicBezTo>
                    <a:pt x="162241" y="96346"/>
                    <a:pt x="152038" y="106717"/>
                    <a:pt x="139465" y="106824"/>
                  </a:cubicBezTo>
                  <a:lnTo>
                    <a:pt x="20608" y="107784"/>
                  </a:lnTo>
                  <a:cubicBezTo>
                    <a:pt x="8035" y="107883"/>
                    <a:pt x="-2336" y="97680"/>
                    <a:pt x="-2435" y="85107"/>
                  </a:cubicBezTo>
                  <a:lnTo>
                    <a:pt x="-2946" y="2208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35388CC2-C060-E81D-6A28-5C3A8982517D}"/>
                </a:ext>
              </a:extLst>
            </p:cNvPr>
            <p:cNvSpPr/>
            <p:nvPr/>
          </p:nvSpPr>
          <p:spPr>
            <a:xfrm flipV="1">
              <a:off x="5613486" y="5436360"/>
              <a:ext cx="109968" cy="73077"/>
            </a:xfrm>
            <a:custGeom>
              <a:avLst/>
              <a:gdLst>
                <a:gd name="connsiteX0" fmla="*/ -4907 w 165088"/>
                <a:gd name="connsiteY0" fmla="*/ 22119 h 109706"/>
                <a:gd name="connsiteX1" fmla="*/ 17770 w 165088"/>
                <a:gd name="connsiteY1" fmla="*/ -932 h 109706"/>
                <a:gd name="connsiteX2" fmla="*/ 136627 w 165088"/>
                <a:gd name="connsiteY2" fmla="*/ -1892 h 109706"/>
                <a:gd name="connsiteX3" fmla="*/ 159670 w 165088"/>
                <a:gd name="connsiteY3" fmla="*/ 20793 h 109706"/>
                <a:gd name="connsiteX4" fmla="*/ 160180 w 165088"/>
                <a:gd name="connsiteY4" fmla="*/ 83810 h 109706"/>
                <a:gd name="connsiteX5" fmla="*/ 137496 w 165088"/>
                <a:gd name="connsiteY5" fmla="*/ 106853 h 109706"/>
                <a:gd name="connsiteX6" fmla="*/ 18646 w 165088"/>
                <a:gd name="connsiteY6" fmla="*/ 107813 h 109706"/>
                <a:gd name="connsiteX7" fmla="*/ -4404 w 165088"/>
                <a:gd name="connsiteY7" fmla="*/ 85136 h 109706"/>
                <a:gd name="connsiteX8" fmla="*/ -4907 w 165088"/>
                <a:gd name="connsiteY8" fmla="*/ 22119 h 109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8" h="109706">
                  <a:moveTo>
                    <a:pt x="-4907" y="22119"/>
                  </a:moveTo>
                  <a:cubicBezTo>
                    <a:pt x="-5013" y="9546"/>
                    <a:pt x="5197" y="-825"/>
                    <a:pt x="17770" y="-932"/>
                  </a:cubicBezTo>
                  <a:lnTo>
                    <a:pt x="136627" y="-1892"/>
                  </a:lnTo>
                  <a:cubicBezTo>
                    <a:pt x="149200" y="-1991"/>
                    <a:pt x="159571" y="8220"/>
                    <a:pt x="159670" y="20793"/>
                  </a:cubicBezTo>
                  <a:lnTo>
                    <a:pt x="160180" y="83810"/>
                  </a:lnTo>
                  <a:cubicBezTo>
                    <a:pt x="160280" y="96383"/>
                    <a:pt x="150076" y="106746"/>
                    <a:pt x="137496" y="106853"/>
                  </a:cubicBezTo>
                  <a:lnTo>
                    <a:pt x="18646" y="107813"/>
                  </a:lnTo>
                  <a:cubicBezTo>
                    <a:pt x="6066" y="107912"/>
                    <a:pt x="-4297" y="97701"/>
                    <a:pt x="-4404" y="85136"/>
                  </a:cubicBezTo>
                  <a:lnTo>
                    <a:pt x="-4907" y="2211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3F0B9666-0B84-F3D4-9285-5B6EF4D6FF6D}"/>
                </a:ext>
              </a:extLst>
            </p:cNvPr>
            <p:cNvSpPr/>
            <p:nvPr/>
          </p:nvSpPr>
          <p:spPr>
            <a:xfrm flipV="1">
              <a:off x="5758817" y="5436548"/>
              <a:ext cx="109968" cy="73067"/>
            </a:xfrm>
            <a:custGeom>
              <a:avLst/>
              <a:gdLst>
                <a:gd name="connsiteX0" fmla="*/ -5155 w 165088"/>
                <a:gd name="connsiteY0" fmla="*/ 22111 h 109691"/>
                <a:gd name="connsiteX1" fmla="*/ 17514 w 165088"/>
                <a:gd name="connsiteY1" fmla="*/ -939 h 109691"/>
                <a:gd name="connsiteX2" fmla="*/ 136378 w 165088"/>
                <a:gd name="connsiteY2" fmla="*/ -1892 h 109691"/>
                <a:gd name="connsiteX3" fmla="*/ 159414 w 165088"/>
                <a:gd name="connsiteY3" fmla="*/ 20786 h 109691"/>
                <a:gd name="connsiteX4" fmla="*/ 159932 w 165088"/>
                <a:gd name="connsiteY4" fmla="*/ 83803 h 109691"/>
                <a:gd name="connsiteX5" fmla="*/ 137247 w 165088"/>
                <a:gd name="connsiteY5" fmla="*/ 106846 h 109691"/>
                <a:gd name="connsiteX6" fmla="*/ 18398 w 165088"/>
                <a:gd name="connsiteY6" fmla="*/ 107798 h 109691"/>
                <a:gd name="connsiteX7" fmla="*/ -4653 w 165088"/>
                <a:gd name="connsiteY7" fmla="*/ 85129 h 109691"/>
                <a:gd name="connsiteX8" fmla="*/ -5155 w 165088"/>
                <a:gd name="connsiteY8" fmla="*/ 22111 h 10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8" h="109691">
                  <a:moveTo>
                    <a:pt x="-5155" y="22111"/>
                  </a:moveTo>
                  <a:cubicBezTo>
                    <a:pt x="-5262" y="9538"/>
                    <a:pt x="4949" y="-832"/>
                    <a:pt x="17514" y="-939"/>
                  </a:cubicBezTo>
                  <a:lnTo>
                    <a:pt x="136378" y="-1892"/>
                  </a:lnTo>
                  <a:cubicBezTo>
                    <a:pt x="148944" y="-1991"/>
                    <a:pt x="159322" y="8213"/>
                    <a:pt x="159414" y="20786"/>
                  </a:cubicBezTo>
                  <a:lnTo>
                    <a:pt x="159932" y="83803"/>
                  </a:lnTo>
                  <a:cubicBezTo>
                    <a:pt x="160024" y="96376"/>
                    <a:pt x="149828" y="106747"/>
                    <a:pt x="137247" y="106846"/>
                  </a:cubicBezTo>
                  <a:lnTo>
                    <a:pt x="18398" y="107798"/>
                  </a:lnTo>
                  <a:cubicBezTo>
                    <a:pt x="5818" y="107905"/>
                    <a:pt x="-4546" y="97702"/>
                    <a:pt x="-4653" y="85129"/>
                  </a:cubicBezTo>
                  <a:lnTo>
                    <a:pt x="-5155" y="2211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A5628FAE-E7D8-6A17-ACCF-F3485F1AC9F1}"/>
                </a:ext>
              </a:extLst>
            </p:cNvPr>
            <p:cNvSpPr/>
            <p:nvPr/>
          </p:nvSpPr>
          <p:spPr>
            <a:xfrm flipV="1">
              <a:off x="4405205" y="5225389"/>
              <a:ext cx="109999" cy="77178"/>
            </a:xfrm>
            <a:custGeom>
              <a:avLst/>
              <a:gdLst>
                <a:gd name="connsiteX0" fmla="*/ -2844 w 165134"/>
                <a:gd name="connsiteY0" fmla="*/ 21645 h 115863"/>
                <a:gd name="connsiteX1" fmla="*/ 19833 w 165134"/>
                <a:gd name="connsiteY1" fmla="*/ -1406 h 115863"/>
                <a:gd name="connsiteX2" fmla="*/ 138682 w 165134"/>
                <a:gd name="connsiteY2" fmla="*/ -2358 h 115863"/>
                <a:gd name="connsiteX3" fmla="*/ 161733 w 165134"/>
                <a:gd name="connsiteY3" fmla="*/ 20319 h 115863"/>
                <a:gd name="connsiteX4" fmla="*/ 162289 w 165134"/>
                <a:gd name="connsiteY4" fmla="*/ 89501 h 115863"/>
                <a:gd name="connsiteX5" fmla="*/ 139612 w 165134"/>
                <a:gd name="connsiteY5" fmla="*/ 112551 h 115863"/>
                <a:gd name="connsiteX6" fmla="*/ 20755 w 165134"/>
                <a:gd name="connsiteY6" fmla="*/ 113504 h 115863"/>
                <a:gd name="connsiteX7" fmla="*/ -2295 w 165134"/>
                <a:gd name="connsiteY7" fmla="*/ 90827 h 115863"/>
                <a:gd name="connsiteX8" fmla="*/ -2844 w 165134"/>
                <a:gd name="connsiteY8" fmla="*/ 21645 h 11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5863">
                  <a:moveTo>
                    <a:pt x="-2844" y="21645"/>
                  </a:moveTo>
                  <a:cubicBezTo>
                    <a:pt x="-2951" y="9072"/>
                    <a:pt x="7252" y="-1299"/>
                    <a:pt x="19833" y="-1406"/>
                  </a:cubicBezTo>
                  <a:lnTo>
                    <a:pt x="138682" y="-2358"/>
                  </a:lnTo>
                  <a:cubicBezTo>
                    <a:pt x="151263" y="-2457"/>
                    <a:pt x="161626" y="7746"/>
                    <a:pt x="161733" y="20319"/>
                  </a:cubicBezTo>
                  <a:lnTo>
                    <a:pt x="162289" y="89501"/>
                  </a:lnTo>
                  <a:cubicBezTo>
                    <a:pt x="162388" y="102074"/>
                    <a:pt x="152185" y="112445"/>
                    <a:pt x="139612" y="112551"/>
                  </a:cubicBezTo>
                  <a:lnTo>
                    <a:pt x="20755" y="113504"/>
                  </a:lnTo>
                  <a:cubicBezTo>
                    <a:pt x="8182" y="113603"/>
                    <a:pt x="-2189" y="103400"/>
                    <a:pt x="-2295" y="90827"/>
                  </a:cubicBezTo>
                  <a:lnTo>
                    <a:pt x="-2844" y="21645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751A5305-2945-6921-3051-5B6029384866}"/>
                </a:ext>
              </a:extLst>
            </p:cNvPr>
            <p:cNvSpPr/>
            <p:nvPr/>
          </p:nvSpPr>
          <p:spPr>
            <a:xfrm flipV="1">
              <a:off x="5672279" y="5137568"/>
              <a:ext cx="110004" cy="77986"/>
            </a:xfrm>
            <a:custGeom>
              <a:avLst/>
              <a:gdLst>
                <a:gd name="connsiteX0" fmla="*/ -5007 w 165142"/>
                <a:gd name="connsiteY0" fmla="*/ 21449 h 117075"/>
                <a:gd name="connsiteX1" fmla="*/ 17670 w 165142"/>
                <a:gd name="connsiteY1" fmla="*/ -1594 h 117075"/>
                <a:gd name="connsiteX2" fmla="*/ 136519 w 165142"/>
                <a:gd name="connsiteY2" fmla="*/ -2554 h 117075"/>
                <a:gd name="connsiteX3" fmla="*/ 159569 w 165142"/>
                <a:gd name="connsiteY3" fmla="*/ 20131 h 117075"/>
                <a:gd name="connsiteX4" fmla="*/ 160133 w 165142"/>
                <a:gd name="connsiteY4" fmla="*/ 90517 h 117075"/>
                <a:gd name="connsiteX5" fmla="*/ 137456 w 165142"/>
                <a:gd name="connsiteY5" fmla="*/ 113560 h 117075"/>
                <a:gd name="connsiteX6" fmla="*/ 18607 w 165142"/>
                <a:gd name="connsiteY6" fmla="*/ 114520 h 117075"/>
                <a:gd name="connsiteX7" fmla="*/ -4443 w 165142"/>
                <a:gd name="connsiteY7" fmla="*/ 91843 h 117075"/>
                <a:gd name="connsiteX8" fmla="*/ -5007 w 165142"/>
                <a:gd name="connsiteY8" fmla="*/ 21449 h 117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075">
                  <a:moveTo>
                    <a:pt x="-5007" y="21449"/>
                  </a:moveTo>
                  <a:cubicBezTo>
                    <a:pt x="-5114" y="8876"/>
                    <a:pt x="5089" y="-1487"/>
                    <a:pt x="17670" y="-1594"/>
                  </a:cubicBezTo>
                  <a:lnTo>
                    <a:pt x="136519" y="-2554"/>
                  </a:lnTo>
                  <a:cubicBezTo>
                    <a:pt x="149100" y="-2653"/>
                    <a:pt x="159463" y="7550"/>
                    <a:pt x="159569" y="20131"/>
                  </a:cubicBezTo>
                  <a:lnTo>
                    <a:pt x="160133" y="90517"/>
                  </a:lnTo>
                  <a:cubicBezTo>
                    <a:pt x="160232" y="103090"/>
                    <a:pt x="150037" y="113461"/>
                    <a:pt x="137456" y="113560"/>
                  </a:cubicBezTo>
                  <a:lnTo>
                    <a:pt x="18607" y="114520"/>
                  </a:lnTo>
                  <a:cubicBezTo>
                    <a:pt x="6026" y="114619"/>
                    <a:pt x="-4337" y="104416"/>
                    <a:pt x="-4443" y="91843"/>
                  </a:cubicBezTo>
                  <a:lnTo>
                    <a:pt x="-5007" y="2144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7E14E306-60AA-8881-4FD3-58101E076E0B}"/>
                </a:ext>
              </a:extLst>
            </p:cNvPr>
            <p:cNvSpPr/>
            <p:nvPr/>
          </p:nvSpPr>
          <p:spPr>
            <a:xfrm flipV="1">
              <a:off x="5758309" y="5193706"/>
              <a:ext cx="110059" cy="63123"/>
            </a:xfrm>
            <a:custGeom>
              <a:avLst/>
              <a:gdLst>
                <a:gd name="connsiteX0" fmla="*/ -5154 w 165225"/>
                <a:gd name="connsiteY0" fmla="*/ 21558 h 94763"/>
                <a:gd name="connsiteX1" fmla="*/ 17523 w 165225"/>
                <a:gd name="connsiteY1" fmla="*/ -1485 h 94763"/>
                <a:gd name="connsiteX2" fmla="*/ 136638 w 165225"/>
                <a:gd name="connsiteY2" fmla="*/ -2445 h 94763"/>
                <a:gd name="connsiteX3" fmla="*/ 159681 w 165225"/>
                <a:gd name="connsiteY3" fmla="*/ 20232 h 94763"/>
                <a:gd name="connsiteX4" fmla="*/ 160070 w 165225"/>
                <a:gd name="connsiteY4" fmla="*/ 68314 h 94763"/>
                <a:gd name="connsiteX5" fmla="*/ 137385 w 165225"/>
                <a:gd name="connsiteY5" fmla="*/ 91358 h 94763"/>
                <a:gd name="connsiteX6" fmla="*/ 18269 w 165225"/>
                <a:gd name="connsiteY6" fmla="*/ 92317 h 94763"/>
                <a:gd name="connsiteX7" fmla="*/ -4766 w 165225"/>
                <a:gd name="connsiteY7" fmla="*/ 69648 h 94763"/>
                <a:gd name="connsiteX8" fmla="*/ -5154 w 165225"/>
                <a:gd name="connsiteY8" fmla="*/ 21558 h 9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225" h="94763">
                  <a:moveTo>
                    <a:pt x="-5154" y="21558"/>
                  </a:moveTo>
                  <a:cubicBezTo>
                    <a:pt x="-5261" y="8985"/>
                    <a:pt x="4942" y="-1386"/>
                    <a:pt x="17523" y="-1485"/>
                  </a:cubicBezTo>
                  <a:lnTo>
                    <a:pt x="136638" y="-2445"/>
                  </a:lnTo>
                  <a:cubicBezTo>
                    <a:pt x="149204" y="-2552"/>
                    <a:pt x="159575" y="7659"/>
                    <a:pt x="159681" y="20232"/>
                  </a:cubicBezTo>
                  <a:lnTo>
                    <a:pt x="160070" y="68314"/>
                  </a:lnTo>
                  <a:cubicBezTo>
                    <a:pt x="160161" y="80887"/>
                    <a:pt x="149966" y="91258"/>
                    <a:pt x="137385" y="91358"/>
                  </a:cubicBezTo>
                  <a:lnTo>
                    <a:pt x="18269" y="92317"/>
                  </a:lnTo>
                  <a:cubicBezTo>
                    <a:pt x="5704" y="92417"/>
                    <a:pt x="-4667" y="82214"/>
                    <a:pt x="-4766" y="69648"/>
                  </a:cubicBezTo>
                  <a:lnTo>
                    <a:pt x="-5154" y="2155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7BA48884-202A-F0A8-C60D-F8D306CC72C5}"/>
                </a:ext>
              </a:extLst>
            </p:cNvPr>
            <p:cNvSpPr/>
            <p:nvPr/>
          </p:nvSpPr>
          <p:spPr>
            <a:xfrm flipV="1">
              <a:off x="4463562" y="4939560"/>
              <a:ext cx="109968" cy="73072"/>
            </a:xfrm>
            <a:custGeom>
              <a:avLst/>
              <a:gdLst>
                <a:gd name="connsiteX0" fmla="*/ -2944 w 165088"/>
                <a:gd name="connsiteY0" fmla="*/ 21002 h 109698"/>
                <a:gd name="connsiteX1" fmla="*/ 19733 w 165088"/>
                <a:gd name="connsiteY1" fmla="*/ -2041 h 109698"/>
                <a:gd name="connsiteX2" fmla="*/ 138590 w 165088"/>
                <a:gd name="connsiteY2" fmla="*/ -3001 h 109698"/>
                <a:gd name="connsiteX3" fmla="*/ 161641 w 165088"/>
                <a:gd name="connsiteY3" fmla="*/ 19676 h 109698"/>
                <a:gd name="connsiteX4" fmla="*/ 162144 w 165088"/>
                <a:gd name="connsiteY4" fmla="*/ 82701 h 109698"/>
                <a:gd name="connsiteX5" fmla="*/ 139474 w 165088"/>
                <a:gd name="connsiteY5" fmla="*/ 105744 h 109698"/>
                <a:gd name="connsiteX6" fmla="*/ 20610 w 165088"/>
                <a:gd name="connsiteY6" fmla="*/ 106696 h 109698"/>
                <a:gd name="connsiteX7" fmla="*/ -2426 w 165088"/>
                <a:gd name="connsiteY7" fmla="*/ 84019 h 109698"/>
                <a:gd name="connsiteX8" fmla="*/ -2944 w 165088"/>
                <a:gd name="connsiteY8" fmla="*/ 21002 h 109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8" h="109698">
                  <a:moveTo>
                    <a:pt x="-2944" y="21002"/>
                  </a:moveTo>
                  <a:cubicBezTo>
                    <a:pt x="-3043" y="8429"/>
                    <a:pt x="7160" y="-1942"/>
                    <a:pt x="19733" y="-2041"/>
                  </a:cubicBezTo>
                  <a:lnTo>
                    <a:pt x="138590" y="-3001"/>
                  </a:lnTo>
                  <a:cubicBezTo>
                    <a:pt x="151171" y="-3100"/>
                    <a:pt x="161534" y="7103"/>
                    <a:pt x="161641" y="19676"/>
                  </a:cubicBezTo>
                  <a:lnTo>
                    <a:pt x="162144" y="82701"/>
                  </a:lnTo>
                  <a:cubicBezTo>
                    <a:pt x="162242" y="95266"/>
                    <a:pt x="152039" y="105637"/>
                    <a:pt x="139474" y="105744"/>
                  </a:cubicBezTo>
                  <a:lnTo>
                    <a:pt x="20610" y="106696"/>
                  </a:lnTo>
                  <a:cubicBezTo>
                    <a:pt x="8044" y="106795"/>
                    <a:pt x="-2334" y="96592"/>
                    <a:pt x="-2426" y="84019"/>
                  </a:cubicBezTo>
                  <a:lnTo>
                    <a:pt x="-2944" y="2100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25606030-1792-E787-BC76-20DC9FBADACB}"/>
                </a:ext>
              </a:extLst>
            </p:cNvPr>
            <p:cNvSpPr/>
            <p:nvPr/>
          </p:nvSpPr>
          <p:spPr>
            <a:xfrm flipV="1">
              <a:off x="5039758" y="4942382"/>
              <a:ext cx="109963" cy="73072"/>
            </a:xfrm>
            <a:custGeom>
              <a:avLst/>
              <a:gdLst>
                <a:gd name="connsiteX0" fmla="*/ -3927 w 165081"/>
                <a:gd name="connsiteY0" fmla="*/ 21008 h 109699"/>
                <a:gd name="connsiteX1" fmla="*/ 18742 w 165081"/>
                <a:gd name="connsiteY1" fmla="*/ -2035 h 109699"/>
                <a:gd name="connsiteX2" fmla="*/ 137599 w 165081"/>
                <a:gd name="connsiteY2" fmla="*/ -2995 h 109699"/>
                <a:gd name="connsiteX3" fmla="*/ 160642 w 165081"/>
                <a:gd name="connsiteY3" fmla="*/ 19682 h 109699"/>
                <a:gd name="connsiteX4" fmla="*/ 161152 w 165081"/>
                <a:gd name="connsiteY4" fmla="*/ 82700 h 109699"/>
                <a:gd name="connsiteX5" fmla="*/ 138475 w 165081"/>
                <a:gd name="connsiteY5" fmla="*/ 105742 h 109699"/>
                <a:gd name="connsiteX6" fmla="*/ 19626 w 165081"/>
                <a:gd name="connsiteY6" fmla="*/ 106703 h 109699"/>
                <a:gd name="connsiteX7" fmla="*/ -3424 w 165081"/>
                <a:gd name="connsiteY7" fmla="*/ 84025 h 109699"/>
                <a:gd name="connsiteX8" fmla="*/ -3927 w 165081"/>
                <a:gd name="connsiteY8" fmla="*/ 21008 h 1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1" h="109699">
                  <a:moveTo>
                    <a:pt x="-3927" y="21008"/>
                  </a:moveTo>
                  <a:cubicBezTo>
                    <a:pt x="-4034" y="8435"/>
                    <a:pt x="6169" y="-1928"/>
                    <a:pt x="18742" y="-2035"/>
                  </a:cubicBezTo>
                  <a:lnTo>
                    <a:pt x="137599" y="-2995"/>
                  </a:lnTo>
                  <a:cubicBezTo>
                    <a:pt x="150172" y="-3094"/>
                    <a:pt x="160543" y="7109"/>
                    <a:pt x="160642" y="19682"/>
                  </a:cubicBezTo>
                  <a:lnTo>
                    <a:pt x="161152" y="82700"/>
                  </a:lnTo>
                  <a:cubicBezTo>
                    <a:pt x="161251" y="95273"/>
                    <a:pt x="151056" y="105643"/>
                    <a:pt x="138475" y="105742"/>
                  </a:cubicBezTo>
                  <a:lnTo>
                    <a:pt x="19626" y="106703"/>
                  </a:lnTo>
                  <a:cubicBezTo>
                    <a:pt x="7045" y="106809"/>
                    <a:pt x="-3325" y="96598"/>
                    <a:pt x="-3424" y="84025"/>
                  </a:cubicBezTo>
                  <a:lnTo>
                    <a:pt x="-3927" y="2100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DA3B9B1B-6354-DEE6-22CF-93B959289B29}"/>
                </a:ext>
              </a:extLst>
            </p:cNvPr>
            <p:cNvSpPr/>
            <p:nvPr/>
          </p:nvSpPr>
          <p:spPr>
            <a:xfrm flipV="1">
              <a:off x="5617811" y="4948829"/>
              <a:ext cx="109973" cy="73072"/>
            </a:xfrm>
            <a:custGeom>
              <a:avLst/>
              <a:gdLst>
                <a:gd name="connsiteX0" fmla="*/ -4915 w 165096"/>
                <a:gd name="connsiteY0" fmla="*/ 21022 h 109699"/>
                <a:gd name="connsiteX1" fmla="*/ 17763 w 165096"/>
                <a:gd name="connsiteY1" fmla="*/ -2020 h 109699"/>
                <a:gd name="connsiteX2" fmla="*/ 136627 w 165096"/>
                <a:gd name="connsiteY2" fmla="*/ -2981 h 109699"/>
                <a:gd name="connsiteX3" fmla="*/ 159662 w 165096"/>
                <a:gd name="connsiteY3" fmla="*/ 19697 h 109699"/>
                <a:gd name="connsiteX4" fmla="*/ 160180 w 165096"/>
                <a:gd name="connsiteY4" fmla="*/ 82714 h 109699"/>
                <a:gd name="connsiteX5" fmla="*/ 137496 w 165096"/>
                <a:gd name="connsiteY5" fmla="*/ 105757 h 109699"/>
                <a:gd name="connsiteX6" fmla="*/ 18639 w 165096"/>
                <a:gd name="connsiteY6" fmla="*/ 106717 h 109699"/>
                <a:gd name="connsiteX7" fmla="*/ -4404 w 165096"/>
                <a:gd name="connsiteY7" fmla="*/ 84040 h 109699"/>
                <a:gd name="connsiteX8" fmla="*/ -4915 w 165096"/>
                <a:gd name="connsiteY8" fmla="*/ 21022 h 1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96" h="109699">
                  <a:moveTo>
                    <a:pt x="-4915" y="21022"/>
                  </a:moveTo>
                  <a:cubicBezTo>
                    <a:pt x="-5014" y="8449"/>
                    <a:pt x="5197" y="-1921"/>
                    <a:pt x="17763" y="-2020"/>
                  </a:cubicBezTo>
                  <a:lnTo>
                    <a:pt x="136627" y="-2981"/>
                  </a:lnTo>
                  <a:cubicBezTo>
                    <a:pt x="149193" y="-3080"/>
                    <a:pt x="159563" y="7124"/>
                    <a:pt x="159662" y="19697"/>
                  </a:cubicBezTo>
                  <a:lnTo>
                    <a:pt x="160180" y="82714"/>
                  </a:lnTo>
                  <a:cubicBezTo>
                    <a:pt x="160272" y="95287"/>
                    <a:pt x="150069" y="105658"/>
                    <a:pt x="137496" y="105757"/>
                  </a:cubicBezTo>
                  <a:lnTo>
                    <a:pt x="18639" y="106717"/>
                  </a:lnTo>
                  <a:cubicBezTo>
                    <a:pt x="6066" y="106824"/>
                    <a:pt x="-4297" y="96613"/>
                    <a:pt x="-4404" y="84040"/>
                  </a:cubicBezTo>
                  <a:lnTo>
                    <a:pt x="-4915" y="2102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79672C04-4F7F-B195-5FE9-13907A993655}"/>
                </a:ext>
              </a:extLst>
            </p:cNvPr>
            <p:cNvSpPr/>
            <p:nvPr/>
          </p:nvSpPr>
          <p:spPr>
            <a:xfrm flipV="1">
              <a:off x="4420844" y="5281564"/>
              <a:ext cx="460414" cy="273408"/>
            </a:xfrm>
            <a:custGeom>
              <a:avLst/>
              <a:gdLst>
                <a:gd name="connsiteX0" fmla="*/ 488716 w 691192"/>
                <a:gd name="connsiteY0" fmla="*/ -2015 h 410451"/>
                <a:gd name="connsiteX1" fmla="*/ 367969 w 691192"/>
                <a:gd name="connsiteY1" fmla="*/ -1047 h 410451"/>
                <a:gd name="connsiteX2" fmla="*/ 369508 w 691192"/>
                <a:gd name="connsiteY2" fmla="*/ -689 h 410451"/>
                <a:gd name="connsiteX3" fmla="*/ 415061 w 691192"/>
                <a:gd name="connsiteY3" fmla="*/ 79283 h 410451"/>
                <a:gd name="connsiteX4" fmla="*/ 418787 w 691192"/>
                <a:gd name="connsiteY4" fmla="*/ 79253 h 410451"/>
                <a:gd name="connsiteX5" fmla="*/ 418970 w 691192"/>
                <a:gd name="connsiteY5" fmla="*/ 79253 h 410451"/>
                <a:gd name="connsiteX6" fmla="*/ 441837 w 691192"/>
                <a:gd name="connsiteY6" fmla="*/ 101930 h 410451"/>
                <a:gd name="connsiteX7" fmla="*/ 441982 w 691192"/>
                <a:gd name="connsiteY7" fmla="*/ 119959 h 410451"/>
                <a:gd name="connsiteX8" fmla="*/ 525436 w 691192"/>
                <a:gd name="connsiteY8" fmla="*/ 221640 h 410451"/>
                <a:gd name="connsiteX9" fmla="*/ 633701 w 691192"/>
                <a:gd name="connsiteY9" fmla="*/ 220764 h 410451"/>
                <a:gd name="connsiteX10" fmla="*/ 633892 w 691192"/>
                <a:gd name="connsiteY10" fmla="*/ 220764 h 410451"/>
                <a:gd name="connsiteX11" fmla="*/ 656752 w 691192"/>
                <a:gd name="connsiteY11" fmla="*/ 243441 h 410451"/>
                <a:gd name="connsiteX12" fmla="*/ 657209 w 691192"/>
                <a:gd name="connsiteY12" fmla="*/ 300743 h 410451"/>
                <a:gd name="connsiteX13" fmla="*/ 675604 w 691192"/>
                <a:gd name="connsiteY13" fmla="*/ 286814 h 410451"/>
                <a:gd name="connsiteX14" fmla="*/ 669439 w 691192"/>
                <a:gd name="connsiteY14" fmla="*/ 212747 h 410451"/>
                <a:gd name="connsiteX15" fmla="*/ 639363 w 691192"/>
                <a:gd name="connsiteY15" fmla="*/ 186222 h 410451"/>
                <a:gd name="connsiteX16" fmla="*/ 517633 w 691192"/>
                <a:gd name="connsiteY16" fmla="*/ 187198 h 410451"/>
                <a:gd name="connsiteX17" fmla="*/ 517443 w 691192"/>
                <a:gd name="connsiteY17" fmla="*/ 187205 h 410451"/>
                <a:gd name="connsiteX18" fmla="*/ 494583 w 691192"/>
                <a:gd name="connsiteY18" fmla="*/ 164528 h 410451"/>
                <a:gd name="connsiteX19" fmla="*/ 494080 w 691192"/>
                <a:gd name="connsiteY19" fmla="*/ 101511 h 410451"/>
                <a:gd name="connsiteX20" fmla="*/ 516750 w 691192"/>
                <a:gd name="connsiteY20" fmla="*/ 78468 h 410451"/>
                <a:gd name="connsiteX21" fmla="*/ 541507 w 691192"/>
                <a:gd name="connsiteY21" fmla="*/ 78262 h 410451"/>
                <a:gd name="connsiteX22" fmla="*/ 488716 w 691192"/>
                <a:gd name="connsiteY22" fmla="*/ -2015 h 410451"/>
                <a:gd name="connsiteX23" fmla="*/ 363054 w 691192"/>
                <a:gd name="connsiteY23" fmla="*/ -1009 h 410451"/>
                <a:gd name="connsiteX24" fmla="*/ -3171 w 691192"/>
                <a:gd name="connsiteY24" fmla="*/ 1940 h 410451"/>
                <a:gd name="connsiteX25" fmla="*/ 35143 w 691192"/>
                <a:gd name="connsiteY25" fmla="*/ 94104 h 410451"/>
                <a:gd name="connsiteX26" fmla="*/ 79811 w 691192"/>
                <a:gd name="connsiteY26" fmla="*/ 225427 h 410451"/>
                <a:gd name="connsiteX27" fmla="*/ 82836 w 691192"/>
                <a:gd name="connsiteY27" fmla="*/ 225199 h 410451"/>
                <a:gd name="connsiteX28" fmla="*/ 190857 w 691192"/>
                <a:gd name="connsiteY28" fmla="*/ 224330 h 410451"/>
                <a:gd name="connsiteX29" fmla="*/ 172234 w 691192"/>
                <a:gd name="connsiteY29" fmla="*/ 199252 h 410451"/>
                <a:gd name="connsiteX30" fmla="*/ 166839 w 691192"/>
                <a:gd name="connsiteY30" fmla="*/ 190032 h 410451"/>
                <a:gd name="connsiteX31" fmla="*/ 86319 w 691192"/>
                <a:gd name="connsiteY31" fmla="*/ 190680 h 410451"/>
                <a:gd name="connsiteX32" fmla="*/ 86136 w 691192"/>
                <a:gd name="connsiteY32" fmla="*/ 190680 h 410451"/>
                <a:gd name="connsiteX33" fmla="*/ 63276 w 691192"/>
                <a:gd name="connsiteY33" fmla="*/ 168003 h 410451"/>
                <a:gd name="connsiteX34" fmla="*/ 62765 w 691192"/>
                <a:gd name="connsiteY34" fmla="*/ 104978 h 410451"/>
                <a:gd name="connsiteX35" fmla="*/ 85442 w 691192"/>
                <a:gd name="connsiteY35" fmla="*/ 81943 h 410451"/>
                <a:gd name="connsiteX36" fmla="*/ 204307 w 691192"/>
                <a:gd name="connsiteY36" fmla="*/ 80983 h 410451"/>
                <a:gd name="connsiteX37" fmla="*/ 204497 w 691192"/>
                <a:gd name="connsiteY37" fmla="*/ 80983 h 410451"/>
                <a:gd name="connsiteX38" fmla="*/ 227342 w 691192"/>
                <a:gd name="connsiteY38" fmla="*/ 103660 h 410451"/>
                <a:gd name="connsiteX39" fmla="*/ 227852 w 691192"/>
                <a:gd name="connsiteY39" fmla="*/ 166677 h 410451"/>
                <a:gd name="connsiteX40" fmla="*/ 205175 w 691192"/>
                <a:gd name="connsiteY40" fmla="*/ 189720 h 410451"/>
                <a:gd name="connsiteX41" fmla="*/ 194652 w 691192"/>
                <a:gd name="connsiteY41" fmla="*/ 189804 h 410451"/>
                <a:gd name="connsiteX42" fmla="*/ 268437 w 691192"/>
                <a:gd name="connsiteY42" fmla="*/ 291493 h 410451"/>
                <a:gd name="connsiteX43" fmla="*/ 224827 w 691192"/>
                <a:gd name="connsiteY43" fmla="*/ 257622 h 410451"/>
                <a:gd name="connsiteX44" fmla="*/ 225300 w 691192"/>
                <a:gd name="connsiteY44" fmla="*/ 317370 h 410451"/>
                <a:gd name="connsiteX45" fmla="*/ 202630 w 691192"/>
                <a:gd name="connsiteY45" fmla="*/ 340413 h 410451"/>
                <a:gd name="connsiteX46" fmla="*/ 178505 w 691192"/>
                <a:gd name="connsiteY46" fmla="*/ 340611 h 410451"/>
                <a:gd name="connsiteX47" fmla="*/ 220774 w 691192"/>
                <a:gd name="connsiteY47" fmla="*/ 372303 h 410451"/>
                <a:gd name="connsiteX48" fmla="*/ 247680 w 691192"/>
                <a:gd name="connsiteY48" fmla="*/ 380845 h 410451"/>
                <a:gd name="connsiteX49" fmla="*/ 285925 w 691192"/>
                <a:gd name="connsiteY49" fmla="*/ 361109 h 410451"/>
                <a:gd name="connsiteX50" fmla="*/ 294207 w 691192"/>
                <a:gd name="connsiteY50" fmla="*/ 338988 h 410451"/>
                <a:gd name="connsiteX51" fmla="*/ 276735 w 691192"/>
                <a:gd name="connsiteY51" fmla="*/ 316959 h 410451"/>
                <a:gd name="connsiteX52" fmla="*/ 276163 w 691192"/>
                <a:gd name="connsiteY52" fmla="*/ 246504 h 410451"/>
                <a:gd name="connsiteX53" fmla="*/ 298840 w 691192"/>
                <a:gd name="connsiteY53" fmla="*/ 223461 h 410451"/>
                <a:gd name="connsiteX54" fmla="*/ 347113 w 691192"/>
                <a:gd name="connsiteY54" fmla="*/ 223073 h 410451"/>
                <a:gd name="connsiteX55" fmla="*/ 319773 w 691192"/>
                <a:gd name="connsiteY55" fmla="*/ 188798 h 410451"/>
                <a:gd name="connsiteX56" fmla="*/ 301888 w 691192"/>
                <a:gd name="connsiteY56" fmla="*/ 188935 h 410451"/>
                <a:gd name="connsiteX57" fmla="*/ 301698 w 691192"/>
                <a:gd name="connsiteY57" fmla="*/ 188943 h 410451"/>
                <a:gd name="connsiteX58" fmla="*/ 278853 w 691192"/>
                <a:gd name="connsiteY58" fmla="*/ 166265 h 410451"/>
                <a:gd name="connsiteX59" fmla="*/ 278525 w 691192"/>
                <a:gd name="connsiteY59" fmla="*/ 126139 h 410451"/>
                <a:gd name="connsiteX60" fmla="*/ 239420 w 691192"/>
                <a:gd name="connsiteY60" fmla="*/ 50761 h 410451"/>
                <a:gd name="connsiteX61" fmla="*/ 247634 w 691192"/>
                <a:gd name="connsiteY61" fmla="*/ 45755 h 410451"/>
                <a:gd name="connsiteX62" fmla="*/ 255490 w 691192"/>
                <a:gd name="connsiteY62" fmla="*/ 48788 h 410451"/>
                <a:gd name="connsiteX63" fmla="*/ 280202 w 691192"/>
                <a:gd name="connsiteY63" fmla="*/ 94058 h 410451"/>
                <a:gd name="connsiteX64" fmla="*/ 301020 w 691192"/>
                <a:gd name="connsiteY64" fmla="*/ 80198 h 410451"/>
                <a:gd name="connsiteX65" fmla="*/ 394197 w 691192"/>
                <a:gd name="connsiteY65" fmla="*/ 79451 h 410451"/>
                <a:gd name="connsiteX66" fmla="*/ 352058 w 691192"/>
                <a:gd name="connsiteY66" fmla="*/ 6626 h 410451"/>
                <a:gd name="connsiteX67" fmla="*/ 363054 w 691192"/>
                <a:gd name="connsiteY67" fmla="*/ -1009 h 410451"/>
                <a:gd name="connsiteX68" fmla="*/ 442203 w 691192"/>
                <a:gd name="connsiteY68" fmla="*/ 147764 h 410451"/>
                <a:gd name="connsiteX69" fmla="*/ 442340 w 691192"/>
                <a:gd name="connsiteY69" fmla="*/ 164947 h 410451"/>
                <a:gd name="connsiteX70" fmla="*/ 419663 w 691192"/>
                <a:gd name="connsiteY70" fmla="*/ 187990 h 410451"/>
                <a:gd name="connsiteX71" fmla="*/ 341352 w 691192"/>
                <a:gd name="connsiteY71" fmla="*/ 188623 h 410451"/>
                <a:gd name="connsiteX72" fmla="*/ 367565 w 691192"/>
                <a:gd name="connsiteY72" fmla="*/ 222905 h 410451"/>
                <a:gd name="connsiteX73" fmla="*/ 417705 w 691192"/>
                <a:gd name="connsiteY73" fmla="*/ 222501 h 410451"/>
                <a:gd name="connsiteX74" fmla="*/ 417888 w 691192"/>
                <a:gd name="connsiteY74" fmla="*/ 222501 h 410451"/>
                <a:gd name="connsiteX75" fmla="*/ 440740 w 691192"/>
                <a:gd name="connsiteY75" fmla="*/ 245178 h 410451"/>
                <a:gd name="connsiteX76" fmla="*/ 441312 w 691192"/>
                <a:gd name="connsiteY76" fmla="*/ 315633 h 410451"/>
                <a:gd name="connsiteX77" fmla="*/ 418634 w 691192"/>
                <a:gd name="connsiteY77" fmla="*/ 338676 h 410451"/>
                <a:gd name="connsiteX78" fmla="*/ 314941 w 691192"/>
                <a:gd name="connsiteY78" fmla="*/ 339506 h 410451"/>
                <a:gd name="connsiteX79" fmla="*/ 359046 w 691192"/>
                <a:gd name="connsiteY79" fmla="*/ 375229 h 410451"/>
                <a:gd name="connsiteX80" fmla="*/ 417705 w 691192"/>
                <a:gd name="connsiteY80" fmla="*/ 374756 h 410451"/>
                <a:gd name="connsiteX81" fmla="*/ 417888 w 691192"/>
                <a:gd name="connsiteY81" fmla="*/ 374756 h 410451"/>
                <a:gd name="connsiteX82" fmla="*/ 440740 w 691192"/>
                <a:gd name="connsiteY82" fmla="*/ 397426 h 410451"/>
                <a:gd name="connsiteX83" fmla="*/ 440831 w 691192"/>
                <a:gd name="connsiteY83" fmla="*/ 408437 h 410451"/>
                <a:gd name="connsiteX84" fmla="*/ 478474 w 691192"/>
                <a:gd name="connsiteY84" fmla="*/ 379321 h 410451"/>
                <a:gd name="connsiteX85" fmla="*/ 480379 w 691192"/>
                <a:gd name="connsiteY85" fmla="*/ 338935 h 410451"/>
                <a:gd name="connsiteX86" fmla="*/ 524796 w 691192"/>
                <a:gd name="connsiteY86" fmla="*/ 373895 h 410451"/>
                <a:gd name="connsiteX87" fmla="*/ 607671 w 691192"/>
                <a:gd name="connsiteY87" fmla="*/ 373225 h 410451"/>
                <a:gd name="connsiteX88" fmla="*/ 616183 w 691192"/>
                <a:gd name="connsiteY88" fmla="*/ 337083 h 410451"/>
                <a:gd name="connsiteX89" fmla="*/ 515789 w 691192"/>
                <a:gd name="connsiteY89" fmla="*/ 337891 h 410451"/>
                <a:gd name="connsiteX90" fmla="*/ 515599 w 691192"/>
                <a:gd name="connsiteY90" fmla="*/ 337891 h 410451"/>
                <a:gd name="connsiteX91" fmla="*/ 492739 w 691192"/>
                <a:gd name="connsiteY91" fmla="*/ 315221 h 410451"/>
                <a:gd name="connsiteX92" fmla="*/ 492175 w 691192"/>
                <a:gd name="connsiteY92" fmla="*/ 244767 h 410451"/>
                <a:gd name="connsiteX93" fmla="*/ 508611 w 691192"/>
                <a:gd name="connsiteY93" fmla="*/ 222646 h 410451"/>
                <a:gd name="connsiteX94" fmla="*/ 442203 w 691192"/>
                <a:gd name="connsiteY94" fmla="*/ 147764 h 41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691192" h="410451">
                  <a:moveTo>
                    <a:pt x="488716" y="-2015"/>
                  </a:moveTo>
                  <a:lnTo>
                    <a:pt x="367969" y="-1047"/>
                  </a:lnTo>
                  <a:cubicBezTo>
                    <a:pt x="368480" y="-955"/>
                    <a:pt x="368990" y="-841"/>
                    <a:pt x="369508" y="-689"/>
                  </a:cubicBezTo>
                  <a:cubicBezTo>
                    <a:pt x="383895" y="26819"/>
                    <a:pt x="398853" y="53375"/>
                    <a:pt x="415061" y="79283"/>
                  </a:cubicBezTo>
                  <a:lnTo>
                    <a:pt x="418787" y="79253"/>
                  </a:lnTo>
                  <a:cubicBezTo>
                    <a:pt x="418848" y="79253"/>
                    <a:pt x="418909" y="79253"/>
                    <a:pt x="418970" y="79253"/>
                  </a:cubicBezTo>
                  <a:cubicBezTo>
                    <a:pt x="431467" y="79253"/>
                    <a:pt x="441731" y="89418"/>
                    <a:pt x="441837" y="101930"/>
                  </a:cubicBezTo>
                  <a:lnTo>
                    <a:pt x="441982" y="119959"/>
                  </a:lnTo>
                  <a:cubicBezTo>
                    <a:pt x="466221" y="154561"/>
                    <a:pt x="493463" y="188203"/>
                    <a:pt x="525436" y="221640"/>
                  </a:cubicBezTo>
                  <a:lnTo>
                    <a:pt x="633701" y="220764"/>
                  </a:lnTo>
                  <a:cubicBezTo>
                    <a:pt x="633770" y="220764"/>
                    <a:pt x="633831" y="220764"/>
                    <a:pt x="633892" y="220764"/>
                  </a:cubicBezTo>
                  <a:cubicBezTo>
                    <a:pt x="646389" y="220764"/>
                    <a:pt x="656645" y="230929"/>
                    <a:pt x="656752" y="243441"/>
                  </a:cubicBezTo>
                  <a:lnTo>
                    <a:pt x="657209" y="300743"/>
                  </a:lnTo>
                  <a:cubicBezTo>
                    <a:pt x="664090" y="297627"/>
                    <a:pt x="670399" y="292963"/>
                    <a:pt x="675604" y="286814"/>
                  </a:cubicBezTo>
                  <a:cubicBezTo>
                    <a:pt x="694349" y="264632"/>
                    <a:pt x="691537" y="231485"/>
                    <a:pt x="669439" y="212747"/>
                  </a:cubicBezTo>
                  <a:cubicBezTo>
                    <a:pt x="658954" y="203878"/>
                    <a:pt x="648941" y="195039"/>
                    <a:pt x="639363" y="186222"/>
                  </a:cubicBezTo>
                  <a:lnTo>
                    <a:pt x="517633" y="187198"/>
                  </a:lnTo>
                  <a:cubicBezTo>
                    <a:pt x="517573" y="187205"/>
                    <a:pt x="517504" y="187205"/>
                    <a:pt x="517443" y="187205"/>
                  </a:cubicBezTo>
                  <a:cubicBezTo>
                    <a:pt x="504954" y="187205"/>
                    <a:pt x="494690" y="177040"/>
                    <a:pt x="494583" y="164528"/>
                  </a:cubicBezTo>
                  <a:lnTo>
                    <a:pt x="494080" y="101511"/>
                  </a:lnTo>
                  <a:cubicBezTo>
                    <a:pt x="493973" y="88938"/>
                    <a:pt x="504184" y="78567"/>
                    <a:pt x="516750" y="78468"/>
                  </a:cubicBezTo>
                  <a:lnTo>
                    <a:pt x="541507" y="78262"/>
                  </a:lnTo>
                  <a:cubicBezTo>
                    <a:pt x="522160" y="52339"/>
                    <a:pt x="504900" y="25760"/>
                    <a:pt x="488716" y="-2015"/>
                  </a:cubicBezTo>
                  <a:moveTo>
                    <a:pt x="363054" y="-1009"/>
                  </a:moveTo>
                  <a:lnTo>
                    <a:pt x="-3171" y="1940"/>
                  </a:lnTo>
                  <a:lnTo>
                    <a:pt x="35143" y="94104"/>
                  </a:lnTo>
                  <a:cubicBezTo>
                    <a:pt x="45780" y="139794"/>
                    <a:pt x="58208" y="183624"/>
                    <a:pt x="79811" y="225427"/>
                  </a:cubicBezTo>
                  <a:cubicBezTo>
                    <a:pt x="80802" y="225282"/>
                    <a:pt x="81815" y="225206"/>
                    <a:pt x="82836" y="225199"/>
                  </a:cubicBezTo>
                  <a:lnTo>
                    <a:pt x="190857" y="224330"/>
                  </a:lnTo>
                  <a:cubicBezTo>
                    <a:pt x="183824" y="216222"/>
                    <a:pt x="177507" y="207848"/>
                    <a:pt x="172234" y="199252"/>
                  </a:cubicBezTo>
                  <a:cubicBezTo>
                    <a:pt x="170367" y="196212"/>
                    <a:pt x="168569" y="193134"/>
                    <a:pt x="166839" y="190032"/>
                  </a:cubicBezTo>
                  <a:lnTo>
                    <a:pt x="86319" y="190680"/>
                  </a:lnTo>
                  <a:cubicBezTo>
                    <a:pt x="86258" y="190680"/>
                    <a:pt x="86197" y="190680"/>
                    <a:pt x="86136" y="190680"/>
                  </a:cubicBezTo>
                  <a:cubicBezTo>
                    <a:pt x="73647" y="190680"/>
                    <a:pt x="63375" y="180515"/>
                    <a:pt x="63276" y="168003"/>
                  </a:cubicBezTo>
                  <a:lnTo>
                    <a:pt x="62765" y="104978"/>
                  </a:lnTo>
                  <a:cubicBezTo>
                    <a:pt x="62666" y="92405"/>
                    <a:pt x="72877" y="82042"/>
                    <a:pt x="85442" y="81943"/>
                  </a:cubicBezTo>
                  <a:lnTo>
                    <a:pt x="204307" y="80983"/>
                  </a:lnTo>
                  <a:cubicBezTo>
                    <a:pt x="204368" y="80983"/>
                    <a:pt x="204436" y="80983"/>
                    <a:pt x="204497" y="80983"/>
                  </a:cubicBezTo>
                  <a:cubicBezTo>
                    <a:pt x="216979" y="80983"/>
                    <a:pt x="227243" y="91147"/>
                    <a:pt x="227342" y="103660"/>
                  </a:cubicBezTo>
                  <a:lnTo>
                    <a:pt x="227852" y="166677"/>
                  </a:lnTo>
                  <a:cubicBezTo>
                    <a:pt x="227952" y="179242"/>
                    <a:pt x="217748" y="189613"/>
                    <a:pt x="205175" y="189720"/>
                  </a:cubicBezTo>
                  <a:lnTo>
                    <a:pt x="194652" y="189804"/>
                  </a:lnTo>
                  <a:cubicBezTo>
                    <a:pt x="216202" y="224970"/>
                    <a:pt x="240974" y="259770"/>
                    <a:pt x="268437" y="291493"/>
                  </a:cubicBezTo>
                  <a:cubicBezTo>
                    <a:pt x="254324" y="281373"/>
                    <a:pt x="239229" y="269997"/>
                    <a:pt x="224827" y="257622"/>
                  </a:cubicBezTo>
                  <a:lnTo>
                    <a:pt x="225300" y="317370"/>
                  </a:lnTo>
                  <a:cubicBezTo>
                    <a:pt x="225406" y="329943"/>
                    <a:pt x="215196" y="340314"/>
                    <a:pt x="202630" y="340413"/>
                  </a:cubicBezTo>
                  <a:lnTo>
                    <a:pt x="178505" y="340611"/>
                  </a:lnTo>
                  <a:cubicBezTo>
                    <a:pt x="192976" y="352270"/>
                    <a:pt x="207393" y="362839"/>
                    <a:pt x="220774" y="372303"/>
                  </a:cubicBezTo>
                  <a:cubicBezTo>
                    <a:pt x="228965" y="378079"/>
                    <a:pt x="238368" y="380845"/>
                    <a:pt x="247680" y="380845"/>
                  </a:cubicBezTo>
                  <a:cubicBezTo>
                    <a:pt x="262348" y="380845"/>
                    <a:pt x="276788" y="373972"/>
                    <a:pt x="285925" y="361109"/>
                  </a:cubicBezTo>
                  <a:cubicBezTo>
                    <a:pt x="290702" y="354320"/>
                    <a:pt x="293423" y="346700"/>
                    <a:pt x="294207" y="338988"/>
                  </a:cubicBezTo>
                  <a:cubicBezTo>
                    <a:pt x="284279" y="336572"/>
                    <a:pt x="276819" y="327611"/>
                    <a:pt x="276735" y="316959"/>
                  </a:cubicBezTo>
                  <a:lnTo>
                    <a:pt x="276163" y="246504"/>
                  </a:lnTo>
                  <a:cubicBezTo>
                    <a:pt x="276064" y="233931"/>
                    <a:pt x="286275" y="223560"/>
                    <a:pt x="298840" y="223461"/>
                  </a:cubicBezTo>
                  <a:lnTo>
                    <a:pt x="347113" y="223073"/>
                  </a:lnTo>
                  <a:cubicBezTo>
                    <a:pt x="337619" y="212085"/>
                    <a:pt x="328490" y="200586"/>
                    <a:pt x="319773" y="188798"/>
                  </a:cubicBezTo>
                  <a:lnTo>
                    <a:pt x="301888" y="188935"/>
                  </a:lnTo>
                  <a:cubicBezTo>
                    <a:pt x="301827" y="188943"/>
                    <a:pt x="301766" y="188943"/>
                    <a:pt x="301698" y="188943"/>
                  </a:cubicBezTo>
                  <a:cubicBezTo>
                    <a:pt x="289216" y="188943"/>
                    <a:pt x="278952" y="178770"/>
                    <a:pt x="278853" y="166265"/>
                  </a:cubicBezTo>
                  <a:lnTo>
                    <a:pt x="278525" y="126139"/>
                  </a:lnTo>
                  <a:cubicBezTo>
                    <a:pt x="263324" y="100299"/>
                    <a:pt x="250187" y="74574"/>
                    <a:pt x="239420" y="50761"/>
                  </a:cubicBezTo>
                  <a:cubicBezTo>
                    <a:pt x="240784" y="48125"/>
                    <a:pt x="243748" y="45755"/>
                    <a:pt x="247634" y="45755"/>
                  </a:cubicBezTo>
                  <a:cubicBezTo>
                    <a:pt x="249966" y="45755"/>
                    <a:pt x="252640" y="46616"/>
                    <a:pt x="255490" y="48788"/>
                  </a:cubicBezTo>
                  <a:cubicBezTo>
                    <a:pt x="263522" y="64272"/>
                    <a:pt x="271751" y="79359"/>
                    <a:pt x="280202" y="94058"/>
                  </a:cubicBezTo>
                  <a:cubicBezTo>
                    <a:pt x="283692" y="85989"/>
                    <a:pt x="291700" y="80274"/>
                    <a:pt x="301020" y="80198"/>
                  </a:cubicBezTo>
                  <a:lnTo>
                    <a:pt x="394197" y="79451"/>
                  </a:lnTo>
                  <a:cubicBezTo>
                    <a:pt x="379536" y="56400"/>
                    <a:pt x="365508" y="32138"/>
                    <a:pt x="352058" y="6626"/>
                  </a:cubicBezTo>
                  <a:cubicBezTo>
                    <a:pt x="355305" y="2519"/>
                    <a:pt x="358985" y="-201"/>
                    <a:pt x="363054" y="-1009"/>
                  </a:cubicBezTo>
                  <a:moveTo>
                    <a:pt x="442203" y="147764"/>
                  </a:moveTo>
                  <a:lnTo>
                    <a:pt x="442340" y="164947"/>
                  </a:lnTo>
                  <a:cubicBezTo>
                    <a:pt x="442447" y="177520"/>
                    <a:pt x="432244" y="187891"/>
                    <a:pt x="419663" y="187990"/>
                  </a:cubicBezTo>
                  <a:lnTo>
                    <a:pt x="341352" y="188623"/>
                  </a:lnTo>
                  <a:cubicBezTo>
                    <a:pt x="349910" y="200357"/>
                    <a:pt x="358642" y="211787"/>
                    <a:pt x="367565" y="222905"/>
                  </a:cubicBezTo>
                  <a:lnTo>
                    <a:pt x="417705" y="222501"/>
                  </a:lnTo>
                  <a:cubicBezTo>
                    <a:pt x="417766" y="222501"/>
                    <a:pt x="417827" y="222501"/>
                    <a:pt x="417888" y="222501"/>
                  </a:cubicBezTo>
                  <a:cubicBezTo>
                    <a:pt x="430369" y="222501"/>
                    <a:pt x="440641" y="232666"/>
                    <a:pt x="440740" y="245178"/>
                  </a:cubicBezTo>
                  <a:lnTo>
                    <a:pt x="441312" y="315633"/>
                  </a:lnTo>
                  <a:cubicBezTo>
                    <a:pt x="441411" y="328206"/>
                    <a:pt x="431207" y="338577"/>
                    <a:pt x="418634" y="338676"/>
                  </a:cubicBezTo>
                  <a:lnTo>
                    <a:pt x="314941" y="339506"/>
                  </a:lnTo>
                  <a:cubicBezTo>
                    <a:pt x="329138" y="352521"/>
                    <a:pt x="343859" y="364523"/>
                    <a:pt x="359046" y="375229"/>
                  </a:cubicBezTo>
                  <a:lnTo>
                    <a:pt x="417705" y="374756"/>
                  </a:lnTo>
                  <a:cubicBezTo>
                    <a:pt x="417766" y="374756"/>
                    <a:pt x="417827" y="374756"/>
                    <a:pt x="417888" y="374756"/>
                  </a:cubicBezTo>
                  <a:cubicBezTo>
                    <a:pt x="430369" y="374749"/>
                    <a:pt x="440641" y="384914"/>
                    <a:pt x="440740" y="397426"/>
                  </a:cubicBezTo>
                  <a:lnTo>
                    <a:pt x="440831" y="408437"/>
                  </a:lnTo>
                  <a:cubicBezTo>
                    <a:pt x="456734" y="405389"/>
                    <a:pt x="471014" y="395064"/>
                    <a:pt x="478474" y="379321"/>
                  </a:cubicBezTo>
                  <a:cubicBezTo>
                    <a:pt x="484723" y="366131"/>
                    <a:pt x="484959" y="351660"/>
                    <a:pt x="480379" y="338935"/>
                  </a:cubicBezTo>
                  <a:cubicBezTo>
                    <a:pt x="494857" y="351142"/>
                    <a:pt x="509617" y="362800"/>
                    <a:pt x="524796" y="373895"/>
                  </a:cubicBezTo>
                  <a:lnTo>
                    <a:pt x="607671" y="373225"/>
                  </a:lnTo>
                  <a:cubicBezTo>
                    <a:pt x="613402" y="362633"/>
                    <a:pt x="616427" y="349641"/>
                    <a:pt x="616183" y="337083"/>
                  </a:cubicBezTo>
                  <a:lnTo>
                    <a:pt x="515789" y="337891"/>
                  </a:lnTo>
                  <a:cubicBezTo>
                    <a:pt x="515728" y="337891"/>
                    <a:pt x="515660" y="337891"/>
                    <a:pt x="515599" y="337891"/>
                  </a:cubicBezTo>
                  <a:cubicBezTo>
                    <a:pt x="503110" y="337891"/>
                    <a:pt x="492846" y="327733"/>
                    <a:pt x="492739" y="315221"/>
                  </a:cubicBezTo>
                  <a:lnTo>
                    <a:pt x="492175" y="244767"/>
                  </a:lnTo>
                  <a:cubicBezTo>
                    <a:pt x="492091" y="234350"/>
                    <a:pt x="499071" y="225450"/>
                    <a:pt x="508611" y="222646"/>
                  </a:cubicBezTo>
                  <a:cubicBezTo>
                    <a:pt x="485325" y="199710"/>
                    <a:pt x="463211" y="174769"/>
                    <a:pt x="442203" y="147764"/>
                  </a:cubicBezTo>
                </a:path>
              </a:pathLst>
            </a:custGeom>
            <a:solidFill>
              <a:srgbClr val="28282E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0FBA22DE-09D9-DF8D-FCC7-BC76F47AE260}"/>
                </a:ext>
              </a:extLst>
            </p:cNvPr>
            <p:cNvSpPr/>
            <p:nvPr/>
          </p:nvSpPr>
          <p:spPr>
            <a:xfrm flipV="1">
              <a:off x="4750802" y="5328556"/>
              <a:ext cx="109932" cy="78020"/>
            </a:xfrm>
            <a:custGeom>
              <a:avLst/>
              <a:gdLst>
                <a:gd name="connsiteX0" fmla="*/ 138283 w 165034"/>
                <a:gd name="connsiteY0" fmla="*/ -2128 h 117126"/>
                <a:gd name="connsiteX1" fmla="*/ 138092 w 165034"/>
                <a:gd name="connsiteY1" fmla="*/ -2128 h 117126"/>
                <a:gd name="connsiteX2" fmla="*/ 29827 w 165034"/>
                <a:gd name="connsiteY2" fmla="*/ -1252 h 117126"/>
                <a:gd name="connsiteX3" fmla="*/ 105928 w 165034"/>
                <a:gd name="connsiteY3" fmla="*/ 70095 h 117126"/>
                <a:gd name="connsiteX4" fmla="*/ 139868 w 165034"/>
                <a:gd name="connsiteY4" fmla="*/ 82530 h 117126"/>
                <a:gd name="connsiteX5" fmla="*/ 161600 w 165034"/>
                <a:gd name="connsiteY5" fmla="*/ 77852 h 117126"/>
                <a:gd name="connsiteX6" fmla="*/ 161143 w 165034"/>
                <a:gd name="connsiteY6" fmla="*/ 20549 h 117126"/>
                <a:gd name="connsiteX7" fmla="*/ 138283 w 165034"/>
                <a:gd name="connsiteY7" fmla="*/ -2128 h 117126"/>
                <a:gd name="connsiteX8" fmla="*/ 13002 w 165034"/>
                <a:gd name="connsiteY8" fmla="*/ -246 h 117126"/>
                <a:gd name="connsiteX9" fmla="*/ -3434 w 165034"/>
                <a:gd name="connsiteY9" fmla="*/ 21875 h 117126"/>
                <a:gd name="connsiteX10" fmla="*/ -2870 w 165034"/>
                <a:gd name="connsiteY10" fmla="*/ 92330 h 117126"/>
                <a:gd name="connsiteX11" fmla="*/ 19990 w 165034"/>
                <a:gd name="connsiteY11" fmla="*/ 114999 h 117126"/>
                <a:gd name="connsiteX12" fmla="*/ 20180 w 165034"/>
                <a:gd name="connsiteY12" fmla="*/ 114999 h 117126"/>
                <a:gd name="connsiteX13" fmla="*/ 120574 w 165034"/>
                <a:gd name="connsiteY13" fmla="*/ 114191 h 117126"/>
                <a:gd name="connsiteX14" fmla="*/ 102118 w 165034"/>
                <a:gd name="connsiteY14" fmla="*/ 73905 h 117126"/>
                <a:gd name="connsiteX15" fmla="*/ 13002 w 165034"/>
                <a:gd name="connsiteY15" fmla="*/ -246 h 11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5034" h="117126">
                  <a:moveTo>
                    <a:pt x="138283" y="-2128"/>
                  </a:moveTo>
                  <a:cubicBezTo>
                    <a:pt x="138222" y="-2128"/>
                    <a:pt x="138161" y="-2128"/>
                    <a:pt x="138092" y="-2128"/>
                  </a:cubicBezTo>
                  <a:lnTo>
                    <a:pt x="29827" y="-1252"/>
                  </a:lnTo>
                  <a:cubicBezTo>
                    <a:pt x="52588" y="22546"/>
                    <a:pt x="77749" y="46244"/>
                    <a:pt x="105928" y="70095"/>
                  </a:cubicBezTo>
                  <a:cubicBezTo>
                    <a:pt x="115811" y="78446"/>
                    <a:pt x="127874" y="82530"/>
                    <a:pt x="139868" y="82530"/>
                  </a:cubicBezTo>
                  <a:cubicBezTo>
                    <a:pt x="147320" y="82530"/>
                    <a:pt x="154742" y="80953"/>
                    <a:pt x="161600" y="77852"/>
                  </a:cubicBezTo>
                  <a:lnTo>
                    <a:pt x="161143" y="20549"/>
                  </a:lnTo>
                  <a:cubicBezTo>
                    <a:pt x="161036" y="8037"/>
                    <a:pt x="150779" y="-2128"/>
                    <a:pt x="138283" y="-2128"/>
                  </a:cubicBezTo>
                  <a:moveTo>
                    <a:pt x="13002" y="-246"/>
                  </a:moveTo>
                  <a:cubicBezTo>
                    <a:pt x="3462" y="2558"/>
                    <a:pt x="-3518" y="11459"/>
                    <a:pt x="-3434" y="21875"/>
                  </a:cubicBezTo>
                  <a:lnTo>
                    <a:pt x="-2870" y="92330"/>
                  </a:lnTo>
                  <a:cubicBezTo>
                    <a:pt x="-2764" y="104842"/>
                    <a:pt x="7501" y="114999"/>
                    <a:pt x="19990" y="114999"/>
                  </a:cubicBezTo>
                  <a:cubicBezTo>
                    <a:pt x="20051" y="114999"/>
                    <a:pt x="20119" y="114999"/>
                    <a:pt x="20180" y="114999"/>
                  </a:cubicBezTo>
                  <a:lnTo>
                    <a:pt x="120574" y="114191"/>
                  </a:lnTo>
                  <a:cubicBezTo>
                    <a:pt x="120254" y="98014"/>
                    <a:pt x="114508" y="82553"/>
                    <a:pt x="102118" y="73905"/>
                  </a:cubicBezTo>
                  <a:cubicBezTo>
                    <a:pt x="70663" y="52005"/>
                    <a:pt x="40991" y="27331"/>
                    <a:pt x="13002" y="-246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EE1E54D2-E710-F88D-F03F-6180933E632E}"/>
                </a:ext>
              </a:extLst>
            </p:cNvPr>
            <p:cNvSpPr/>
            <p:nvPr/>
          </p:nvSpPr>
          <p:spPr>
            <a:xfrm flipV="1">
              <a:off x="4606913" y="5327479"/>
              <a:ext cx="110008" cy="77939"/>
            </a:xfrm>
            <a:custGeom>
              <a:avLst/>
              <a:gdLst>
                <a:gd name="connsiteX0" fmla="*/ 138536 w 165149"/>
                <a:gd name="connsiteY0" fmla="*/ -2130 h 117005"/>
                <a:gd name="connsiteX1" fmla="*/ 138353 w 165149"/>
                <a:gd name="connsiteY1" fmla="*/ -2130 h 117005"/>
                <a:gd name="connsiteX2" fmla="*/ 88213 w 165149"/>
                <a:gd name="connsiteY2" fmla="*/ -1726 h 117005"/>
                <a:gd name="connsiteX3" fmla="*/ 160199 w 165149"/>
                <a:gd name="connsiteY3" fmla="*/ 77468 h 117005"/>
                <a:gd name="connsiteX4" fmla="*/ 67761 w 165149"/>
                <a:gd name="connsiteY4" fmla="*/ -1559 h 117005"/>
                <a:gd name="connsiteX5" fmla="*/ 19489 w 165149"/>
                <a:gd name="connsiteY5" fmla="*/ -1170 h 117005"/>
                <a:gd name="connsiteX6" fmla="*/ -3189 w 165149"/>
                <a:gd name="connsiteY6" fmla="*/ 21873 h 117005"/>
                <a:gd name="connsiteX7" fmla="*/ -2617 w 165149"/>
                <a:gd name="connsiteY7" fmla="*/ 92327 h 117005"/>
                <a:gd name="connsiteX8" fmla="*/ 14856 w 165149"/>
                <a:gd name="connsiteY8" fmla="*/ 114356 h 117005"/>
                <a:gd name="connsiteX9" fmla="*/ 11373 w 165149"/>
                <a:gd name="connsiteY9" fmla="*/ 91215 h 117005"/>
                <a:gd name="connsiteX10" fmla="*/ 35590 w 165149"/>
                <a:gd name="connsiteY10" fmla="*/ 114875 h 117005"/>
                <a:gd name="connsiteX11" fmla="*/ 139283 w 165149"/>
                <a:gd name="connsiteY11" fmla="*/ 114044 h 117005"/>
                <a:gd name="connsiteX12" fmla="*/ 161960 w 165149"/>
                <a:gd name="connsiteY12" fmla="*/ 91001 h 117005"/>
                <a:gd name="connsiteX13" fmla="*/ 161388 w 165149"/>
                <a:gd name="connsiteY13" fmla="*/ 20547 h 117005"/>
                <a:gd name="connsiteX14" fmla="*/ 138536 w 165149"/>
                <a:gd name="connsiteY14" fmla="*/ -2130 h 117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5149" h="117005">
                  <a:moveTo>
                    <a:pt x="138536" y="-2130"/>
                  </a:moveTo>
                  <a:cubicBezTo>
                    <a:pt x="138475" y="-2130"/>
                    <a:pt x="138414" y="-2130"/>
                    <a:pt x="138353" y="-2130"/>
                  </a:cubicBezTo>
                  <a:lnTo>
                    <a:pt x="88213" y="-1726"/>
                  </a:lnTo>
                  <a:cubicBezTo>
                    <a:pt x="110990" y="26666"/>
                    <a:pt x="134970" y="53046"/>
                    <a:pt x="160199" y="77468"/>
                  </a:cubicBezTo>
                  <a:cubicBezTo>
                    <a:pt x="126763" y="58700"/>
                    <a:pt x="95658" y="30727"/>
                    <a:pt x="67761" y="-1559"/>
                  </a:cubicBezTo>
                  <a:lnTo>
                    <a:pt x="19489" y="-1170"/>
                  </a:lnTo>
                  <a:cubicBezTo>
                    <a:pt x="6923" y="-1071"/>
                    <a:pt x="-3288" y="9300"/>
                    <a:pt x="-3189" y="21873"/>
                  </a:cubicBezTo>
                  <a:lnTo>
                    <a:pt x="-2617" y="92327"/>
                  </a:lnTo>
                  <a:cubicBezTo>
                    <a:pt x="-2533" y="102980"/>
                    <a:pt x="4927" y="111941"/>
                    <a:pt x="14856" y="114356"/>
                  </a:cubicBezTo>
                  <a:cubicBezTo>
                    <a:pt x="15663" y="106470"/>
                    <a:pt x="14452" y="98492"/>
                    <a:pt x="11373" y="91215"/>
                  </a:cubicBezTo>
                  <a:cubicBezTo>
                    <a:pt x="19260" y="99406"/>
                    <a:pt x="27337" y="107316"/>
                    <a:pt x="35590" y="114875"/>
                  </a:cubicBezTo>
                  <a:lnTo>
                    <a:pt x="139283" y="114044"/>
                  </a:lnTo>
                  <a:cubicBezTo>
                    <a:pt x="151856" y="113945"/>
                    <a:pt x="162059" y="103574"/>
                    <a:pt x="161960" y="91001"/>
                  </a:cubicBezTo>
                  <a:lnTo>
                    <a:pt x="161388" y="20547"/>
                  </a:lnTo>
                  <a:cubicBezTo>
                    <a:pt x="161289" y="8035"/>
                    <a:pt x="151017" y="-2130"/>
                    <a:pt x="138536" y="-2130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A50D2E05-C5B5-B86B-A5D8-AC8AE11D92B5}"/>
                </a:ext>
              </a:extLst>
            </p:cNvPr>
            <p:cNvSpPr/>
            <p:nvPr/>
          </p:nvSpPr>
          <p:spPr>
            <a:xfrm flipV="1">
              <a:off x="4476120" y="5326743"/>
              <a:ext cx="96913" cy="77457"/>
            </a:xfrm>
            <a:custGeom>
              <a:avLst/>
              <a:gdLst>
                <a:gd name="connsiteX0" fmla="*/ 108092 w 145489"/>
                <a:gd name="connsiteY0" fmla="*/ -2133 h 116281"/>
                <a:gd name="connsiteX1" fmla="*/ 70 w 145489"/>
                <a:gd name="connsiteY1" fmla="*/ -1264 h 116281"/>
                <a:gd name="connsiteX2" fmla="*/ -2955 w 145489"/>
                <a:gd name="connsiteY2" fmla="*/ -1035 h 116281"/>
                <a:gd name="connsiteX3" fmla="*/ 9831 w 145489"/>
                <a:gd name="connsiteY3" fmla="*/ 21642 h 116281"/>
                <a:gd name="connsiteX4" fmla="*/ 95740 w 145489"/>
                <a:gd name="connsiteY4" fmla="*/ 114149 h 116281"/>
                <a:gd name="connsiteX5" fmla="*/ 119864 w 145489"/>
                <a:gd name="connsiteY5" fmla="*/ 113951 h 116281"/>
                <a:gd name="connsiteX6" fmla="*/ 142534 w 145489"/>
                <a:gd name="connsiteY6" fmla="*/ 90908 h 116281"/>
                <a:gd name="connsiteX7" fmla="*/ 142061 w 145489"/>
                <a:gd name="connsiteY7" fmla="*/ 31159 h 116281"/>
                <a:gd name="connsiteX8" fmla="*/ 108092 w 145489"/>
                <a:gd name="connsiteY8" fmla="*/ -2133 h 11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489" h="116281">
                  <a:moveTo>
                    <a:pt x="108092" y="-2133"/>
                  </a:moveTo>
                  <a:lnTo>
                    <a:pt x="70" y="-1264"/>
                  </a:lnTo>
                  <a:cubicBezTo>
                    <a:pt x="-951" y="-1256"/>
                    <a:pt x="-1964" y="-1180"/>
                    <a:pt x="-2955" y="-1035"/>
                  </a:cubicBezTo>
                  <a:cubicBezTo>
                    <a:pt x="992" y="6592"/>
                    <a:pt x="5237" y="14151"/>
                    <a:pt x="9831" y="21642"/>
                  </a:cubicBezTo>
                  <a:cubicBezTo>
                    <a:pt x="31922" y="57707"/>
                    <a:pt x="63979" y="88561"/>
                    <a:pt x="95740" y="114149"/>
                  </a:cubicBezTo>
                  <a:lnTo>
                    <a:pt x="119864" y="113951"/>
                  </a:lnTo>
                  <a:cubicBezTo>
                    <a:pt x="132430" y="113851"/>
                    <a:pt x="142640" y="103481"/>
                    <a:pt x="142534" y="90908"/>
                  </a:cubicBezTo>
                  <a:lnTo>
                    <a:pt x="142061" y="31159"/>
                  </a:lnTo>
                  <a:cubicBezTo>
                    <a:pt x="129915" y="20727"/>
                    <a:pt x="118256" y="9579"/>
                    <a:pt x="108092" y="-2133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32750B06-23ED-296A-EAAD-CEA011E778A8}"/>
                </a:ext>
              </a:extLst>
            </p:cNvPr>
            <p:cNvSpPr/>
            <p:nvPr/>
          </p:nvSpPr>
          <p:spPr>
            <a:xfrm flipV="1">
              <a:off x="4772532" y="5289761"/>
              <a:ext cx="55204" cy="15257"/>
            </a:xfrm>
            <a:custGeom>
              <a:avLst/>
              <a:gdLst>
                <a:gd name="connsiteX0" fmla="*/ 79450 w 82875"/>
                <a:gd name="connsiteY0" fmla="*/ -2285 h 22905"/>
                <a:gd name="connsiteX1" fmla="*/ -3425 w 82875"/>
                <a:gd name="connsiteY1" fmla="*/ -1614 h 22905"/>
                <a:gd name="connsiteX2" fmla="*/ 9391 w 82875"/>
                <a:gd name="connsiteY2" fmla="*/ 7538 h 22905"/>
                <a:gd name="connsiteX3" fmla="*/ 44908 w 82875"/>
                <a:gd name="connsiteY3" fmla="*/ 20621 h 22905"/>
                <a:gd name="connsiteX4" fmla="*/ 75983 w 82875"/>
                <a:gd name="connsiteY4" fmla="*/ 3354 h 22905"/>
                <a:gd name="connsiteX5" fmla="*/ 79450 w 82875"/>
                <a:gd name="connsiteY5" fmla="*/ -2285 h 22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875" h="22905">
                  <a:moveTo>
                    <a:pt x="79450" y="-2285"/>
                  </a:moveTo>
                  <a:lnTo>
                    <a:pt x="-3425" y="-1614"/>
                  </a:lnTo>
                  <a:cubicBezTo>
                    <a:pt x="811" y="1480"/>
                    <a:pt x="5086" y="4535"/>
                    <a:pt x="9391" y="7538"/>
                  </a:cubicBezTo>
                  <a:cubicBezTo>
                    <a:pt x="21149" y="15729"/>
                    <a:pt x="33455" y="20621"/>
                    <a:pt x="44908" y="20621"/>
                  </a:cubicBezTo>
                  <a:cubicBezTo>
                    <a:pt x="56689" y="20621"/>
                    <a:pt x="67563" y="15447"/>
                    <a:pt x="75983" y="3354"/>
                  </a:cubicBezTo>
                  <a:cubicBezTo>
                    <a:pt x="77232" y="1571"/>
                    <a:pt x="78391" y="-319"/>
                    <a:pt x="79450" y="-2285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C34828E8-13D7-6FE1-1574-FB2208A591F1}"/>
                </a:ext>
              </a:extLst>
            </p:cNvPr>
            <p:cNvSpPr/>
            <p:nvPr/>
          </p:nvSpPr>
          <p:spPr>
            <a:xfrm flipV="1">
              <a:off x="4662123" y="5280935"/>
              <a:ext cx="54478" cy="23064"/>
            </a:xfrm>
            <a:custGeom>
              <a:avLst/>
              <a:gdLst>
                <a:gd name="connsiteX0" fmla="*/ 55606 w 81785"/>
                <a:gd name="connsiteY0" fmla="*/ -2296 h 34625"/>
                <a:gd name="connsiteX1" fmla="*/ 55423 w 81785"/>
                <a:gd name="connsiteY1" fmla="*/ -2296 h 34625"/>
                <a:gd name="connsiteX2" fmla="*/ -3236 w 81785"/>
                <a:gd name="connsiteY2" fmla="*/ -1823 h 34625"/>
                <a:gd name="connsiteX3" fmla="*/ 46172 w 81785"/>
                <a:gd name="connsiteY3" fmla="*/ 27262 h 34625"/>
                <a:gd name="connsiteX4" fmla="*/ 68651 w 81785"/>
                <a:gd name="connsiteY4" fmla="*/ 32330 h 34625"/>
                <a:gd name="connsiteX5" fmla="*/ 78549 w 81785"/>
                <a:gd name="connsiteY5" fmla="*/ 31385 h 34625"/>
                <a:gd name="connsiteX6" fmla="*/ 78458 w 81785"/>
                <a:gd name="connsiteY6" fmla="*/ 20374 h 34625"/>
                <a:gd name="connsiteX7" fmla="*/ 55606 w 81785"/>
                <a:gd name="connsiteY7" fmla="*/ -2296 h 3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85" h="34625">
                  <a:moveTo>
                    <a:pt x="55606" y="-2296"/>
                  </a:moveTo>
                  <a:cubicBezTo>
                    <a:pt x="55544" y="-2296"/>
                    <a:pt x="55484" y="-2296"/>
                    <a:pt x="55423" y="-2296"/>
                  </a:cubicBezTo>
                  <a:lnTo>
                    <a:pt x="-3236" y="-1823"/>
                  </a:lnTo>
                  <a:cubicBezTo>
                    <a:pt x="12735" y="9424"/>
                    <a:pt x="29217" y="19223"/>
                    <a:pt x="46172" y="27262"/>
                  </a:cubicBezTo>
                  <a:cubicBezTo>
                    <a:pt x="53449" y="30699"/>
                    <a:pt x="61115" y="32330"/>
                    <a:pt x="68651" y="32330"/>
                  </a:cubicBezTo>
                  <a:cubicBezTo>
                    <a:pt x="71989" y="32330"/>
                    <a:pt x="75303" y="32010"/>
                    <a:pt x="78549" y="31385"/>
                  </a:cubicBezTo>
                  <a:lnTo>
                    <a:pt x="78458" y="20374"/>
                  </a:lnTo>
                  <a:cubicBezTo>
                    <a:pt x="78359" y="7862"/>
                    <a:pt x="68087" y="-2303"/>
                    <a:pt x="55606" y="-2296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0F9E603E-FFE8-94DA-F584-939A71FFDA22}"/>
                </a:ext>
              </a:extLst>
            </p:cNvPr>
            <p:cNvSpPr/>
            <p:nvPr/>
          </p:nvSpPr>
          <p:spPr>
            <a:xfrm flipV="1">
              <a:off x="4752071" y="5428930"/>
              <a:ext cx="96775" cy="72569"/>
            </a:xfrm>
            <a:custGeom>
              <a:avLst/>
              <a:gdLst>
                <a:gd name="connsiteX0" fmla="*/ 44002 w 145283"/>
                <a:gd name="connsiteY0" fmla="*/ -1910 h 108943"/>
                <a:gd name="connsiteX1" fmla="*/ 19245 w 145283"/>
                <a:gd name="connsiteY1" fmla="*/ -1704 h 108943"/>
                <a:gd name="connsiteX2" fmla="*/ -3425 w 145283"/>
                <a:gd name="connsiteY2" fmla="*/ 21339 h 108943"/>
                <a:gd name="connsiteX3" fmla="*/ -2922 w 145283"/>
                <a:gd name="connsiteY3" fmla="*/ 84356 h 108943"/>
                <a:gd name="connsiteX4" fmla="*/ 19938 w 145283"/>
                <a:gd name="connsiteY4" fmla="*/ 107033 h 108943"/>
                <a:gd name="connsiteX5" fmla="*/ 20128 w 145283"/>
                <a:gd name="connsiteY5" fmla="*/ 107026 h 108943"/>
                <a:gd name="connsiteX6" fmla="*/ 141858 w 145283"/>
                <a:gd name="connsiteY6" fmla="*/ 106050 h 108943"/>
                <a:gd name="connsiteX7" fmla="*/ 44002 w 145283"/>
                <a:gd name="connsiteY7" fmla="*/ -1910 h 108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83" h="108943">
                  <a:moveTo>
                    <a:pt x="44002" y="-1910"/>
                  </a:moveTo>
                  <a:lnTo>
                    <a:pt x="19245" y="-1704"/>
                  </a:lnTo>
                  <a:cubicBezTo>
                    <a:pt x="6679" y="-1605"/>
                    <a:pt x="-3532" y="8766"/>
                    <a:pt x="-3425" y="21339"/>
                  </a:cubicBezTo>
                  <a:lnTo>
                    <a:pt x="-2922" y="84356"/>
                  </a:lnTo>
                  <a:cubicBezTo>
                    <a:pt x="-2815" y="96868"/>
                    <a:pt x="7449" y="107033"/>
                    <a:pt x="19938" y="107033"/>
                  </a:cubicBezTo>
                  <a:cubicBezTo>
                    <a:pt x="19999" y="107033"/>
                    <a:pt x="20068" y="107033"/>
                    <a:pt x="20128" y="107026"/>
                  </a:cubicBezTo>
                  <a:lnTo>
                    <a:pt x="141858" y="106050"/>
                  </a:lnTo>
                  <a:cubicBezTo>
                    <a:pt x="103148" y="70396"/>
                    <a:pt x="71487" y="34918"/>
                    <a:pt x="44002" y="-1910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AE5A8A10-1610-D44D-4A76-263986DD40AF}"/>
                </a:ext>
              </a:extLst>
            </p:cNvPr>
            <p:cNvSpPr/>
            <p:nvPr/>
          </p:nvSpPr>
          <p:spPr>
            <a:xfrm flipV="1">
              <a:off x="4608486" y="5427773"/>
              <a:ext cx="109120" cy="73066"/>
            </a:xfrm>
            <a:custGeom>
              <a:avLst/>
              <a:gdLst>
                <a:gd name="connsiteX0" fmla="*/ 137253 w 163815"/>
                <a:gd name="connsiteY0" fmla="*/ -1912 h 109689"/>
                <a:gd name="connsiteX1" fmla="*/ 137070 w 163815"/>
                <a:gd name="connsiteY1" fmla="*/ -1912 h 109689"/>
                <a:gd name="connsiteX2" fmla="*/ 133344 w 163815"/>
                <a:gd name="connsiteY2" fmla="*/ -1881 h 109689"/>
                <a:gd name="connsiteX3" fmla="*/ 160265 w 163815"/>
                <a:gd name="connsiteY3" fmla="*/ 38794 h 109689"/>
                <a:gd name="connsiteX4" fmla="*/ 160121 w 163815"/>
                <a:gd name="connsiteY4" fmla="*/ 20765 h 109689"/>
                <a:gd name="connsiteX5" fmla="*/ 137253 w 163815"/>
                <a:gd name="connsiteY5" fmla="*/ -1912 h 109689"/>
                <a:gd name="connsiteX6" fmla="*/ 112480 w 163815"/>
                <a:gd name="connsiteY6" fmla="*/ -1714 h 109689"/>
                <a:gd name="connsiteX7" fmla="*/ 19303 w 163815"/>
                <a:gd name="connsiteY7" fmla="*/ -967 h 109689"/>
                <a:gd name="connsiteX8" fmla="*/ -1515 w 163815"/>
                <a:gd name="connsiteY8" fmla="*/ 12894 h 109689"/>
                <a:gd name="connsiteX9" fmla="*/ 59636 w 163815"/>
                <a:gd name="connsiteY9" fmla="*/ 107458 h 109689"/>
                <a:gd name="connsiteX10" fmla="*/ 137947 w 163815"/>
                <a:gd name="connsiteY10" fmla="*/ 106825 h 109689"/>
                <a:gd name="connsiteX11" fmla="*/ 160624 w 163815"/>
                <a:gd name="connsiteY11" fmla="*/ 83783 h 109689"/>
                <a:gd name="connsiteX12" fmla="*/ 160486 w 163815"/>
                <a:gd name="connsiteY12" fmla="*/ 66599 h 109689"/>
                <a:gd name="connsiteX13" fmla="*/ 112480 w 163815"/>
                <a:gd name="connsiteY13" fmla="*/ -1714 h 109689"/>
                <a:gd name="connsiteX14" fmla="*/ -3191 w 163815"/>
                <a:gd name="connsiteY14" fmla="*/ 44974 h 109689"/>
                <a:gd name="connsiteX15" fmla="*/ -2863 w 163815"/>
                <a:gd name="connsiteY15" fmla="*/ 85101 h 109689"/>
                <a:gd name="connsiteX16" fmla="*/ 19981 w 163815"/>
                <a:gd name="connsiteY16" fmla="*/ 107778 h 109689"/>
                <a:gd name="connsiteX17" fmla="*/ 20172 w 163815"/>
                <a:gd name="connsiteY17" fmla="*/ 107770 h 109689"/>
                <a:gd name="connsiteX18" fmla="*/ 38056 w 163815"/>
                <a:gd name="connsiteY18" fmla="*/ 107633 h 109689"/>
                <a:gd name="connsiteX19" fmla="*/ -3191 w 163815"/>
                <a:gd name="connsiteY19" fmla="*/ 44974 h 10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3815" h="109689">
                  <a:moveTo>
                    <a:pt x="137253" y="-1912"/>
                  </a:moveTo>
                  <a:cubicBezTo>
                    <a:pt x="137192" y="-1912"/>
                    <a:pt x="137131" y="-1912"/>
                    <a:pt x="137070" y="-1912"/>
                  </a:cubicBezTo>
                  <a:lnTo>
                    <a:pt x="133344" y="-1881"/>
                  </a:lnTo>
                  <a:cubicBezTo>
                    <a:pt x="141932" y="11842"/>
                    <a:pt x="150870" y="25398"/>
                    <a:pt x="160265" y="38794"/>
                  </a:cubicBezTo>
                  <a:lnTo>
                    <a:pt x="160121" y="20765"/>
                  </a:lnTo>
                  <a:cubicBezTo>
                    <a:pt x="160014" y="8253"/>
                    <a:pt x="149750" y="-1912"/>
                    <a:pt x="137253" y="-1912"/>
                  </a:cubicBezTo>
                  <a:moveTo>
                    <a:pt x="112480" y="-1714"/>
                  </a:moveTo>
                  <a:lnTo>
                    <a:pt x="19303" y="-967"/>
                  </a:lnTo>
                  <a:cubicBezTo>
                    <a:pt x="9984" y="-891"/>
                    <a:pt x="1975" y="4824"/>
                    <a:pt x="-1515" y="12894"/>
                  </a:cubicBezTo>
                  <a:cubicBezTo>
                    <a:pt x="17756" y="46429"/>
                    <a:pt x="38125" y="77931"/>
                    <a:pt x="59636" y="107458"/>
                  </a:cubicBezTo>
                  <a:lnTo>
                    <a:pt x="137947" y="106825"/>
                  </a:lnTo>
                  <a:cubicBezTo>
                    <a:pt x="150527" y="106727"/>
                    <a:pt x="160730" y="96356"/>
                    <a:pt x="160624" y="83783"/>
                  </a:cubicBezTo>
                  <a:lnTo>
                    <a:pt x="160486" y="66599"/>
                  </a:lnTo>
                  <a:cubicBezTo>
                    <a:pt x="143791" y="45149"/>
                    <a:pt x="127797" y="22373"/>
                    <a:pt x="112480" y="-1714"/>
                  </a:cubicBezTo>
                  <a:moveTo>
                    <a:pt x="-3191" y="44974"/>
                  </a:moveTo>
                  <a:lnTo>
                    <a:pt x="-2863" y="85101"/>
                  </a:lnTo>
                  <a:cubicBezTo>
                    <a:pt x="-2764" y="97605"/>
                    <a:pt x="7500" y="107778"/>
                    <a:pt x="19981" y="107778"/>
                  </a:cubicBezTo>
                  <a:cubicBezTo>
                    <a:pt x="20050" y="107778"/>
                    <a:pt x="20111" y="107778"/>
                    <a:pt x="20172" y="107770"/>
                  </a:cubicBezTo>
                  <a:lnTo>
                    <a:pt x="38056" y="107633"/>
                  </a:lnTo>
                  <a:cubicBezTo>
                    <a:pt x="23045" y="87326"/>
                    <a:pt x="9237" y="66112"/>
                    <a:pt x="-3191" y="44974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C3853195-32D5-DF6F-C37B-2234D97FF550}"/>
                </a:ext>
              </a:extLst>
            </p:cNvPr>
            <p:cNvSpPr/>
            <p:nvPr/>
          </p:nvSpPr>
          <p:spPr>
            <a:xfrm flipV="1">
              <a:off x="4464764" y="5426615"/>
              <a:ext cx="109968" cy="73071"/>
            </a:xfrm>
            <a:custGeom>
              <a:avLst/>
              <a:gdLst>
                <a:gd name="connsiteX0" fmla="*/ 138786 w 165088"/>
                <a:gd name="connsiteY0" fmla="*/ -1914 h 109697"/>
                <a:gd name="connsiteX1" fmla="*/ 138596 w 165088"/>
                <a:gd name="connsiteY1" fmla="*/ -1914 h 109697"/>
                <a:gd name="connsiteX2" fmla="*/ 19731 w 165088"/>
                <a:gd name="connsiteY2" fmla="*/ -954 h 109697"/>
                <a:gd name="connsiteX3" fmla="*/ -2946 w 165088"/>
                <a:gd name="connsiteY3" fmla="*/ 22081 h 109697"/>
                <a:gd name="connsiteX4" fmla="*/ -2435 w 165088"/>
                <a:gd name="connsiteY4" fmla="*/ 85106 h 109697"/>
                <a:gd name="connsiteX5" fmla="*/ 20425 w 165088"/>
                <a:gd name="connsiteY5" fmla="*/ 107783 h 109697"/>
                <a:gd name="connsiteX6" fmla="*/ 20608 w 165088"/>
                <a:gd name="connsiteY6" fmla="*/ 107783 h 109697"/>
                <a:gd name="connsiteX7" fmla="*/ 101128 w 165088"/>
                <a:gd name="connsiteY7" fmla="*/ 107135 h 109697"/>
                <a:gd name="connsiteX8" fmla="*/ 68248 w 165088"/>
                <a:gd name="connsiteY8" fmla="*/ 21182 h 109697"/>
                <a:gd name="connsiteX9" fmla="*/ 74481 w 165088"/>
                <a:gd name="connsiteY9" fmla="*/ 14369 h 109697"/>
                <a:gd name="connsiteX10" fmla="*/ 81354 w 165088"/>
                <a:gd name="connsiteY10" fmla="*/ 18210 h 109697"/>
                <a:gd name="connsiteX11" fmla="*/ 128941 w 165088"/>
                <a:gd name="connsiteY11" fmla="*/ 106907 h 109697"/>
                <a:gd name="connsiteX12" fmla="*/ 139465 w 165088"/>
                <a:gd name="connsiteY12" fmla="*/ 106823 h 109697"/>
                <a:gd name="connsiteX13" fmla="*/ 162141 w 165088"/>
                <a:gd name="connsiteY13" fmla="*/ 83780 h 109697"/>
                <a:gd name="connsiteX14" fmla="*/ 161631 w 165088"/>
                <a:gd name="connsiteY14" fmla="*/ 20763 h 109697"/>
                <a:gd name="connsiteX15" fmla="*/ 138786 w 165088"/>
                <a:gd name="connsiteY15" fmla="*/ -1914 h 109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5088" h="109697">
                  <a:moveTo>
                    <a:pt x="138786" y="-1914"/>
                  </a:moveTo>
                  <a:cubicBezTo>
                    <a:pt x="138725" y="-1914"/>
                    <a:pt x="138657" y="-1914"/>
                    <a:pt x="138596" y="-1914"/>
                  </a:cubicBezTo>
                  <a:lnTo>
                    <a:pt x="19731" y="-954"/>
                  </a:lnTo>
                  <a:cubicBezTo>
                    <a:pt x="7166" y="-855"/>
                    <a:pt x="-3045" y="9508"/>
                    <a:pt x="-2946" y="22081"/>
                  </a:cubicBezTo>
                  <a:lnTo>
                    <a:pt x="-2435" y="85106"/>
                  </a:lnTo>
                  <a:cubicBezTo>
                    <a:pt x="-2336" y="97618"/>
                    <a:pt x="7936" y="107783"/>
                    <a:pt x="20425" y="107783"/>
                  </a:cubicBezTo>
                  <a:cubicBezTo>
                    <a:pt x="20486" y="107783"/>
                    <a:pt x="20547" y="107783"/>
                    <a:pt x="20608" y="107783"/>
                  </a:cubicBezTo>
                  <a:lnTo>
                    <a:pt x="101128" y="107135"/>
                  </a:lnTo>
                  <a:cubicBezTo>
                    <a:pt x="86528" y="80907"/>
                    <a:pt x="76600" y="52279"/>
                    <a:pt x="68248" y="21182"/>
                  </a:cubicBezTo>
                  <a:cubicBezTo>
                    <a:pt x="69284" y="17875"/>
                    <a:pt x="71174" y="14369"/>
                    <a:pt x="74481" y="14369"/>
                  </a:cubicBezTo>
                  <a:cubicBezTo>
                    <a:pt x="76310" y="14369"/>
                    <a:pt x="78565" y="15436"/>
                    <a:pt x="81354" y="18210"/>
                  </a:cubicBezTo>
                  <a:cubicBezTo>
                    <a:pt x="94666" y="46930"/>
                    <a:pt x="110638" y="77044"/>
                    <a:pt x="128941" y="106907"/>
                  </a:cubicBezTo>
                  <a:lnTo>
                    <a:pt x="139465" y="106823"/>
                  </a:lnTo>
                  <a:cubicBezTo>
                    <a:pt x="152038" y="106716"/>
                    <a:pt x="162241" y="96345"/>
                    <a:pt x="162141" y="83780"/>
                  </a:cubicBezTo>
                  <a:lnTo>
                    <a:pt x="161631" y="20763"/>
                  </a:lnTo>
                  <a:cubicBezTo>
                    <a:pt x="161532" y="8251"/>
                    <a:pt x="151268" y="-1914"/>
                    <a:pt x="138786" y="-1914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3C47D407-ECED-FFCB-754B-CDB0D8641173}"/>
                </a:ext>
              </a:extLst>
            </p:cNvPr>
            <p:cNvSpPr/>
            <p:nvPr/>
          </p:nvSpPr>
          <p:spPr>
            <a:xfrm flipV="1">
              <a:off x="4047808" y="5403256"/>
              <a:ext cx="677833" cy="762052"/>
            </a:xfrm>
            <a:custGeom>
              <a:avLst/>
              <a:gdLst>
                <a:gd name="connsiteX0" fmla="*/ 935135 w 1017589"/>
                <a:gd name="connsiteY0" fmla="*/ 764018 h 1144022"/>
                <a:gd name="connsiteX1" fmla="*/ 986326 w 1017589"/>
                <a:gd name="connsiteY1" fmla="*/ 876284 h 1144022"/>
                <a:gd name="connsiteX2" fmla="*/ 969882 w 1017589"/>
                <a:gd name="connsiteY2" fmla="*/ 942555 h 1144022"/>
                <a:gd name="connsiteX3" fmla="*/ 1014871 w 1017589"/>
                <a:gd name="connsiteY3" fmla="*/ 1005504 h 1144022"/>
                <a:gd name="connsiteX4" fmla="*/ 929458 w 1017589"/>
                <a:gd name="connsiteY4" fmla="*/ 1008948 h 1144022"/>
                <a:gd name="connsiteX5" fmla="*/ 891343 w 1017589"/>
                <a:gd name="connsiteY5" fmla="*/ 1025811 h 1144022"/>
                <a:gd name="connsiteX6" fmla="*/ 868064 w 1017589"/>
                <a:gd name="connsiteY6" fmla="*/ 1073375 h 1144022"/>
                <a:gd name="connsiteX7" fmla="*/ 792618 w 1017589"/>
                <a:gd name="connsiteY7" fmla="*/ 1061404 h 1144022"/>
                <a:gd name="connsiteX8" fmla="*/ 765247 w 1017589"/>
                <a:gd name="connsiteY8" fmla="*/ 1061404 h 1144022"/>
                <a:gd name="connsiteX9" fmla="*/ 752606 w 1017589"/>
                <a:gd name="connsiteY9" fmla="*/ 1066494 h 1144022"/>
                <a:gd name="connsiteX10" fmla="*/ 725402 w 1017589"/>
                <a:gd name="connsiteY10" fmla="*/ 1111284 h 1144022"/>
                <a:gd name="connsiteX11" fmla="*/ 655778 w 1017589"/>
                <a:gd name="connsiteY11" fmla="*/ 1106362 h 1144022"/>
                <a:gd name="connsiteX12" fmla="*/ 637536 w 1017589"/>
                <a:gd name="connsiteY12" fmla="*/ 1113860 h 1144022"/>
                <a:gd name="connsiteX13" fmla="*/ 611994 w 1017589"/>
                <a:gd name="connsiteY13" fmla="*/ 1102659 h 1144022"/>
                <a:gd name="connsiteX14" fmla="*/ 603452 w 1017589"/>
                <a:gd name="connsiteY14" fmla="*/ 1133703 h 1144022"/>
                <a:gd name="connsiteX15" fmla="*/ 579906 w 1017589"/>
                <a:gd name="connsiteY15" fmla="*/ 1142389 h 1144022"/>
                <a:gd name="connsiteX16" fmla="*/ 551361 w 1017589"/>
                <a:gd name="connsiteY16" fmla="*/ 1138366 h 1144022"/>
                <a:gd name="connsiteX17" fmla="*/ 540419 w 1017589"/>
                <a:gd name="connsiteY17" fmla="*/ 1132278 h 1144022"/>
                <a:gd name="connsiteX18" fmla="*/ 536540 w 1017589"/>
                <a:gd name="connsiteY18" fmla="*/ 1129916 h 1144022"/>
                <a:gd name="connsiteX19" fmla="*/ 361776 w 1017589"/>
                <a:gd name="connsiteY19" fmla="*/ 784531 h 1144022"/>
                <a:gd name="connsiteX20" fmla="*/ 361989 w 1017589"/>
                <a:gd name="connsiteY20" fmla="*/ 639264 h 1144022"/>
                <a:gd name="connsiteX21" fmla="*/ 251583 w 1017589"/>
                <a:gd name="connsiteY21" fmla="*/ 460133 h 1144022"/>
                <a:gd name="connsiteX22" fmla="*/ 190166 w 1017589"/>
                <a:gd name="connsiteY22" fmla="*/ 410618 h 1144022"/>
                <a:gd name="connsiteX23" fmla="*/ -2719 w 1017589"/>
                <a:gd name="connsiteY23" fmla="*/ 53903 h 1144022"/>
                <a:gd name="connsiteX24" fmla="*/ 232579 w 1017589"/>
                <a:gd name="connsiteY24" fmla="*/ -1197 h 1144022"/>
                <a:gd name="connsiteX25" fmla="*/ 543993 w 1017589"/>
                <a:gd name="connsiteY25" fmla="*/ 235823 h 1144022"/>
                <a:gd name="connsiteX26" fmla="*/ 596502 w 1017589"/>
                <a:gd name="connsiteY26" fmla="*/ 348728 h 1144022"/>
                <a:gd name="connsiteX27" fmla="*/ 689984 w 1017589"/>
                <a:gd name="connsiteY27" fmla="*/ 493485 h 1144022"/>
                <a:gd name="connsiteX28" fmla="*/ 799461 w 1017589"/>
                <a:gd name="connsiteY28" fmla="*/ 516315 h 1144022"/>
                <a:gd name="connsiteX29" fmla="*/ 1006755 w 1017589"/>
                <a:gd name="connsiteY29" fmla="*/ 644628 h 1144022"/>
                <a:gd name="connsiteX30" fmla="*/ 935135 w 1017589"/>
                <a:gd name="connsiteY30" fmla="*/ 764018 h 114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17589" h="1144022">
                  <a:moveTo>
                    <a:pt x="935135" y="764018"/>
                  </a:moveTo>
                  <a:lnTo>
                    <a:pt x="986326" y="876284"/>
                  </a:lnTo>
                  <a:lnTo>
                    <a:pt x="969882" y="942555"/>
                  </a:lnTo>
                  <a:lnTo>
                    <a:pt x="1014871" y="1005504"/>
                  </a:lnTo>
                  <a:lnTo>
                    <a:pt x="929458" y="1008948"/>
                  </a:lnTo>
                  <a:cubicBezTo>
                    <a:pt x="912923" y="998646"/>
                    <a:pt x="899451" y="1008491"/>
                    <a:pt x="891343" y="1025811"/>
                  </a:cubicBezTo>
                  <a:cubicBezTo>
                    <a:pt x="885506" y="1040449"/>
                    <a:pt x="885780" y="1063202"/>
                    <a:pt x="868064" y="1073375"/>
                  </a:cubicBezTo>
                  <a:cubicBezTo>
                    <a:pt x="833012" y="1092585"/>
                    <a:pt x="822550" y="1084089"/>
                    <a:pt x="792618" y="1061404"/>
                  </a:cubicBezTo>
                  <a:cubicBezTo>
                    <a:pt x="775519" y="1040563"/>
                    <a:pt x="759974" y="1056535"/>
                    <a:pt x="765247" y="1061404"/>
                  </a:cubicBezTo>
                  <a:cubicBezTo>
                    <a:pt x="765125" y="1063972"/>
                    <a:pt x="753528" y="1063545"/>
                    <a:pt x="752606" y="1066494"/>
                  </a:cubicBezTo>
                  <a:cubicBezTo>
                    <a:pt x="748110" y="1082992"/>
                    <a:pt x="743888" y="1100746"/>
                    <a:pt x="725402" y="1111284"/>
                  </a:cubicBezTo>
                  <a:cubicBezTo>
                    <a:pt x="694785" y="1128910"/>
                    <a:pt x="681915" y="1126166"/>
                    <a:pt x="655778" y="1106362"/>
                  </a:cubicBezTo>
                  <a:cubicBezTo>
                    <a:pt x="640096" y="1092318"/>
                    <a:pt x="637536" y="1113860"/>
                    <a:pt x="637536" y="1113860"/>
                  </a:cubicBezTo>
                  <a:cubicBezTo>
                    <a:pt x="637536" y="1113860"/>
                    <a:pt x="615423" y="1098140"/>
                    <a:pt x="611994" y="1102659"/>
                  </a:cubicBezTo>
                  <a:cubicBezTo>
                    <a:pt x="607696" y="1110210"/>
                    <a:pt x="612413" y="1128140"/>
                    <a:pt x="603452" y="1133703"/>
                  </a:cubicBezTo>
                  <a:cubicBezTo>
                    <a:pt x="594010" y="1138107"/>
                    <a:pt x="586207" y="1141033"/>
                    <a:pt x="579906" y="1142389"/>
                  </a:cubicBezTo>
                  <a:cubicBezTo>
                    <a:pt x="570205" y="1143609"/>
                    <a:pt x="560711" y="1142268"/>
                    <a:pt x="551361" y="1138366"/>
                  </a:cubicBezTo>
                  <a:cubicBezTo>
                    <a:pt x="547803" y="1137132"/>
                    <a:pt x="544160" y="1135082"/>
                    <a:pt x="540419" y="1132278"/>
                  </a:cubicBezTo>
                  <a:cubicBezTo>
                    <a:pt x="536540" y="1129916"/>
                    <a:pt x="541455" y="1133550"/>
                    <a:pt x="536540" y="1129916"/>
                  </a:cubicBezTo>
                  <a:lnTo>
                    <a:pt x="361776" y="784531"/>
                  </a:lnTo>
                  <a:cubicBezTo>
                    <a:pt x="338260" y="720005"/>
                    <a:pt x="343320" y="683201"/>
                    <a:pt x="361989" y="639264"/>
                  </a:cubicBezTo>
                  <a:cubicBezTo>
                    <a:pt x="323340" y="579226"/>
                    <a:pt x="292540" y="519492"/>
                    <a:pt x="251583" y="460133"/>
                  </a:cubicBezTo>
                  <a:cubicBezTo>
                    <a:pt x="238995" y="441868"/>
                    <a:pt x="203188" y="428837"/>
                    <a:pt x="190166" y="410618"/>
                  </a:cubicBezTo>
                  <a:cubicBezTo>
                    <a:pt x="112030" y="299427"/>
                    <a:pt x="83318" y="162648"/>
                    <a:pt x="-2719" y="53903"/>
                  </a:cubicBezTo>
                  <a:lnTo>
                    <a:pt x="232579" y="-1197"/>
                  </a:lnTo>
                  <a:lnTo>
                    <a:pt x="543993" y="235823"/>
                  </a:lnTo>
                  <a:lnTo>
                    <a:pt x="596502" y="348728"/>
                  </a:lnTo>
                  <a:lnTo>
                    <a:pt x="689984" y="493485"/>
                  </a:lnTo>
                  <a:cubicBezTo>
                    <a:pt x="710665" y="485896"/>
                    <a:pt x="763068" y="496800"/>
                    <a:pt x="799461" y="516315"/>
                  </a:cubicBezTo>
                  <a:lnTo>
                    <a:pt x="1006755" y="644628"/>
                  </a:lnTo>
                  <a:lnTo>
                    <a:pt x="935135" y="764018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4EE362CF-CCD5-947B-E720-9BF95DB0E2B8}"/>
                </a:ext>
              </a:extLst>
            </p:cNvPr>
            <p:cNvSpPr/>
            <p:nvPr/>
          </p:nvSpPr>
          <p:spPr>
            <a:xfrm flipV="1">
              <a:off x="4654824" y="5328738"/>
              <a:ext cx="220345" cy="259231"/>
            </a:xfrm>
            <a:custGeom>
              <a:avLst/>
              <a:gdLst>
                <a:gd name="connsiteX0" fmla="*/ 327426 w 330791"/>
                <a:gd name="connsiteY0" fmla="*/ 387244 h 389168"/>
                <a:gd name="connsiteX1" fmla="*/ -3365 w 330791"/>
                <a:gd name="connsiteY1" fmla="*/ -1925 h 38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0791" h="389168">
                  <a:moveTo>
                    <a:pt x="327426" y="387244"/>
                  </a:moveTo>
                  <a:cubicBezTo>
                    <a:pt x="157882" y="269423"/>
                    <a:pt x="86612" y="159131"/>
                    <a:pt x="-3365" y="-1925"/>
                  </a:cubicBezTo>
                </a:path>
              </a:pathLst>
            </a:custGeom>
            <a:noFill/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E11015AF-BBB9-4396-359B-70FBFB7D1B1E}"/>
                </a:ext>
              </a:extLst>
            </p:cNvPr>
            <p:cNvSpPr/>
            <p:nvPr/>
          </p:nvSpPr>
          <p:spPr>
            <a:xfrm flipV="1">
              <a:off x="4490532" y="5260641"/>
              <a:ext cx="206979" cy="284316"/>
            </a:xfrm>
            <a:custGeom>
              <a:avLst/>
              <a:gdLst>
                <a:gd name="connsiteX0" fmla="*/ 307652 w 310725"/>
                <a:gd name="connsiteY0" fmla="*/ 424777 h 426826"/>
                <a:gd name="connsiteX1" fmla="*/ 3622 w 310725"/>
                <a:gd name="connsiteY1" fmla="*/ -2049 h 426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725" h="426826">
                  <a:moveTo>
                    <a:pt x="307652" y="424777"/>
                  </a:moveTo>
                  <a:cubicBezTo>
                    <a:pt x="107627" y="329527"/>
                    <a:pt x="-36375" y="34313"/>
                    <a:pt x="3622" y="-2049"/>
                  </a:cubicBezTo>
                </a:path>
              </a:pathLst>
            </a:custGeom>
            <a:noFill/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EB10F2E4-3671-BBEC-11F2-13090BD195D0}"/>
                </a:ext>
              </a:extLst>
            </p:cNvPr>
            <p:cNvSpPr/>
            <p:nvPr/>
          </p:nvSpPr>
          <p:spPr>
            <a:xfrm flipV="1">
              <a:off x="4406546" y="5275498"/>
              <a:ext cx="153918" cy="254897"/>
            </a:xfrm>
            <a:custGeom>
              <a:avLst/>
              <a:gdLst>
                <a:gd name="connsiteX0" fmla="*/ 228184 w 231068"/>
                <a:gd name="connsiteY0" fmla="*/ 380612 h 382661"/>
                <a:gd name="connsiteX1" fmla="*/ 98370 w 231068"/>
                <a:gd name="connsiteY1" fmla="*/ 271997 h 382661"/>
                <a:gd name="connsiteX2" fmla="*/ -2885 w 231068"/>
                <a:gd name="connsiteY2" fmla="*/ -2049 h 38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1068" h="382661">
                  <a:moveTo>
                    <a:pt x="228184" y="380612"/>
                  </a:moveTo>
                  <a:cubicBezTo>
                    <a:pt x="181725" y="353630"/>
                    <a:pt x="131608" y="316505"/>
                    <a:pt x="98370" y="271997"/>
                  </a:cubicBezTo>
                  <a:cubicBezTo>
                    <a:pt x="40176" y="194067"/>
                    <a:pt x="33577" y="102825"/>
                    <a:pt x="-2885" y="-2049"/>
                  </a:cubicBezTo>
                </a:path>
              </a:pathLst>
            </a:custGeom>
            <a:noFill/>
            <a:ln w="101401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F69F049B-18CC-EE69-C97E-C449047AAFC2}"/>
                </a:ext>
              </a:extLst>
            </p:cNvPr>
            <p:cNvSpPr/>
            <p:nvPr/>
          </p:nvSpPr>
          <p:spPr>
            <a:xfrm flipV="1">
              <a:off x="4567901" y="5270793"/>
              <a:ext cx="246354" cy="281555"/>
            </a:xfrm>
            <a:custGeom>
              <a:avLst/>
              <a:gdLst>
                <a:gd name="connsiteX0" fmla="*/ 366598 w 369836"/>
                <a:gd name="connsiteY0" fmla="*/ 420652 h 422681"/>
                <a:gd name="connsiteX1" fmla="*/ -3239 w 369836"/>
                <a:gd name="connsiteY1" fmla="*/ -2030 h 422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9836" h="422681">
                  <a:moveTo>
                    <a:pt x="366598" y="420652"/>
                  </a:moveTo>
                  <a:cubicBezTo>
                    <a:pt x="197159" y="323657"/>
                    <a:pt x="85374" y="177376"/>
                    <a:pt x="-3239" y="-2030"/>
                  </a:cubicBezTo>
                </a:path>
              </a:pathLst>
            </a:custGeom>
            <a:solidFill>
              <a:srgbClr val="E8E4E2">
                <a:lumMod val="75000"/>
              </a:srgbClr>
            </a:solidFill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DB6D7BCF-4598-C9B8-3682-A5B0B93A5969}"/>
                </a:ext>
              </a:extLst>
            </p:cNvPr>
            <p:cNvSpPr/>
            <p:nvPr/>
          </p:nvSpPr>
          <p:spPr>
            <a:xfrm flipV="1">
              <a:off x="4646865" y="5550825"/>
              <a:ext cx="210047" cy="174080"/>
            </a:xfrm>
            <a:custGeom>
              <a:avLst/>
              <a:gdLst>
                <a:gd name="connsiteX0" fmla="*/ -3343 w 315330"/>
                <a:gd name="connsiteY0" fmla="*/ -1524 h 261335"/>
                <a:gd name="connsiteX1" fmla="*/ 220068 w 315330"/>
                <a:gd name="connsiteY1" fmla="*/ 114315 h 261335"/>
                <a:gd name="connsiteX2" fmla="*/ 311988 w 315330"/>
                <a:gd name="connsiteY2" fmla="*/ 259811 h 261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5330" h="261335">
                  <a:moveTo>
                    <a:pt x="-3343" y="-1524"/>
                  </a:moveTo>
                  <a:lnTo>
                    <a:pt x="220068" y="114315"/>
                  </a:lnTo>
                  <a:lnTo>
                    <a:pt x="311988" y="259811"/>
                  </a:lnTo>
                </a:path>
              </a:pathLst>
            </a:custGeom>
            <a:noFill/>
            <a:ln w="140559" cap="rnd">
              <a:solidFill>
                <a:srgbClr val="BFBFB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5476F202-A984-45CF-4618-2730EF989429}"/>
                </a:ext>
              </a:extLst>
            </p:cNvPr>
            <p:cNvSpPr/>
            <p:nvPr/>
          </p:nvSpPr>
          <p:spPr>
            <a:xfrm flipV="1">
              <a:off x="4210235" y="5798677"/>
              <a:ext cx="253789" cy="182728"/>
            </a:xfrm>
            <a:custGeom>
              <a:avLst/>
              <a:gdLst>
                <a:gd name="connsiteX0" fmla="*/ 309785 w 380999"/>
                <a:gd name="connsiteY0" fmla="*/ -961 h 274319"/>
                <a:gd name="connsiteX1" fmla="*/ -2635 w 380999"/>
                <a:gd name="connsiteY1" fmla="*/ 159059 h 274319"/>
                <a:gd name="connsiteX2" fmla="*/ 64536 w 380999"/>
                <a:gd name="connsiteY2" fmla="*/ 273359 h 274319"/>
                <a:gd name="connsiteX3" fmla="*/ 378365 w 380999"/>
                <a:gd name="connsiteY3" fmla="*/ 113339 h 274319"/>
                <a:gd name="connsiteX4" fmla="*/ 309785 w 380999"/>
                <a:gd name="connsiteY4" fmla="*/ -961 h 27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999" h="274319">
                  <a:moveTo>
                    <a:pt x="309785" y="-961"/>
                  </a:moveTo>
                  <a:lnTo>
                    <a:pt x="-2635" y="159059"/>
                  </a:lnTo>
                  <a:lnTo>
                    <a:pt x="64536" y="273359"/>
                  </a:lnTo>
                  <a:lnTo>
                    <a:pt x="378365" y="113339"/>
                  </a:lnTo>
                  <a:lnTo>
                    <a:pt x="309785" y="-961"/>
                  </a:ln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BD149CB8-A704-5BFB-6C72-229E2B7C56AA}"/>
                </a:ext>
              </a:extLst>
            </p:cNvPr>
            <p:cNvSpPr/>
            <p:nvPr/>
          </p:nvSpPr>
          <p:spPr>
            <a:xfrm flipV="1">
              <a:off x="3861714" y="5807219"/>
              <a:ext cx="666631" cy="832123"/>
            </a:xfrm>
            <a:custGeom>
              <a:avLst/>
              <a:gdLst>
                <a:gd name="connsiteX0" fmla="*/ -2392 w 1000772"/>
                <a:gd name="connsiteY0" fmla="*/ 250559 h 1249215"/>
                <a:gd name="connsiteX1" fmla="*/ 410703 w 1000772"/>
                <a:gd name="connsiteY1" fmla="*/ 41771 h 1249215"/>
                <a:gd name="connsiteX2" fmla="*/ 493708 w 1000772"/>
                <a:gd name="connsiteY2" fmla="*/ -217 h 1249215"/>
                <a:gd name="connsiteX3" fmla="*/ 998381 w 1000772"/>
                <a:gd name="connsiteY3" fmla="*/ 998232 h 1249215"/>
                <a:gd name="connsiteX4" fmla="*/ 915460 w 1000772"/>
                <a:gd name="connsiteY4" fmla="*/ 1040203 h 1249215"/>
                <a:gd name="connsiteX5" fmla="*/ 502364 w 1000772"/>
                <a:gd name="connsiteY5" fmla="*/ 1248999 h 1249215"/>
                <a:gd name="connsiteX6" fmla="*/ -2392 w 1000772"/>
                <a:gd name="connsiteY6" fmla="*/ 250559 h 1249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772" h="1249215">
                  <a:moveTo>
                    <a:pt x="-2392" y="250559"/>
                  </a:moveTo>
                  <a:lnTo>
                    <a:pt x="410703" y="41771"/>
                  </a:lnTo>
                  <a:lnTo>
                    <a:pt x="493708" y="-217"/>
                  </a:lnTo>
                  <a:lnTo>
                    <a:pt x="998381" y="998232"/>
                  </a:lnTo>
                  <a:lnTo>
                    <a:pt x="915460" y="1040203"/>
                  </a:lnTo>
                  <a:lnTo>
                    <a:pt x="502364" y="1248999"/>
                  </a:lnTo>
                  <a:lnTo>
                    <a:pt x="-2392" y="250559"/>
                  </a:lnTo>
                </a:path>
              </a:pathLst>
            </a:custGeom>
            <a:solidFill>
              <a:srgbClr val="4DA5C3">
                <a:lumMod val="20000"/>
                <a:lumOff val="80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81984319-8FF6-6DDC-0357-8FB5F9CAD0D0}"/>
                </a:ext>
              </a:extLst>
            </p:cNvPr>
            <p:cNvSpPr/>
            <p:nvPr/>
          </p:nvSpPr>
          <p:spPr>
            <a:xfrm flipV="1">
              <a:off x="3861714" y="5800626"/>
              <a:ext cx="611396" cy="810748"/>
            </a:xfrm>
            <a:custGeom>
              <a:avLst/>
              <a:gdLst>
                <a:gd name="connsiteX0" fmla="*/ -2345 w 917851"/>
                <a:gd name="connsiteY0" fmla="*/ 208532 h 1217126"/>
                <a:gd name="connsiteX1" fmla="*/ 410751 w 917851"/>
                <a:gd name="connsiteY1" fmla="*/ -256 h 1217126"/>
                <a:gd name="connsiteX2" fmla="*/ 915507 w 917851"/>
                <a:gd name="connsiteY2" fmla="*/ 998177 h 1217126"/>
                <a:gd name="connsiteX3" fmla="*/ 482821 w 917851"/>
                <a:gd name="connsiteY3" fmla="*/ 1216871 h 1217126"/>
                <a:gd name="connsiteX4" fmla="*/ -2345 w 917851"/>
                <a:gd name="connsiteY4" fmla="*/ 208532 h 121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7851" h="1217126">
                  <a:moveTo>
                    <a:pt x="-2345" y="208532"/>
                  </a:moveTo>
                  <a:lnTo>
                    <a:pt x="410751" y="-256"/>
                  </a:lnTo>
                  <a:lnTo>
                    <a:pt x="915507" y="998177"/>
                  </a:lnTo>
                  <a:lnTo>
                    <a:pt x="482821" y="1216871"/>
                  </a:lnTo>
                  <a:lnTo>
                    <a:pt x="-2345" y="208532"/>
                  </a:ln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85CB249F-DD25-1525-0E29-BF3A8835B363}"/>
                </a:ext>
              </a:extLst>
            </p:cNvPr>
            <p:cNvSpPr/>
            <p:nvPr/>
          </p:nvSpPr>
          <p:spPr>
            <a:xfrm flipV="1">
              <a:off x="3641145" y="5920359"/>
              <a:ext cx="839483" cy="937654"/>
            </a:xfrm>
            <a:custGeom>
              <a:avLst/>
              <a:gdLst>
                <a:gd name="connsiteX0" fmla="*/ 1258101 w 1260264"/>
                <a:gd name="connsiteY0" fmla="*/ 1139564 h 1407642"/>
                <a:gd name="connsiteX1" fmla="*/ 673960 w 1260264"/>
                <a:gd name="connsiteY1" fmla="*/ 153 h 1407642"/>
                <a:gd name="connsiteX2" fmla="*/ -2163 w 1260264"/>
                <a:gd name="connsiteY2" fmla="*/ 153 h 1407642"/>
                <a:gd name="connsiteX3" fmla="*/ 727528 w 1260264"/>
                <a:gd name="connsiteY3" fmla="*/ 1407796 h 1407642"/>
                <a:gd name="connsiteX4" fmla="*/ 848610 w 1260264"/>
                <a:gd name="connsiteY4" fmla="*/ 1346523 h 1407642"/>
                <a:gd name="connsiteX5" fmla="*/ 1119036 w 1260264"/>
                <a:gd name="connsiteY5" fmla="*/ 1209828 h 1407642"/>
                <a:gd name="connsiteX6" fmla="*/ 1258101 w 1260264"/>
                <a:gd name="connsiteY6" fmla="*/ 1139564 h 140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0264" h="1407642">
                  <a:moveTo>
                    <a:pt x="1258101" y="1139564"/>
                  </a:moveTo>
                  <a:lnTo>
                    <a:pt x="673960" y="153"/>
                  </a:lnTo>
                  <a:lnTo>
                    <a:pt x="-2163" y="153"/>
                  </a:lnTo>
                  <a:lnTo>
                    <a:pt x="727528" y="1407796"/>
                  </a:lnTo>
                  <a:lnTo>
                    <a:pt x="848610" y="1346523"/>
                  </a:lnTo>
                  <a:lnTo>
                    <a:pt x="1119036" y="1209828"/>
                  </a:lnTo>
                  <a:lnTo>
                    <a:pt x="1258101" y="1139564"/>
                  </a:lnTo>
                </a:path>
              </a:pathLst>
            </a:custGeom>
            <a:solidFill>
              <a:srgbClr val="0E5578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7C03B4BC-5D9E-DB53-F45E-0A538CC5622F}"/>
                </a:ext>
              </a:extLst>
            </p:cNvPr>
            <p:cNvSpPr/>
            <p:nvPr/>
          </p:nvSpPr>
          <p:spPr>
            <a:xfrm flipV="1">
              <a:off x="3642210" y="5920359"/>
              <a:ext cx="745783" cy="937654"/>
            </a:xfrm>
            <a:custGeom>
              <a:avLst/>
              <a:gdLst>
                <a:gd name="connsiteX0" fmla="*/ 1117514 w 1119598"/>
                <a:gd name="connsiteY0" fmla="*/ 1209828 h 1407642"/>
                <a:gd name="connsiteX1" fmla="*/ 488712 w 1119598"/>
                <a:gd name="connsiteY1" fmla="*/ 153 h 1407642"/>
                <a:gd name="connsiteX2" fmla="*/ -2085 w 1119598"/>
                <a:gd name="connsiteY2" fmla="*/ 153 h 1407642"/>
                <a:gd name="connsiteX3" fmla="*/ 726006 w 1119598"/>
                <a:gd name="connsiteY3" fmla="*/ 1407796 h 1407642"/>
                <a:gd name="connsiteX4" fmla="*/ 847088 w 1119598"/>
                <a:gd name="connsiteY4" fmla="*/ 1346523 h 1407642"/>
                <a:gd name="connsiteX5" fmla="*/ 1117514 w 1119598"/>
                <a:gd name="connsiteY5" fmla="*/ 1209828 h 140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19598" h="1407642">
                  <a:moveTo>
                    <a:pt x="1117514" y="1209828"/>
                  </a:moveTo>
                  <a:lnTo>
                    <a:pt x="488712" y="153"/>
                  </a:lnTo>
                  <a:lnTo>
                    <a:pt x="-2085" y="153"/>
                  </a:lnTo>
                  <a:lnTo>
                    <a:pt x="726006" y="1407796"/>
                  </a:lnTo>
                  <a:lnTo>
                    <a:pt x="847088" y="1346523"/>
                  </a:lnTo>
                  <a:lnTo>
                    <a:pt x="1117514" y="1209828"/>
                  </a:lnTo>
                </a:path>
              </a:pathLst>
            </a:custGeom>
            <a:solidFill>
              <a:srgbClr val="74B6D6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0BE1FF91-3B48-C6BB-D701-D55AED8BEAED}"/>
                </a:ext>
              </a:extLst>
            </p:cNvPr>
            <p:cNvSpPr/>
            <p:nvPr/>
          </p:nvSpPr>
          <p:spPr>
            <a:xfrm flipV="1">
              <a:off x="6332253" y="5086175"/>
              <a:ext cx="374350" cy="212849"/>
            </a:xfrm>
            <a:custGeom>
              <a:avLst/>
              <a:gdLst>
                <a:gd name="connsiteX0" fmla="*/ 17876 w 561988"/>
                <a:gd name="connsiteY0" fmla="*/ 317019 h 319537"/>
                <a:gd name="connsiteX1" fmla="*/ 31844 w 561988"/>
                <a:gd name="connsiteY1" fmla="*/ 262048 h 319537"/>
                <a:gd name="connsiteX2" fmla="*/ 506478 w 561988"/>
                <a:gd name="connsiteY2" fmla="*/ 39803 h 319537"/>
                <a:gd name="connsiteX3" fmla="*/ 555627 w 561988"/>
                <a:gd name="connsiteY3" fmla="*/ 65223 h 319537"/>
                <a:gd name="connsiteX4" fmla="*/ 536135 w 561988"/>
                <a:gd name="connsiteY4" fmla="*/ 25919 h 319537"/>
                <a:gd name="connsiteX5" fmla="*/ 531411 w 561988"/>
                <a:gd name="connsiteY5" fmla="*/ 18269 h 319537"/>
                <a:gd name="connsiteX6" fmla="*/ 535373 w 561988"/>
                <a:gd name="connsiteY6" fmla="*/ 26270 h 319537"/>
                <a:gd name="connsiteX7" fmla="*/ 485859 w 561988"/>
                <a:gd name="connsiteY7" fmla="*/ 126 h 319537"/>
                <a:gd name="connsiteX8" fmla="*/ 11239 w 561988"/>
                <a:gd name="connsiteY8" fmla="*/ 222371 h 319537"/>
                <a:gd name="connsiteX9" fmla="*/ -3452 w 561988"/>
                <a:gd name="connsiteY9" fmla="*/ 240003 h 319537"/>
                <a:gd name="connsiteX10" fmla="*/ -5189 w 561988"/>
                <a:gd name="connsiteY10" fmla="*/ 268624 h 319537"/>
                <a:gd name="connsiteX11" fmla="*/ -3056 w 561988"/>
                <a:gd name="connsiteY11" fmla="*/ 274804 h 319537"/>
                <a:gd name="connsiteX12" fmla="*/ 17876 w 561988"/>
                <a:gd name="connsiteY12" fmla="*/ 317019 h 319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1988" h="319537">
                  <a:moveTo>
                    <a:pt x="17876" y="317019"/>
                  </a:moveTo>
                  <a:cubicBezTo>
                    <a:pt x="10180" y="288931"/>
                    <a:pt x="14851" y="270605"/>
                    <a:pt x="31844" y="262048"/>
                  </a:cubicBezTo>
                  <a:lnTo>
                    <a:pt x="506478" y="39803"/>
                  </a:lnTo>
                  <a:cubicBezTo>
                    <a:pt x="524462" y="31977"/>
                    <a:pt x="540845" y="40451"/>
                    <a:pt x="555627" y="65223"/>
                  </a:cubicBezTo>
                  <a:lnTo>
                    <a:pt x="536135" y="25919"/>
                  </a:lnTo>
                  <a:cubicBezTo>
                    <a:pt x="534939" y="23489"/>
                    <a:pt x="533347" y="20928"/>
                    <a:pt x="531411" y="18269"/>
                  </a:cubicBezTo>
                  <a:lnTo>
                    <a:pt x="535373" y="26270"/>
                  </a:lnTo>
                  <a:cubicBezTo>
                    <a:pt x="521101" y="1269"/>
                    <a:pt x="504596" y="-7456"/>
                    <a:pt x="485859" y="126"/>
                  </a:cubicBezTo>
                  <a:lnTo>
                    <a:pt x="11239" y="222371"/>
                  </a:lnTo>
                  <a:cubicBezTo>
                    <a:pt x="3871" y="226417"/>
                    <a:pt x="-1029" y="232300"/>
                    <a:pt x="-3452" y="240003"/>
                  </a:cubicBezTo>
                  <a:cubicBezTo>
                    <a:pt x="-6622" y="247479"/>
                    <a:pt x="-7201" y="257011"/>
                    <a:pt x="-5189" y="268624"/>
                  </a:cubicBezTo>
                  <a:cubicBezTo>
                    <a:pt x="-4222" y="270567"/>
                    <a:pt x="-3521" y="272625"/>
                    <a:pt x="-3056" y="274804"/>
                  </a:cubicBezTo>
                  <a:lnTo>
                    <a:pt x="17876" y="317019"/>
                  </a:ln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EA6222B7-6D56-A63D-7BF5-641CB1E18378}"/>
                </a:ext>
              </a:extLst>
            </p:cNvPr>
            <p:cNvSpPr/>
            <p:nvPr/>
          </p:nvSpPr>
          <p:spPr>
            <a:xfrm flipV="1">
              <a:off x="6511810" y="5126456"/>
              <a:ext cx="56866" cy="50444"/>
            </a:xfrm>
            <a:custGeom>
              <a:avLst/>
              <a:gdLst>
                <a:gd name="connsiteX0" fmla="*/ 47825 w 85369"/>
                <a:gd name="connsiteY0" fmla="*/ 70466 h 75728"/>
                <a:gd name="connsiteX1" fmla="*/ 49349 w 85369"/>
                <a:gd name="connsiteY1" fmla="*/ 69749 h 75728"/>
                <a:gd name="connsiteX2" fmla="*/ 53143 w 85369"/>
                <a:gd name="connsiteY2" fmla="*/ 67966 h 75728"/>
                <a:gd name="connsiteX3" fmla="*/ 75074 w 85369"/>
                <a:gd name="connsiteY3" fmla="*/ 46036 h 75728"/>
                <a:gd name="connsiteX4" fmla="*/ 75699 w 85369"/>
                <a:gd name="connsiteY4" fmla="*/ 17049 h 75728"/>
                <a:gd name="connsiteX5" fmla="*/ 51612 w 85369"/>
                <a:gd name="connsiteY5" fmla="*/ -1277 h 75728"/>
                <a:gd name="connsiteX6" fmla="*/ 20301 w 85369"/>
                <a:gd name="connsiteY6" fmla="*/ 1741 h 75728"/>
                <a:gd name="connsiteX7" fmla="*/ 16499 w 85369"/>
                <a:gd name="connsiteY7" fmla="*/ 3516 h 75728"/>
                <a:gd name="connsiteX8" fmla="*/ 14975 w 85369"/>
                <a:gd name="connsiteY8" fmla="*/ 4233 h 75728"/>
                <a:gd name="connsiteX9" fmla="*/ -3161 w 85369"/>
                <a:gd name="connsiteY9" fmla="*/ 24365 h 75728"/>
                <a:gd name="connsiteX10" fmla="*/ -2650 w 85369"/>
                <a:gd name="connsiteY10" fmla="*/ 53732 h 75728"/>
                <a:gd name="connsiteX11" fmla="*/ 13573 w 85369"/>
                <a:gd name="connsiteY11" fmla="*/ 69460 h 75728"/>
                <a:gd name="connsiteX12" fmla="*/ 20301 w 85369"/>
                <a:gd name="connsiteY12" fmla="*/ 71685 h 75728"/>
                <a:gd name="connsiteX13" fmla="*/ 47825 w 85369"/>
                <a:gd name="connsiteY13" fmla="*/ 70466 h 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5369" h="75728">
                  <a:moveTo>
                    <a:pt x="47825" y="70466"/>
                  </a:moveTo>
                  <a:lnTo>
                    <a:pt x="49349" y="69749"/>
                  </a:lnTo>
                  <a:lnTo>
                    <a:pt x="53143" y="67966"/>
                  </a:lnTo>
                  <a:cubicBezTo>
                    <a:pt x="63553" y="62503"/>
                    <a:pt x="70860" y="55180"/>
                    <a:pt x="75074" y="46036"/>
                  </a:cubicBezTo>
                  <a:cubicBezTo>
                    <a:pt x="80057" y="35924"/>
                    <a:pt x="80263" y="26262"/>
                    <a:pt x="75699" y="17049"/>
                  </a:cubicBezTo>
                  <a:cubicBezTo>
                    <a:pt x="70883" y="7342"/>
                    <a:pt x="62851" y="1230"/>
                    <a:pt x="51612" y="-1277"/>
                  </a:cubicBezTo>
                  <a:cubicBezTo>
                    <a:pt x="41630" y="-3768"/>
                    <a:pt x="31190" y="-2770"/>
                    <a:pt x="20301" y="1741"/>
                  </a:cubicBezTo>
                  <a:lnTo>
                    <a:pt x="16499" y="3516"/>
                  </a:lnTo>
                  <a:lnTo>
                    <a:pt x="14975" y="4233"/>
                  </a:lnTo>
                  <a:cubicBezTo>
                    <a:pt x="6829" y="9239"/>
                    <a:pt x="786" y="15952"/>
                    <a:pt x="-3161" y="24365"/>
                  </a:cubicBezTo>
                  <a:cubicBezTo>
                    <a:pt x="-7641" y="34240"/>
                    <a:pt x="-7466" y="44024"/>
                    <a:pt x="-2650" y="53732"/>
                  </a:cubicBezTo>
                  <a:cubicBezTo>
                    <a:pt x="954" y="61009"/>
                    <a:pt x="6364" y="66252"/>
                    <a:pt x="13573" y="69460"/>
                  </a:cubicBezTo>
                  <a:cubicBezTo>
                    <a:pt x="15310" y="70428"/>
                    <a:pt x="17558" y="71174"/>
                    <a:pt x="20301" y="71685"/>
                  </a:cubicBezTo>
                  <a:cubicBezTo>
                    <a:pt x="29544" y="73940"/>
                    <a:pt x="38711" y="73536"/>
                    <a:pt x="47825" y="70466"/>
                  </a:cubicBezTo>
                </a:path>
              </a:pathLst>
            </a:custGeom>
            <a:solidFill>
              <a:srgbClr val="918C8C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66AE8F1C-E062-D577-C237-C5596F09BD3C}"/>
                </a:ext>
              </a:extLst>
            </p:cNvPr>
            <p:cNvSpPr/>
            <p:nvPr/>
          </p:nvSpPr>
          <p:spPr>
            <a:xfrm flipV="1">
              <a:off x="6420053" y="4588777"/>
              <a:ext cx="510804" cy="579931"/>
            </a:xfrm>
            <a:custGeom>
              <a:avLst/>
              <a:gdLst>
                <a:gd name="connsiteX0" fmla="*/ 335031 w 766838"/>
                <a:gd name="connsiteY0" fmla="*/ 867396 h 870615"/>
                <a:gd name="connsiteX1" fmla="*/ 760212 w 766838"/>
                <a:gd name="connsiteY1" fmla="*/ 668308 h 870615"/>
                <a:gd name="connsiteX2" fmla="*/ 418561 w 766838"/>
                <a:gd name="connsiteY2" fmla="*/ -3219 h 870615"/>
                <a:gd name="connsiteX3" fmla="*/ -6627 w 766838"/>
                <a:gd name="connsiteY3" fmla="*/ 195868 h 870615"/>
                <a:gd name="connsiteX4" fmla="*/ 335031 w 766838"/>
                <a:gd name="connsiteY4" fmla="*/ 867396 h 87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838" h="870615">
                  <a:moveTo>
                    <a:pt x="335031" y="867396"/>
                  </a:moveTo>
                  <a:lnTo>
                    <a:pt x="760212" y="668308"/>
                  </a:lnTo>
                  <a:lnTo>
                    <a:pt x="418561" y="-3219"/>
                  </a:lnTo>
                  <a:lnTo>
                    <a:pt x="-6627" y="195868"/>
                  </a:lnTo>
                  <a:lnTo>
                    <a:pt x="335031" y="867396"/>
                  </a:ln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470EE2FB-1450-4AA2-7DF0-4CDB160E4A54}"/>
                </a:ext>
              </a:extLst>
            </p:cNvPr>
            <p:cNvSpPr/>
            <p:nvPr/>
          </p:nvSpPr>
          <p:spPr>
            <a:xfrm flipV="1">
              <a:off x="6793998" y="4618094"/>
              <a:ext cx="97423" cy="54188"/>
            </a:xfrm>
            <a:custGeom>
              <a:avLst/>
              <a:gdLst>
                <a:gd name="connsiteX0" fmla="*/ 91567 w 146255"/>
                <a:gd name="connsiteY0" fmla="*/ 8296 h 81349"/>
                <a:gd name="connsiteX1" fmla="*/ 113635 w 146255"/>
                <a:gd name="connsiteY1" fmla="*/ -2037 h 81349"/>
                <a:gd name="connsiteX2" fmla="*/ 137638 w 146255"/>
                <a:gd name="connsiteY2" fmla="*/ 6665 h 81349"/>
                <a:gd name="connsiteX3" fmla="*/ 128936 w 146255"/>
                <a:gd name="connsiteY3" fmla="*/ 30675 h 81349"/>
                <a:gd name="connsiteX4" fmla="*/ 106876 w 146255"/>
                <a:gd name="connsiteY4" fmla="*/ 41001 h 81349"/>
                <a:gd name="connsiteX5" fmla="*/ 82865 w 146255"/>
                <a:gd name="connsiteY5" fmla="*/ 32306 h 81349"/>
                <a:gd name="connsiteX6" fmla="*/ 91567 w 146255"/>
                <a:gd name="connsiteY6" fmla="*/ 8296 h 81349"/>
                <a:gd name="connsiteX7" fmla="*/ 14156 w 146255"/>
                <a:gd name="connsiteY7" fmla="*/ 59098 h 81349"/>
                <a:gd name="connsiteX8" fmla="*/ 1065 w 146255"/>
                <a:gd name="connsiteY8" fmla="*/ 46655 h 81349"/>
                <a:gd name="connsiteX9" fmla="*/ 4303 w 146255"/>
                <a:gd name="connsiteY9" fmla="*/ 43416 h 81349"/>
                <a:gd name="connsiteX10" fmla="*/ 6124 w 146255"/>
                <a:gd name="connsiteY10" fmla="*/ 41816 h 81349"/>
                <a:gd name="connsiteX11" fmla="*/ 9912 w 146255"/>
                <a:gd name="connsiteY11" fmla="*/ 39362 h 81349"/>
                <a:gd name="connsiteX12" fmla="*/ 17996 w 146255"/>
                <a:gd name="connsiteY12" fmla="*/ 55509 h 81349"/>
                <a:gd name="connsiteX13" fmla="*/ 25677 w 146255"/>
                <a:gd name="connsiteY13" fmla="*/ 71846 h 81349"/>
                <a:gd name="connsiteX14" fmla="*/ 18812 w 146255"/>
                <a:gd name="connsiteY14" fmla="*/ 75070 h 81349"/>
                <a:gd name="connsiteX15" fmla="*/ 11146 w 146255"/>
                <a:gd name="connsiteY15" fmla="*/ 58724 h 81349"/>
                <a:gd name="connsiteX16" fmla="*/ 27399 w 146255"/>
                <a:gd name="connsiteY16" fmla="*/ 50868 h 81349"/>
                <a:gd name="connsiteX17" fmla="*/ 12464 w 146255"/>
                <a:gd name="connsiteY17" fmla="*/ 58085 h 81349"/>
                <a:gd name="connsiteX18" fmla="*/ 21220 w 146255"/>
                <a:gd name="connsiteY18" fmla="*/ 44018 h 81349"/>
                <a:gd name="connsiteX19" fmla="*/ 27399 w 146255"/>
                <a:gd name="connsiteY19" fmla="*/ 50868 h 81349"/>
                <a:gd name="connsiteX20" fmla="*/ 12464 w 146255"/>
                <a:gd name="connsiteY20" fmla="*/ 58085 h 81349"/>
                <a:gd name="connsiteX21" fmla="*/ 21220 w 146255"/>
                <a:gd name="connsiteY21" fmla="*/ 44018 h 81349"/>
                <a:gd name="connsiteX22" fmla="*/ 12487 w 146255"/>
                <a:gd name="connsiteY22" fmla="*/ 58054 h 81349"/>
                <a:gd name="connsiteX23" fmla="*/ 12487 w 146255"/>
                <a:gd name="connsiteY23" fmla="*/ 41503 h 81349"/>
                <a:gd name="connsiteX24" fmla="*/ 21220 w 146255"/>
                <a:gd name="connsiteY24" fmla="*/ 44018 h 81349"/>
                <a:gd name="connsiteX25" fmla="*/ 12487 w 146255"/>
                <a:gd name="connsiteY25" fmla="*/ 58054 h 81349"/>
                <a:gd name="connsiteX26" fmla="*/ 12487 w 146255"/>
                <a:gd name="connsiteY26" fmla="*/ 41503 h 81349"/>
                <a:gd name="connsiteX27" fmla="*/ 12487 w 146255"/>
                <a:gd name="connsiteY27" fmla="*/ 55562 h 81349"/>
                <a:gd name="connsiteX28" fmla="*/ 6444 w 146255"/>
                <a:gd name="connsiteY28" fmla="*/ 42768 h 81349"/>
                <a:gd name="connsiteX29" fmla="*/ 12487 w 146255"/>
                <a:gd name="connsiteY29" fmla="*/ 41503 h 81349"/>
                <a:gd name="connsiteX30" fmla="*/ 12487 w 146255"/>
                <a:gd name="connsiteY30" fmla="*/ 55562 h 81349"/>
                <a:gd name="connsiteX31" fmla="*/ 6444 w 146255"/>
                <a:gd name="connsiteY31" fmla="*/ 42768 h 81349"/>
                <a:gd name="connsiteX32" fmla="*/ 14156 w 146255"/>
                <a:gd name="connsiteY32" fmla="*/ 59098 h 81349"/>
                <a:gd name="connsiteX33" fmla="*/ 1065 w 146255"/>
                <a:gd name="connsiteY33" fmla="*/ 46655 h 81349"/>
                <a:gd name="connsiteX34" fmla="*/ 14156 w 146255"/>
                <a:gd name="connsiteY34" fmla="*/ 59098 h 81349"/>
                <a:gd name="connsiteX35" fmla="*/ 21860 w 146255"/>
                <a:gd name="connsiteY35" fmla="*/ 75427 h 81349"/>
                <a:gd name="connsiteX36" fmla="*/ 12487 w 146255"/>
                <a:gd name="connsiteY36" fmla="*/ 77607 h 81349"/>
                <a:gd name="connsiteX37" fmla="*/ 2139 w 146255"/>
                <a:gd name="connsiteY37" fmla="*/ 74673 h 81349"/>
                <a:gd name="connsiteX38" fmla="*/ -5115 w 146255"/>
                <a:gd name="connsiteY38" fmla="*/ 66581 h 81349"/>
                <a:gd name="connsiteX39" fmla="*/ -5869 w 146255"/>
                <a:gd name="connsiteY39" fmla="*/ 52682 h 81349"/>
                <a:gd name="connsiteX40" fmla="*/ 3473 w 146255"/>
                <a:gd name="connsiteY40" fmla="*/ 42372 h 81349"/>
                <a:gd name="connsiteX41" fmla="*/ 10300 w 146255"/>
                <a:gd name="connsiteY41" fmla="*/ 39172 h 81349"/>
                <a:gd name="connsiteX42" fmla="*/ 34235 w 146255"/>
                <a:gd name="connsiteY42" fmla="*/ 47622 h 81349"/>
                <a:gd name="connsiteX43" fmla="*/ 26066 w 146255"/>
                <a:gd name="connsiteY43" fmla="*/ 71663 h 81349"/>
                <a:gd name="connsiteX44" fmla="*/ 19391 w 146255"/>
                <a:gd name="connsiteY44" fmla="*/ 58321 h 81349"/>
                <a:gd name="connsiteX45" fmla="*/ 28763 w 146255"/>
                <a:gd name="connsiteY45" fmla="*/ 69957 h 81349"/>
                <a:gd name="connsiteX46" fmla="*/ 26066 w 146255"/>
                <a:gd name="connsiteY46" fmla="*/ 71663 h 81349"/>
                <a:gd name="connsiteX47" fmla="*/ 19391 w 146255"/>
                <a:gd name="connsiteY47" fmla="*/ 58321 h 81349"/>
                <a:gd name="connsiteX48" fmla="*/ 28763 w 146255"/>
                <a:gd name="connsiteY48" fmla="*/ 69957 h 81349"/>
                <a:gd name="connsiteX49" fmla="*/ 25533 w 146255"/>
                <a:gd name="connsiteY49" fmla="*/ 65948 h 81349"/>
                <a:gd name="connsiteX50" fmla="*/ 29000 w 146255"/>
                <a:gd name="connsiteY50" fmla="*/ 69758 h 81349"/>
                <a:gd name="connsiteX51" fmla="*/ 28763 w 146255"/>
                <a:gd name="connsiteY51" fmla="*/ 69957 h 81349"/>
                <a:gd name="connsiteX52" fmla="*/ 25533 w 146255"/>
                <a:gd name="connsiteY52" fmla="*/ 65948 h 81349"/>
                <a:gd name="connsiteX53" fmla="*/ 29000 w 146255"/>
                <a:gd name="connsiteY53" fmla="*/ 69758 h 81349"/>
                <a:gd name="connsiteX54" fmla="*/ 27232 w 146255"/>
                <a:gd name="connsiteY54" fmla="*/ 71542 h 81349"/>
                <a:gd name="connsiteX55" fmla="*/ 21860 w 146255"/>
                <a:gd name="connsiteY55" fmla="*/ 75427 h 81349"/>
                <a:gd name="connsiteX56" fmla="*/ 14156 w 146255"/>
                <a:gd name="connsiteY56" fmla="*/ 59098 h 8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46255" h="81349">
                  <a:moveTo>
                    <a:pt x="91567" y="8296"/>
                  </a:moveTo>
                  <a:lnTo>
                    <a:pt x="113635" y="-2037"/>
                  </a:lnTo>
                  <a:cubicBezTo>
                    <a:pt x="122657" y="-6259"/>
                    <a:pt x="133409" y="-2365"/>
                    <a:pt x="137638" y="6665"/>
                  </a:cubicBezTo>
                  <a:cubicBezTo>
                    <a:pt x="141859" y="15695"/>
                    <a:pt x="137973" y="26446"/>
                    <a:pt x="128936" y="30675"/>
                  </a:cubicBezTo>
                  <a:lnTo>
                    <a:pt x="106876" y="41001"/>
                  </a:lnTo>
                  <a:cubicBezTo>
                    <a:pt x="97846" y="45229"/>
                    <a:pt x="87095" y="41336"/>
                    <a:pt x="82865" y="32306"/>
                  </a:cubicBezTo>
                  <a:cubicBezTo>
                    <a:pt x="78644" y="23276"/>
                    <a:pt x="82530" y="12525"/>
                    <a:pt x="91567" y="8296"/>
                  </a:cubicBezTo>
                  <a:moveTo>
                    <a:pt x="14156" y="59098"/>
                  </a:moveTo>
                  <a:lnTo>
                    <a:pt x="1065" y="46655"/>
                  </a:lnTo>
                  <a:cubicBezTo>
                    <a:pt x="2223" y="45435"/>
                    <a:pt x="3236" y="44414"/>
                    <a:pt x="4303" y="43416"/>
                  </a:cubicBezTo>
                  <a:cubicBezTo>
                    <a:pt x="4837" y="42913"/>
                    <a:pt x="5385" y="42418"/>
                    <a:pt x="6124" y="41816"/>
                  </a:cubicBezTo>
                  <a:cubicBezTo>
                    <a:pt x="6932" y="41214"/>
                    <a:pt x="7671" y="40528"/>
                    <a:pt x="9912" y="39362"/>
                  </a:cubicBezTo>
                  <a:lnTo>
                    <a:pt x="17996" y="55509"/>
                  </a:lnTo>
                  <a:lnTo>
                    <a:pt x="25677" y="71846"/>
                  </a:lnTo>
                  <a:cubicBezTo>
                    <a:pt x="23109" y="73058"/>
                    <a:pt x="20831" y="74124"/>
                    <a:pt x="18812" y="75070"/>
                  </a:cubicBezTo>
                  <a:lnTo>
                    <a:pt x="11146" y="58724"/>
                  </a:lnTo>
                  <a:lnTo>
                    <a:pt x="27399" y="50868"/>
                  </a:lnTo>
                  <a:lnTo>
                    <a:pt x="12464" y="58085"/>
                  </a:lnTo>
                  <a:lnTo>
                    <a:pt x="21220" y="44018"/>
                  </a:lnTo>
                  <a:cubicBezTo>
                    <a:pt x="24268" y="45885"/>
                    <a:pt x="26394" y="48697"/>
                    <a:pt x="27399" y="50868"/>
                  </a:cubicBezTo>
                  <a:lnTo>
                    <a:pt x="12464" y="58085"/>
                  </a:lnTo>
                  <a:lnTo>
                    <a:pt x="21220" y="44018"/>
                  </a:lnTo>
                  <a:lnTo>
                    <a:pt x="12487" y="58054"/>
                  </a:lnTo>
                  <a:lnTo>
                    <a:pt x="12487" y="41503"/>
                  </a:lnTo>
                  <a:cubicBezTo>
                    <a:pt x="14811" y="41465"/>
                    <a:pt x="18210" y="42113"/>
                    <a:pt x="21220" y="44018"/>
                  </a:cubicBezTo>
                  <a:lnTo>
                    <a:pt x="12487" y="58054"/>
                  </a:lnTo>
                  <a:lnTo>
                    <a:pt x="12487" y="41503"/>
                  </a:lnTo>
                  <a:lnTo>
                    <a:pt x="12487" y="55562"/>
                  </a:lnTo>
                  <a:lnTo>
                    <a:pt x="6444" y="42768"/>
                  </a:lnTo>
                  <a:cubicBezTo>
                    <a:pt x="7313" y="42395"/>
                    <a:pt x="9058" y="41549"/>
                    <a:pt x="12487" y="41503"/>
                  </a:cubicBezTo>
                  <a:lnTo>
                    <a:pt x="12487" y="55562"/>
                  </a:lnTo>
                  <a:lnTo>
                    <a:pt x="6444" y="42768"/>
                  </a:lnTo>
                  <a:lnTo>
                    <a:pt x="14156" y="59098"/>
                  </a:lnTo>
                  <a:lnTo>
                    <a:pt x="1065" y="46655"/>
                  </a:lnTo>
                  <a:lnTo>
                    <a:pt x="14156" y="59098"/>
                  </a:lnTo>
                  <a:lnTo>
                    <a:pt x="21860" y="75427"/>
                  </a:lnTo>
                  <a:cubicBezTo>
                    <a:pt x="19658" y="76426"/>
                    <a:pt x="16815" y="77561"/>
                    <a:pt x="12487" y="77607"/>
                  </a:cubicBezTo>
                  <a:cubicBezTo>
                    <a:pt x="9531" y="77645"/>
                    <a:pt x="5599" y="76860"/>
                    <a:pt x="2139" y="74673"/>
                  </a:cubicBezTo>
                  <a:cubicBezTo>
                    <a:pt x="-1351" y="72532"/>
                    <a:pt x="-3843" y="69301"/>
                    <a:pt x="-5115" y="66581"/>
                  </a:cubicBezTo>
                  <a:cubicBezTo>
                    <a:pt x="-7218" y="62238"/>
                    <a:pt x="-7485" y="57231"/>
                    <a:pt x="-5869" y="52682"/>
                  </a:cubicBezTo>
                  <a:cubicBezTo>
                    <a:pt x="-4262" y="48141"/>
                    <a:pt x="-894" y="44422"/>
                    <a:pt x="3473" y="42372"/>
                  </a:cubicBezTo>
                  <a:cubicBezTo>
                    <a:pt x="5522" y="41419"/>
                    <a:pt x="7793" y="40353"/>
                    <a:pt x="10300" y="39172"/>
                  </a:cubicBezTo>
                  <a:cubicBezTo>
                    <a:pt x="19269" y="34950"/>
                    <a:pt x="29899" y="38707"/>
                    <a:pt x="34235" y="47622"/>
                  </a:cubicBezTo>
                  <a:cubicBezTo>
                    <a:pt x="38563" y="56545"/>
                    <a:pt x="34936" y="67229"/>
                    <a:pt x="26066" y="71663"/>
                  </a:cubicBezTo>
                  <a:lnTo>
                    <a:pt x="19391" y="58321"/>
                  </a:lnTo>
                  <a:lnTo>
                    <a:pt x="28763" y="69957"/>
                  </a:lnTo>
                  <a:cubicBezTo>
                    <a:pt x="28413" y="70200"/>
                    <a:pt x="28032" y="70634"/>
                    <a:pt x="26066" y="71663"/>
                  </a:cubicBezTo>
                  <a:lnTo>
                    <a:pt x="19391" y="58321"/>
                  </a:lnTo>
                  <a:lnTo>
                    <a:pt x="28763" y="69957"/>
                  </a:lnTo>
                  <a:lnTo>
                    <a:pt x="25533" y="65948"/>
                  </a:lnTo>
                  <a:lnTo>
                    <a:pt x="29000" y="69758"/>
                  </a:lnTo>
                  <a:lnTo>
                    <a:pt x="28763" y="69957"/>
                  </a:lnTo>
                  <a:lnTo>
                    <a:pt x="25533" y="65948"/>
                  </a:lnTo>
                  <a:lnTo>
                    <a:pt x="29000" y="69758"/>
                  </a:lnTo>
                  <a:cubicBezTo>
                    <a:pt x="28893" y="69850"/>
                    <a:pt x="28185" y="70528"/>
                    <a:pt x="27232" y="71542"/>
                  </a:cubicBezTo>
                  <a:cubicBezTo>
                    <a:pt x="25670" y="73195"/>
                    <a:pt x="23909" y="74460"/>
                    <a:pt x="21860" y="75427"/>
                  </a:cubicBezTo>
                  <a:lnTo>
                    <a:pt x="14156" y="59098"/>
                  </a:ln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27DD8856-0CE6-6199-5A27-63CC4D629CFF}"/>
                </a:ext>
              </a:extLst>
            </p:cNvPr>
            <p:cNvSpPr/>
            <p:nvPr/>
          </p:nvSpPr>
          <p:spPr>
            <a:xfrm flipV="1">
              <a:off x="6736646" y="4587015"/>
              <a:ext cx="125897" cy="71745"/>
            </a:xfrm>
            <a:custGeom>
              <a:avLst/>
              <a:gdLst>
                <a:gd name="connsiteX0" fmla="*/ 171759 w 189001"/>
                <a:gd name="connsiteY0" fmla="*/ 30626 h 107706"/>
                <a:gd name="connsiteX1" fmla="*/ 18872 w 189001"/>
                <a:gd name="connsiteY1" fmla="*/ 102208 h 107706"/>
                <a:gd name="connsiteX2" fmla="*/ -5131 w 189001"/>
                <a:gd name="connsiteY2" fmla="*/ 93514 h 107706"/>
                <a:gd name="connsiteX3" fmla="*/ 3571 w 189001"/>
                <a:gd name="connsiteY3" fmla="*/ 69503 h 107706"/>
                <a:gd name="connsiteX4" fmla="*/ 156451 w 189001"/>
                <a:gd name="connsiteY4" fmla="*/ -2087 h 107706"/>
                <a:gd name="connsiteX5" fmla="*/ 180454 w 189001"/>
                <a:gd name="connsiteY5" fmla="*/ 6615 h 107706"/>
                <a:gd name="connsiteX6" fmla="*/ 171759 w 189001"/>
                <a:gd name="connsiteY6" fmla="*/ 30626 h 107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001" h="107706">
                  <a:moveTo>
                    <a:pt x="171759" y="30626"/>
                  </a:moveTo>
                  <a:lnTo>
                    <a:pt x="18872" y="102208"/>
                  </a:lnTo>
                  <a:cubicBezTo>
                    <a:pt x="9850" y="106437"/>
                    <a:pt x="-902" y="102543"/>
                    <a:pt x="-5131" y="93514"/>
                  </a:cubicBezTo>
                  <a:cubicBezTo>
                    <a:pt x="-9360" y="84484"/>
                    <a:pt x="-5466" y="73732"/>
                    <a:pt x="3571" y="69503"/>
                  </a:cubicBezTo>
                  <a:lnTo>
                    <a:pt x="156451" y="-2087"/>
                  </a:lnTo>
                  <a:cubicBezTo>
                    <a:pt x="165481" y="-6308"/>
                    <a:pt x="176232" y="-2415"/>
                    <a:pt x="180454" y="6615"/>
                  </a:cubicBezTo>
                  <a:cubicBezTo>
                    <a:pt x="184683" y="15645"/>
                    <a:pt x="180789" y="26397"/>
                    <a:pt x="171759" y="30626"/>
                  </a:cubicBezTo>
                </a:path>
              </a:pathLst>
            </a:custGeom>
            <a:solidFill>
              <a:srgbClr val="2C2A2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B570A66C-EA65-345A-37EB-F5CD6668CAD8}"/>
                </a:ext>
              </a:extLst>
            </p:cNvPr>
            <p:cNvSpPr/>
            <p:nvPr/>
          </p:nvSpPr>
          <p:spPr>
            <a:xfrm flipV="1">
              <a:off x="6346004" y="4524781"/>
              <a:ext cx="640620" cy="747929"/>
            </a:xfrm>
            <a:custGeom>
              <a:avLst/>
              <a:gdLst>
                <a:gd name="connsiteX0" fmla="*/ 296516 w 961724"/>
                <a:gd name="connsiteY0" fmla="*/ 213735 h 1122820"/>
                <a:gd name="connsiteX1" fmla="*/ 269001 w 961724"/>
                <a:gd name="connsiteY1" fmla="*/ 214954 h 1122820"/>
                <a:gd name="connsiteX2" fmla="*/ 262265 w 961724"/>
                <a:gd name="connsiteY2" fmla="*/ 212729 h 1122820"/>
                <a:gd name="connsiteX3" fmla="*/ 246049 w 961724"/>
                <a:gd name="connsiteY3" fmla="*/ 197001 h 1122820"/>
                <a:gd name="connsiteX4" fmla="*/ 245539 w 961724"/>
                <a:gd name="connsiteY4" fmla="*/ 167634 h 1122820"/>
                <a:gd name="connsiteX5" fmla="*/ 263674 w 961724"/>
                <a:gd name="connsiteY5" fmla="*/ 147502 h 1122820"/>
                <a:gd name="connsiteX6" fmla="*/ 265198 w 961724"/>
                <a:gd name="connsiteY6" fmla="*/ 146786 h 1122820"/>
                <a:gd name="connsiteX7" fmla="*/ 269001 w 961724"/>
                <a:gd name="connsiteY7" fmla="*/ 145010 h 1122820"/>
                <a:gd name="connsiteX8" fmla="*/ 300311 w 961724"/>
                <a:gd name="connsiteY8" fmla="*/ 141993 h 1122820"/>
                <a:gd name="connsiteX9" fmla="*/ 324398 w 961724"/>
                <a:gd name="connsiteY9" fmla="*/ 160319 h 1122820"/>
                <a:gd name="connsiteX10" fmla="*/ 323773 w 961724"/>
                <a:gd name="connsiteY10" fmla="*/ 189305 h 1122820"/>
                <a:gd name="connsiteX11" fmla="*/ 301843 w 961724"/>
                <a:gd name="connsiteY11" fmla="*/ 211236 h 1122820"/>
                <a:gd name="connsiteX12" fmla="*/ 298048 w 961724"/>
                <a:gd name="connsiteY12" fmla="*/ 213019 h 1122820"/>
                <a:gd name="connsiteX13" fmla="*/ 296516 w 961724"/>
                <a:gd name="connsiteY13" fmla="*/ 213735 h 1122820"/>
                <a:gd name="connsiteX14" fmla="*/ 750783 w 961724"/>
                <a:gd name="connsiteY14" fmla="*/ 936576 h 1122820"/>
                <a:gd name="connsiteX15" fmla="*/ 597895 w 961724"/>
                <a:gd name="connsiteY15" fmla="*/ 1008158 h 1122820"/>
                <a:gd name="connsiteX16" fmla="*/ 750783 w 961724"/>
                <a:gd name="connsiteY16" fmla="*/ 936576 h 1122820"/>
                <a:gd name="connsiteX17" fmla="*/ 446211 w 961724"/>
                <a:gd name="connsiteY17" fmla="*/ 1023573 h 1122820"/>
                <a:gd name="connsiteX18" fmla="*/ 104553 w 961724"/>
                <a:gd name="connsiteY18" fmla="*/ 352045 h 1122820"/>
                <a:gd name="connsiteX19" fmla="*/ 529742 w 961724"/>
                <a:gd name="connsiteY19" fmla="*/ 152958 h 1122820"/>
                <a:gd name="connsiteX20" fmla="*/ 871392 w 961724"/>
                <a:gd name="connsiteY20" fmla="*/ 824486 h 1122820"/>
                <a:gd name="connsiteX21" fmla="*/ 446211 w 961724"/>
                <a:gd name="connsiteY21" fmla="*/ 1023573 h 1122820"/>
                <a:gd name="connsiteX22" fmla="*/ 772073 w 961724"/>
                <a:gd name="connsiteY22" fmla="*/ 926601 h 1122820"/>
                <a:gd name="connsiteX23" fmla="*/ 794133 w 961724"/>
                <a:gd name="connsiteY23" fmla="*/ 916269 h 1122820"/>
                <a:gd name="connsiteX24" fmla="*/ 772073 w 961724"/>
                <a:gd name="connsiteY24" fmla="*/ 926601 h 1122820"/>
                <a:gd name="connsiteX25" fmla="*/ 687003 w 961724"/>
                <a:gd name="connsiteY25" fmla="*/ 961051 h 1122820"/>
                <a:gd name="connsiteX26" fmla="*/ 690844 w 961724"/>
                <a:gd name="connsiteY26" fmla="*/ 957462 h 1122820"/>
                <a:gd name="connsiteX27" fmla="*/ 683993 w 961724"/>
                <a:gd name="connsiteY27" fmla="*/ 960678 h 1122820"/>
                <a:gd name="connsiteX28" fmla="*/ 687003 w 961724"/>
                <a:gd name="connsiteY28" fmla="*/ 961051 h 1122820"/>
                <a:gd name="connsiteX29" fmla="*/ 683993 w 961724"/>
                <a:gd name="connsiteY29" fmla="*/ 960678 h 1122820"/>
                <a:gd name="connsiteX30" fmla="*/ 690844 w 961724"/>
                <a:gd name="connsiteY30" fmla="*/ 957462 h 1122820"/>
                <a:gd name="connsiteX31" fmla="*/ 687003 w 961724"/>
                <a:gd name="connsiteY31" fmla="*/ 961051 h 1122820"/>
                <a:gd name="connsiteX32" fmla="*/ 534733 w 961724"/>
                <a:gd name="connsiteY32" fmla="*/ 25064 h 1122820"/>
                <a:gd name="connsiteX33" fmla="*/ 485584 w 961724"/>
                <a:gd name="connsiteY33" fmla="*/ -357 h 1122820"/>
                <a:gd name="connsiteX34" fmla="*/ 10949 w 961724"/>
                <a:gd name="connsiteY34" fmla="*/ 221888 h 1122820"/>
                <a:gd name="connsiteX35" fmla="*/ -3018 w 961724"/>
                <a:gd name="connsiteY35" fmla="*/ 276859 h 1122820"/>
                <a:gd name="connsiteX36" fmla="*/ 400712 w 961724"/>
                <a:gd name="connsiteY36" fmla="*/ 1073576 h 1122820"/>
                <a:gd name="connsiteX37" fmla="*/ 402160 w 961724"/>
                <a:gd name="connsiteY37" fmla="*/ 1076487 h 1122820"/>
                <a:gd name="connsiteX38" fmla="*/ 408294 w 961724"/>
                <a:gd name="connsiteY38" fmla="*/ 1088862 h 1122820"/>
                <a:gd name="connsiteX39" fmla="*/ 481865 w 961724"/>
                <a:gd name="connsiteY39" fmla="*/ 1112712 h 1122820"/>
                <a:gd name="connsiteX40" fmla="*/ 928931 w 961724"/>
                <a:gd name="connsiteY40" fmla="*/ 903376 h 1122820"/>
                <a:gd name="connsiteX41" fmla="*/ 945321 w 961724"/>
                <a:gd name="connsiteY41" fmla="*/ 835603 h 1122820"/>
                <a:gd name="connsiteX42" fmla="*/ 937747 w 961724"/>
                <a:gd name="connsiteY42" fmla="*/ 820325 h 1122820"/>
                <a:gd name="connsiteX43" fmla="*/ 935941 w 961724"/>
                <a:gd name="connsiteY43" fmla="*/ 816690 h 1122820"/>
                <a:gd name="connsiteX44" fmla="*/ 534733 w 961724"/>
                <a:gd name="connsiteY44" fmla="*/ 25064 h 1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961724" h="1122820">
                  <a:moveTo>
                    <a:pt x="296516" y="213735"/>
                  </a:moveTo>
                  <a:cubicBezTo>
                    <a:pt x="287411" y="216806"/>
                    <a:pt x="278244" y="217210"/>
                    <a:pt x="269001" y="214954"/>
                  </a:cubicBezTo>
                  <a:cubicBezTo>
                    <a:pt x="266257" y="214444"/>
                    <a:pt x="264010" y="213697"/>
                    <a:pt x="262265" y="212729"/>
                  </a:cubicBezTo>
                  <a:cubicBezTo>
                    <a:pt x="255064" y="209521"/>
                    <a:pt x="249653" y="204279"/>
                    <a:pt x="246049" y="197001"/>
                  </a:cubicBezTo>
                  <a:cubicBezTo>
                    <a:pt x="241233" y="187294"/>
                    <a:pt x="241058" y="177510"/>
                    <a:pt x="245539" y="167634"/>
                  </a:cubicBezTo>
                  <a:cubicBezTo>
                    <a:pt x="249486" y="159222"/>
                    <a:pt x="255528" y="152508"/>
                    <a:pt x="263674" y="147502"/>
                  </a:cubicBezTo>
                  <a:lnTo>
                    <a:pt x="265198" y="146786"/>
                  </a:lnTo>
                  <a:lnTo>
                    <a:pt x="269001" y="145010"/>
                  </a:lnTo>
                  <a:cubicBezTo>
                    <a:pt x="279890" y="140499"/>
                    <a:pt x="290329" y="139501"/>
                    <a:pt x="300311" y="141993"/>
                  </a:cubicBezTo>
                  <a:cubicBezTo>
                    <a:pt x="311551" y="144500"/>
                    <a:pt x="319582" y="150611"/>
                    <a:pt x="324398" y="160319"/>
                  </a:cubicBezTo>
                  <a:cubicBezTo>
                    <a:pt x="328962" y="169531"/>
                    <a:pt x="328757" y="179194"/>
                    <a:pt x="323773" y="189305"/>
                  </a:cubicBezTo>
                  <a:cubicBezTo>
                    <a:pt x="319559" y="198449"/>
                    <a:pt x="312252" y="205772"/>
                    <a:pt x="301843" y="211236"/>
                  </a:cubicBezTo>
                  <a:lnTo>
                    <a:pt x="298048" y="213019"/>
                  </a:lnTo>
                  <a:lnTo>
                    <a:pt x="296516" y="213735"/>
                  </a:lnTo>
                  <a:moveTo>
                    <a:pt x="750783" y="936576"/>
                  </a:moveTo>
                  <a:lnTo>
                    <a:pt x="597895" y="1008158"/>
                  </a:lnTo>
                  <a:lnTo>
                    <a:pt x="750783" y="936576"/>
                  </a:lnTo>
                  <a:moveTo>
                    <a:pt x="446211" y="1023573"/>
                  </a:moveTo>
                  <a:lnTo>
                    <a:pt x="104553" y="352045"/>
                  </a:lnTo>
                  <a:lnTo>
                    <a:pt x="529742" y="152958"/>
                  </a:lnTo>
                  <a:lnTo>
                    <a:pt x="871392" y="824486"/>
                  </a:lnTo>
                  <a:lnTo>
                    <a:pt x="446211" y="1023573"/>
                  </a:lnTo>
                  <a:moveTo>
                    <a:pt x="772073" y="926601"/>
                  </a:moveTo>
                  <a:lnTo>
                    <a:pt x="794133" y="916269"/>
                  </a:lnTo>
                  <a:lnTo>
                    <a:pt x="772073" y="926601"/>
                  </a:lnTo>
                  <a:moveTo>
                    <a:pt x="687003" y="961051"/>
                  </a:moveTo>
                  <a:cubicBezTo>
                    <a:pt x="689015" y="958925"/>
                    <a:pt x="690295" y="957737"/>
                    <a:pt x="690844" y="957462"/>
                  </a:cubicBezTo>
                  <a:cubicBezTo>
                    <a:pt x="688306" y="958659"/>
                    <a:pt x="686028" y="959725"/>
                    <a:pt x="683993" y="960678"/>
                  </a:cubicBezTo>
                  <a:cubicBezTo>
                    <a:pt x="684474" y="961638"/>
                    <a:pt x="685479" y="961760"/>
                    <a:pt x="687003" y="961051"/>
                  </a:cubicBezTo>
                  <a:cubicBezTo>
                    <a:pt x="685479" y="961760"/>
                    <a:pt x="684474" y="961638"/>
                    <a:pt x="683993" y="960678"/>
                  </a:cubicBezTo>
                  <a:cubicBezTo>
                    <a:pt x="686028" y="959725"/>
                    <a:pt x="688306" y="958659"/>
                    <a:pt x="690844" y="957462"/>
                  </a:cubicBezTo>
                  <a:cubicBezTo>
                    <a:pt x="690295" y="957737"/>
                    <a:pt x="689015" y="958925"/>
                    <a:pt x="687003" y="961051"/>
                  </a:cubicBezTo>
                  <a:moveTo>
                    <a:pt x="534733" y="25064"/>
                  </a:moveTo>
                  <a:cubicBezTo>
                    <a:pt x="519950" y="291"/>
                    <a:pt x="503567" y="-8182"/>
                    <a:pt x="485584" y="-357"/>
                  </a:cubicBezTo>
                  <a:lnTo>
                    <a:pt x="10949" y="221888"/>
                  </a:lnTo>
                  <a:cubicBezTo>
                    <a:pt x="-6043" y="230446"/>
                    <a:pt x="-10714" y="248772"/>
                    <a:pt x="-3018" y="276859"/>
                  </a:cubicBezTo>
                  <a:lnTo>
                    <a:pt x="400712" y="1073576"/>
                  </a:lnTo>
                  <a:cubicBezTo>
                    <a:pt x="401200" y="1074544"/>
                    <a:pt x="401672" y="1075519"/>
                    <a:pt x="402160" y="1076487"/>
                  </a:cubicBezTo>
                  <a:lnTo>
                    <a:pt x="408294" y="1088862"/>
                  </a:lnTo>
                  <a:cubicBezTo>
                    <a:pt x="420113" y="1111440"/>
                    <a:pt x="444245" y="1130330"/>
                    <a:pt x="481865" y="1112712"/>
                  </a:cubicBezTo>
                  <a:lnTo>
                    <a:pt x="928931" y="903376"/>
                  </a:lnTo>
                  <a:cubicBezTo>
                    <a:pt x="965309" y="886345"/>
                    <a:pt x="956591" y="860833"/>
                    <a:pt x="945321" y="835603"/>
                  </a:cubicBezTo>
                  <a:lnTo>
                    <a:pt x="937747" y="820325"/>
                  </a:lnTo>
                  <a:cubicBezTo>
                    <a:pt x="937503" y="819845"/>
                    <a:pt x="936901" y="818626"/>
                    <a:pt x="935941" y="816690"/>
                  </a:cubicBezTo>
                  <a:lnTo>
                    <a:pt x="534733" y="25064"/>
                  </a:ln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538E9C50-6E0D-7832-93FB-DFE699FDA701}"/>
                </a:ext>
              </a:extLst>
            </p:cNvPr>
            <p:cNvSpPr/>
            <p:nvPr/>
          </p:nvSpPr>
          <p:spPr>
            <a:xfrm flipV="1">
              <a:off x="6342799" y="5099744"/>
              <a:ext cx="3349" cy="6557"/>
            </a:xfrm>
            <a:custGeom>
              <a:avLst/>
              <a:gdLst>
                <a:gd name="connsiteX0" fmla="*/ -6062 w 5028"/>
                <a:gd name="connsiteY0" fmla="*/ -2719 h 9844"/>
                <a:gd name="connsiteX1" fmla="*/ -1178 w 5028"/>
                <a:gd name="connsiteY1" fmla="*/ 7126 h 9844"/>
                <a:gd name="connsiteX2" fmla="*/ -1246 w 5028"/>
                <a:gd name="connsiteY2" fmla="*/ 4025 h 9844"/>
                <a:gd name="connsiteX3" fmla="*/ -1033 w 5028"/>
                <a:gd name="connsiteY3" fmla="*/ -776 h 9844"/>
                <a:gd name="connsiteX4" fmla="*/ -6062 w 5028"/>
                <a:gd name="connsiteY4" fmla="*/ -2719 h 9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28" h="9844">
                  <a:moveTo>
                    <a:pt x="-6062" y="-2719"/>
                  </a:moveTo>
                  <a:lnTo>
                    <a:pt x="-1178" y="7126"/>
                  </a:lnTo>
                  <a:cubicBezTo>
                    <a:pt x="-1224" y="6075"/>
                    <a:pt x="-1254" y="5039"/>
                    <a:pt x="-1246" y="4025"/>
                  </a:cubicBezTo>
                  <a:cubicBezTo>
                    <a:pt x="-1246" y="2372"/>
                    <a:pt x="-1178" y="771"/>
                    <a:pt x="-1033" y="-776"/>
                  </a:cubicBezTo>
                  <a:lnTo>
                    <a:pt x="-6062" y="-2719"/>
                  </a:lnTo>
                </a:path>
              </a:pathLst>
            </a:custGeom>
            <a:solidFill>
              <a:srgbClr val="506B83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81CE171E-EB39-836B-494D-E18A1A994D09}"/>
                </a:ext>
              </a:extLst>
            </p:cNvPr>
            <p:cNvSpPr/>
            <p:nvPr/>
          </p:nvSpPr>
          <p:spPr>
            <a:xfrm flipV="1">
              <a:off x="6420053" y="4834669"/>
              <a:ext cx="453173" cy="223493"/>
            </a:xfrm>
            <a:custGeom>
              <a:avLst/>
              <a:gdLst>
                <a:gd name="connsiteX0" fmla="*/ 64181 w 680321"/>
                <a:gd name="connsiteY0" fmla="*/ -3068 h 335516"/>
                <a:gd name="connsiteX1" fmla="*/ -6578 w 680321"/>
                <a:gd name="connsiteY1" fmla="*/ 30064 h 335516"/>
                <a:gd name="connsiteX2" fmla="*/ 13409 w 680321"/>
                <a:gd name="connsiteY2" fmla="*/ 69360 h 335516"/>
                <a:gd name="connsiteX3" fmla="*/ 673743 w 680321"/>
                <a:gd name="connsiteY3" fmla="*/ 332448 h 335516"/>
                <a:gd name="connsiteX4" fmla="*/ 610650 w 680321"/>
                <a:gd name="connsiteY4" fmla="*/ 208433 h 335516"/>
                <a:gd name="connsiteX5" fmla="*/ 64181 w 680321"/>
                <a:gd name="connsiteY5" fmla="*/ -3068 h 33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0321" h="335516">
                  <a:moveTo>
                    <a:pt x="64181" y="-3068"/>
                  </a:moveTo>
                  <a:lnTo>
                    <a:pt x="-6578" y="30064"/>
                  </a:lnTo>
                  <a:lnTo>
                    <a:pt x="13409" y="69360"/>
                  </a:lnTo>
                  <a:lnTo>
                    <a:pt x="673743" y="332448"/>
                  </a:lnTo>
                  <a:lnTo>
                    <a:pt x="610650" y="208433"/>
                  </a:lnTo>
                  <a:lnTo>
                    <a:pt x="64181" y="-3068"/>
                  </a:lnTo>
                </a:path>
              </a:pathLst>
            </a:custGeom>
            <a:solidFill>
              <a:srgbClr val="4DA5C3">
                <a:lumMod val="20000"/>
                <a:lumOff val="80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5747E811-4520-2E3D-7462-DD9590882AA8}"/>
                </a:ext>
              </a:extLst>
            </p:cNvPr>
            <p:cNvSpPr/>
            <p:nvPr/>
          </p:nvSpPr>
          <p:spPr>
            <a:xfrm flipV="1">
              <a:off x="6888433" y="4851810"/>
              <a:ext cx="21958" cy="43316"/>
            </a:xfrm>
            <a:custGeom>
              <a:avLst/>
              <a:gdLst>
                <a:gd name="connsiteX0" fmla="*/ -7010 w 32964"/>
                <a:gd name="connsiteY0" fmla="*/ -3231 h 65028"/>
                <a:gd name="connsiteX1" fmla="*/ 25955 w 32964"/>
                <a:gd name="connsiteY1" fmla="*/ 61798 h 65028"/>
                <a:gd name="connsiteX2" fmla="*/ -6126 w 32964"/>
                <a:gd name="connsiteY2" fmla="*/ -2888 h 65028"/>
                <a:gd name="connsiteX3" fmla="*/ -7010 w 32964"/>
                <a:gd name="connsiteY3" fmla="*/ -3231 h 6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964" h="65028">
                  <a:moveTo>
                    <a:pt x="-7010" y="-3231"/>
                  </a:moveTo>
                  <a:lnTo>
                    <a:pt x="25955" y="61798"/>
                  </a:lnTo>
                  <a:lnTo>
                    <a:pt x="-6126" y="-2888"/>
                  </a:lnTo>
                  <a:lnTo>
                    <a:pt x="-7010" y="-3231"/>
                  </a:lnTo>
                </a:path>
              </a:pathLst>
            </a:custGeom>
            <a:solidFill>
              <a:srgbClr val="8090AD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E340DAD2-0252-953D-4536-1D4589FE40D5}"/>
                </a:ext>
              </a:extLst>
            </p:cNvPr>
            <p:cNvSpPr/>
            <p:nvPr/>
          </p:nvSpPr>
          <p:spPr>
            <a:xfrm flipV="1">
              <a:off x="6346006" y="4811996"/>
              <a:ext cx="584124" cy="293011"/>
            </a:xfrm>
            <a:custGeom>
              <a:avLst/>
              <a:gdLst>
                <a:gd name="connsiteX0" fmla="*/ -6349 w 876910"/>
                <a:gd name="connsiteY0" fmla="*/ -3041 h 439879"/>
                <a:gd name="connsiteX1" fmla="*/ -6562 w 876910"/>
                <a:gd name="connsiteY1" fmla="*/ 1759 h 439879"/>
                <a:gd name="connsiteX2" fmla="*/ -6494 w 876910"/>
                <a:gd name="connsiteY2" fmla="*/ 4861 h 439879"/>
                <a:gd name="connsiteX3" fmla="*/ 44568 w 876910"/>
                <a:gd name="connsiteY3" fmla="*/ 107830 h 439879"/>
                <a:gd name="connsiteX4" fmla="*/ 124586 w 876910"/>
                <a:gd name="connsiteY4" fmla="*/ 139712 h 439879"/>
                <a:gd name="connsiteX5" fmla="*/ 104598 w 876910"/>
                <a:gd name="connsiteY5" fmla="*/ 100416 h 439879"/>
                <a:gd name="connsiteX6" fmla="*/ 175357 w 876910"/>
                <a:gd name="connsiteY6" fmla="*/ 67284 h 439879"/>
                <a:gd name="connsiteX7" fmla="*/ -6349 w 876910"/>
                <a:gd name="connsiteY7" fmla="*/ -3041 h 439879"/>
                <a:gd name="connsiteX8" fmla="*/ 721826 w 876910"/>
                <a:gd name="connsiteY8" fmla="*/ 278785 h 439879"/>
                <a:gd name="connsiteX9" fmla="*/ 784920 w 876910"/>
                <a:gd name="connsiteY9" fmla="*/ 402800 h 439879"/>
                <a:gd name="connsiteX10" fmla="*/ 870347 w 876910"/>
                <a:gd name="connsiteY10" fmla="*/ 436839 h 439879"/>
                <a:gd name="connsiteX11" fmla="*/ 840713 w 876910"/>
                <a:gd name="connsiteY11" fmla="*/ 377067 h 439879"/>
                <a:gd name="connsiteX12" fmla="*/ 807749 w 876910"/>
                <a:gd name="connsiteY12" fmla="*/ 312038 h 439879"/>
                <a:gd name="connsiteX13" fmla="*/ 721826 w 876910"/>
                <a:gd name="connsiteY13" fmla="*/ 278785 h 43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6910" h="439879">
                  <a:moveTo>
                    <a:pt x="-6349" y="-3041"/>
                  </a:moveTo>
                  <a:cubicBezTo>
                    <a:pt x="-6494" y="-1494"/>
                    <a:pt x="-6562" y="106"/>
                    <a:pt x="-6562" y="1759"/>
                  </a:cubicBezTo>
                  <a:cubicBezTo>
                    <a:pt x="-6570" y="2773"/>
                    <a:pt x="-6539" y="3809"/>
                    <a:pt x="-6494" y="4861"/>
                  </a:cubicBezTo>
                  <a:lnTo>
                    <a:pt x="44568" y="107830"/>
                  </a:lnTo>
                  <a:lnTo>
                    <a:pt x="124586" y="139712"/>
                  </a:lnTo>
                  <a:lnTo>
                    <a:pt x="104598" y="100416"/>
                  </a:lnTo>
                  <a:lnTo>
                    <a:pt x="175357" y="67284"/>
                  </a:lnTo>
                  <a:lnTo>
                    <a:pt x="-6349" y="-3041"/>
                  </a:lnTo>
                  <a:moveTo>
                    <a:pt x="721826" y="278785"/>
                  </a:moveTo>
                  <a:lnTo>
                    <a:pt x="784920" y="402800"/>
                  </a:lnTo>
                  <a:lnTo>
                    <a:pt x="870347" y="436839"/>
                  </a:lnTo>
                  <a:lnTo>
                    <a:pt x="840713" y="377067"/>
                  </a:lnTo>
                  <a:lnTo>
                    <a:pt x="807749" y="312038"/>
                  </a:lnTo>
                  <a:lnTo>
                    <a:pt x="721826" y="278785"/>
                  </a:lnTo>
                </a:path>
              </a:pathLst>
            </a:custGeom>
            <a:solidFill>
              <a:srgbClr val="667F99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363D5C5D-4EF9-64F4-E659-BEF320AA906C}"/>
                </a:ext>
              </a:extLst>
            </p:cNvPr>
            <p:cNvSpPr/>
            <p:nvPr/>
          </p:nvSpPr>
          <p:spPr>
            <a:xfrm flipV="1">
              <a:off x="6453330" y="4638662"/>
              <a:ext cx="477526" cy="332024"/>
            </a:xfrm>
            <a:custGeom>
              <a:avLst/>
              <a:gdLst>
                <a:gd name="connsiteX0" fmla="*/ -6656 w 716881"/>
                <a:gd name="connsiteY0" fmla="*/ -3385 h 498447"/>
                <a:gd name="connsiteX1" fmla="*/ 187273 w 716881"/>
                <a:gd name="connsiteY1" fmla="*/ 377783 h 498447"/>
                <a:gd name="connsiteX2" fmla="*/ 444989 w 716881"/>
                <a:gd name="connsiteY2" fmla="*/ 495062 h 498447"/>
                <a:gd name="connsiteX3" fmla="*/ 710226 w 716881"/>
                <a:gd name="connsiteY3" fmla="*/ 370864 h 498447"/>
                <a:gd name="connsiteX4" fmla="*/ 651888 w 716881"/>
                <a:gd name="connsiteY4" fmla="*/ 256198 h 498447"/>
                <a:gd name="connsiteX5" fmla="*/ -6656 w 716881"/>
                <a:gd name="connsiteY5" fmla="*/ -3385 h 498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6881" h="498447">
                  <a:moveTo>
                    <a:pt x="-6656" y="-3385"/>
                  </a:moveTo>
                  <a:lnTo>
                    <a:pt x="187273" y="377783"/>
                  </a:lnTo>
                  <a:lnTo>
                    <a:pt x="444989" y="495062"/>
                  </a:lnTo>
                  <a:lnTo>
                    <a:pt x="710226" y="370864"/>
                  </a:lnTo>
                  <a:lnTo>
                    <a:pt x="651888" y="256198"/>
                  </a:lnTo>
                  <a:lnTo>
                    <a:pt x="-6656" y="-3385"/>
                  </a:lnTo>
                </a:path>
              </a:pathLst>
            </a:custGeom>
            <a:solidFill>
              <a:srgbClr val="4DA5C3">
                <a:lumMod val="20000"/>
                <a:lumOff val="80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33D28B53-E048-FACA-0AFE-864D97AAAE2E}"/>
                </a:ext>
              </a:extLst>
            </p:cNvPr>
            <p:cNvSpPr/>
            <p:nvPr/>
          </p:nvSpPr>
          <p:spPr>
            <a:xfrm flipV="1">
              <a:off x="6949206" y="4755933"/>
              <a:ext cx="9776" cy="19287"/>
            </a:xfrm>
            <a:custGeom>
              <a:avLst/>
              <a:gdLst>
                <a:gd name="connsiteX0" fmla="*/ -7103 w 14676"/>
                <a:gd name="connsiteY0" fmla="*/ -3472 h 28955"/>
                <a:gd name="connsiteX1" fmla="*/ 7573 w 14676"/>
                <a:gd name="connsiteY1" fmla="*/ 25484 h 28955"/>
                <a:gd name="connsiteX2" fmla="*/ -6120 w 14676"/>
                <a:gd name="connsiteY2" fmla="*/ -3084 h 28955"/>
                <a:gd name="connsiteX3" fmla="*/ -7103 w 14676"/>
                <a:gd name="connsiteY3" fmla="*/ -3472 h 2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76" h="28955">
                  <a:moveTo>
                    <a:pt x="-7103" y="-3472"/>
                  </a:moveTo>
                  <a:lnTo>
                    <a:pt x="7573" y="25484"/>
                  </a:lnTo>
                  <a:lnTo>
                    <a:pt x="-6120" y="-3084"/>
                  </a:lnTo>
                  <a:lnTo>
                    <a:pt x="-7103" y="-3472"/>
                  </a:lnTo>
                </a:path>
              </a:pathLst>
            </a:custGeom>
            <a:solidFill>
              <a:srgbClr val="8090AD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B946371E-9221-1AE9-875B-C2DE90BEBC5D}"/>
                </a:ext>
              </a:extLst>
            </p:cNvPr>
            <p:cNvSpPr/>
            <p:nvPr/>
          </p:nvSpPr>
          <p:spPr>
            <a:xfrm flipV="1">
              <a:off x="6965779" y="4667249"/>
              <a:ext cx="20892" cy="34875"/>
            </a:xfrm>
            <a:custGeom>
              <a:avLst/>
              <a:gdLst>
                <a:gd name="connsiteX0" fmla="*/ 21358 w 31364"/>
                <a:gd name="connsiteY0" fmla="*/ -3653 h 52356"/>
                <a:gd name="connsiteX1" fmla="*/ 24063 w 31364"/>
                <a:gd name="connsiteY1" fmla="*/ 15077 h 52356"/>
                <a:gd name="connsiteX2" fmla="*/ 22532 w 31364"/>
                <a:gd name="connsiteY2" fmla="*/ -1199 h 52356"/>
                <a:gd name="connsiteX3" fmla="*/ 21358 w 31364"/>
                <a:gd name="connsiteY3" fmla="*/ -3653 h 52356"/>
                <a:gd name="connsiteX4" fmla="*/ 20025 w 31364"/>
                <a:gd name="connsiteY4" fmla="*/ 28359 h 52356"/>
                <a:gd name="connsiteX5" fmla="*/ -2028 w 31364"/>
                <a:gd name="connsiteY5" fmla="*/ 46312 h 52356"/>
                <a:gd name="connsiteX6" fmla="*/ -7141 w 31364"/>
                <a:gd name="connsiteY6" fmla="*/ 48704 h 52356"/>
                <a:gd name="connsiteX7" fmla="*/ 20025 w 31364"/>
                <a:gd name="connsiteY7" fmla="*/ 28359 h 52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364" h="52356">
                  <a:moveTo>
                    <a:pt x="21358" y="-3653"/>
                  </a:moveTo>
                  <a:cubicBezTo>
                    <a:pt x="23339" y="2756"/>
                    <a:pt x="24490" y="9050"/>
                    <a:pt x="24063" y="15077"/>
                  </a:cubicBezTo>
                  <a:cubicBezTo>
                    <a:pt x="24513" y="10163"/>
                    <a:pt x="24025" y="4752"/>
                    <a:pt x="22532" y="-1199"/>
                  </a:cubicBezTo>
                  <a:lnTo>
                    <a:pt x="21358" y="-3653"/>
                  </a:lnTo>
                  <a:moveTo>
                    <a:pt x="20025" y="28359"/>
                  </a:moveTo>
                  <a:cubicBezTo>
                    <a:pt x="16138" y="34981"/>
                    <a:pt x="9204" y="41054"/>
                    <a:pt x="-2028" y="46312"/>
                  </a:cubicBezTo>
                  <a:lnTo>
                    <a:pt x="-7141" y="48704"/>
                  </a:lnTo>
                  <a:cubicBezTo>
                    <a:pt x="5638" y="43927"/>
                    <a:pt x="15003" y="37313"/>
                    <a:pt x="20025" y="28359"/>
                  </a:cubicBezTo>
                </a:path>
              </a:pathLst>
            </a:custGeom>
            <a:solidFill>
              <a:srgbClr val="608092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00F10E94-FA06-7C98-1FA9-B570C2E97D87}"/>
                </a:ext>
              </a:extLst>
            </p:cNvPr>
            <p:cNvSpPr/>
            <p:nvPr/>
          </p:nvSpPr>
          <p:spPr>
            <a:xfrm flipV="1">
              <a:off x="6806028" y="4630125"/>
              <a:ext cx="2005" cy="548"/>
            </a:xfrm>
            <a:custGeom>
              <a:avLst/>
              <a:gdLst>
                <a:gd name="connsiteX0" fmla="*/ -6852 w 3010"/>
                <a:gd name="connsiteY0" fmla="*/ -3774 h 823"/>
                <a:gd name="connsiteX1" fmla="*/ -6852 w 3010"/>
                <a:gd name="connsiteY1" fmla="*/ -3774 h 823"/>
                <a:gd name="connsiteX2" fmla="*/ -6722 w 3010"/>
                <a:gd name="connsiteY2" fmla="*/ -3560 h 823"/>
                <a:gd name="connsiteX3" fmla="*/ -6852 w 3010"/>
                <a:gd name="connsiteY3" fmla="*/ -3774 h 823"/>
                <a:gd name="connsiteX4" fmla="*/ -6722 w 3010"/>
                <a:gd name="connsiteY4" fmla="*/ -3560 h 823"/>
                <a:gd name="connsiteX5" fmla="*/ -5534 w 3010"/>
                <a:gd name="connsiteY5" fmla="*/ -2951 h 823"/>
                <a:gd name="connsiteX6" fmla="*/ -6722 w 3010"/>
                <a:gd name="connsiteY6" fmla="*/ -3560 h 823"/>
                <a:gd name="connsiteX7" fmla="*/ -3842 w 3010"/>
                <a:gd name="connsiteY7" fmla="*/ -3400 h 823"/>
                <a:gd name="connsiteX8" fmla="*/ -4040 w 3010"/>
                <a:gd name="connsiteY8" fmla="*/ -3309 h 823"/>
                <a:gd name="connsiteX9" fmla="*/ -3842 w 3010"/>
                <a:gd name="connsiteY9" fmla="*/ -3400 h 823"/>
                <a:gd name="connsiteX10" fmla="*/ -4040 w 3010"/>
                <a:gd name="connsiteY10" fmla="*/ -3309 h 823"/>
                <a:gd name="connsiteX11" fmla="*/ -4147 w 3010"/>
                <a:gd name="connsiteY11" fmla="*/ -3271 h 823"/>
                <a:gd name="connsiteX12" fmla="*/ -4040 w 3010"/>
                <a:gd name="connsiteY12" fmla="*/ -3309 h 823"/>
                <a:gd name="connsiteX13" fmla="*/ -4147 w 3010"/>
                <a:gd name="connsiteY13" fmla="*/ -3271 h 823"/>
                <a:gd name="connsiteX14" fmla="*/ -5457 w 3010"/>
                <a:gd name="connsiteY14" fmla="*/ -2951 h 823"/>
                <a:gd name="connsiteX15" fmla="*/ -4147 w 3010"/>
                <a:gd name="connsiteY15" fmla="*/ -3271 h 823"/>
                <a:gd name="connsiteX16" fmla="*/ -5457 w 3010"/>
                <a:gd name="connsiteY16" fmla="*/ -2951 h 823"/>
                <a:gd name="connsiteX17" fmla="*/ -5503 w 3010"/>
                <a:gd name="connsiteY17" fmla="*/ -2951 h 823"/>
                <a:gd name="connsiteX18" fmla="*/ -5503 w 3010"/>
                <a:gd name="connsiteY18" fmla="*/ -2951 h 823"/>
                <a:gd name="connsiteX19" fmla="*/ -5457 w 3010"/>
                <a:gd name="connsiteY19" fmla="*/ -2951 h 823"/>
                <a:gd name="connsiteX20" fmla="*/ -5534 w 3010"/>
                <a:gd name="connsiteY20" fmla="*/ -2951 h 823"/>
                <a:gd name="connsiteX21" fmla="*/ -5503 w 3010"/>
                <a:gd name="connsiteY21" fmla="*/ -2951 h 823"/>
                <a:gd name="connsiteX22" fmla="*/ -5503 w 3010"/>
                <a:gd name="connsiteY22" fmla="*/ -2951 h 823"/>
                <a:gd name="connsiteX23" fmla="*/ -5534 w 3010"/>
                <a:gd name="connsiteY23" fmla="*/ -2951 h 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10" h="823">
                  <a:moveTo>
                    <a:pt x="-6852" y="-3774"/>
                  </a:moveTo>
                  <a:lnTo>
                    <a:pt x="-6852" y="-3774"/>
                  </a:lnTo>
                  <a:cubicBezTo>
                    <a:pt x="-6814" y="-3698"/>
                    <a:pt x="-6768" y="-3629"/>
                    <a:pt x="-6722" y="-3560"/>
                  </a:cubicBezTo>
                  <a:cubicBezTo>
                    <a:pt x="-6768" y="-3629"/>
                    <a:pt x="-6814" y="-3698"/>
                    <a:pt x="-6852" y="-3774"/>
                  </a:cubicBezTo>
                  <a:moveTo>
                    <a:pt x="-6722" y="-3560"/>
                  </a:moveTo>
                  <a:cubicBezTo>
                    <a:pt x="-6456" y="-3164"/>
                    <a:pt x="-6052" y="-2958"/>
                    <a:pt x="-5534" y="-2951"/>
                  </a:cubicBezTo>
                  <a:cubicBezTo>
                    <a:pt x="-6052" y="-2958"/>
                    <a:pt x="-6456" y="-3164"/>
                    <a:pt x="-6722" y="-3560"/>
                  </a:cubicBezTo>
                  <a:moveTo>
                    <a:pt x="-3842" y="-3400"/>
                  </a:moveTo>
                  <a:cubicBezTo>
                    <a:pt x="-3910" y="-3370"/>
                    <a:pt x="-3979" y="-3339"/>
                    <a:pt x="-4040" y="-3309"/>
                  </a:cubicBezTo>
                  <a:cubicBezTo>
                    <a:pt x="-3979" y="-3339"/>
                    <a:pt x="-3910" y="-3370"/>
                    <a:pt x="-3842" y="-3400"/>
                  </a:cubicBezTo>
                  <a:moveTo>
                    <a:pt x="-4040" y="-3309"/>
                  </a:moveTo>
                  <a:cubicBezTo>
                    <a:pt x="-4078" y="-3294"/>
                    <a:pt x="-4109" y="-3279"/>
                    <a:pt x="-4147" y="-3271"/>
                  </a:cubicBezTo>
                  <a:cubicBezTo>
                    <a:pt x="-4109" y="-3279"/>
                    <a:pt x="-4078" y="-3294"/>
                    <a:pt x="-4040" y="-3309"/>
                  </a:cubicBezTo>
                  <a:moveTo>
                    <a:pt x="-4147" y="-3271"/>
                  </a:moveTo>
                  <a:cubicBezTo>
                    <a:pt x="-4642" y="-3065"/>
                    <a:pt x="-5084" y="-2958"/>
                    <a:pt x="-5457" y="-2951"/>
                  </a:cubicBezTo>
                  <a:cubicBezTo>
                    <a:pt x="-5084" y="-2958"/>
                    <a:pt x="-4642" y="-3065"/>
                    <a:pt x="-4147" y="-3271"/>
                  </a:cubicBezTo>
                  <a:moveTo>
                    <a:pt x="-5457" y="-2951"/>
                  </a:moveTo>
                  <a:cubicBezTo>
                    <a:pt x="-5473" y="-2951"/>
                    <a:pt x="-5488" y="-2951"/>
                    <a:pt x="-5503" y="-2951"/>
                  </a:cubicBezTo>
                  <a:lnTo>
                    <a:pt x="-5503" y="-2951"/>
                  </a:lnTo>
                  <a:cubicBezTo>
                    <a:pt x="-5488" y="-2951"/>
                    <a:pt x="-5473" y="-2951"/>
                    <a:pt x="-5457" y="-2951"/>
                  </a:cubicBezTo>
                  <a:moveTo>
                    <a:pt x="-5534" y="-2951"/>
                  </a:moveTo>
                  <a:cubicBezTo>
                    <a:pt x="-5526" y="-2951"/>
                    <a:pt x="-5511" y="-2951"/>
                    <a:pt x="-5503" y="-2951"/>
                  </a:cubicBezTo>
                  <a:lnTo>
                    <a:pt x="-5503" y="-2951"/>
                  </a:lnTo>
                  <a:cubicBezTo>
                    <a:pt x="-5511" y="-2951"/>
                    <a:pt x="-5526" y="-2951"/>
                    <a:pt x="-5534" y="-2951"/>
                  </a:cubicBezTo>
                </a:path>
              </a:pathLst>
            </a:custGeom>
            <a:solidFill>
              <a:srgbClr val="526C7C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C7A56959-61B2-654E-D954-A92B6BCBF891}"/>
                </a:ext>
              </a:extLst>
            </p:cNvPr>
            <p:cNvSpPr/>
            <p:nvPr/>
          </p:nvSpPr>
          <p:spPr>
            <a:xfrm flipV="1">
              <a:off x="6399541" y="4603984"/>
              <a:ext cx="587081" cy="387903"/>
            </a:xfrm>
            <a:custGeom>
              <a:avLst/>
              <a:gdLst>
                <a:gd name="connsiteX0" fmla="*/ -6657 w 881348"/>
                <a:gd name="connsiteY0" fmla="*/ -3400 h 582335"/>
                <a:gd name="connsiteX1" fmla="*/ 177777 w 881348"/>
                <a:gd name="connsiteY1" fmla="*/ 368532 h 582335"/>
                <a:gd name="connsiteX2" fmla="*/ 268021 w 881348"/>
                <a:gd name="connsiteY2" fmla="*/ 409597 h 582335"/>
                <a:gd name="connsiteX3" fmla="*/ 74092 w 881348"/>
                <a:gd name="connsiteY3" fmla="*/ 28429 h 582335"/>
                <a:gd name="connsiteX4" fmla="*/ -6657 w 881348"/>
                <a:gd name="connsiteY4" fmla="*/ -3400 h 582335"/>
                <a:gd name="connsiteX5" fmla="*/ 732635 w 881348"/>
                <a:gd name="connsiteY5" fmla="*/ 288012 h 582335"/>
                <a:gd name="connsiteX6" fmla="*/ 790974 w 881348"/>
                <a:gd name="connsiteY6" fmla="*/ 402678 h 582335"/>
                <a:gd name="connsiteX7" fmla="*/ 525737 w 881348"/>
                <a:gd name="connsiteY7" fmla="*/ 526876 h 582335"/>
                <a:gd name="connsiteX8" fmla="*/ 585965 w 881348"/>
                <a:gd name="connsiteY8" fmla="*/ 554285 h 582335"/>
                <a:gd name="connsiteX9" fmla="*/ 670364 w 881348"/>
                <a:gd name="connsiteY9" fmla="*/ 514768 h 582335"/>
                <a:gd name="connsiteX10" fmla="*/ 585965 w 881348"/>
                <a:gd name="connsiteY10" fmla="*/ 554285 h 582335"/>
                <a:gd name="connsiteX11" fmla="*/ 640136 w 881348"/>
                <a:gd name="connsiteY11" fmla="*/ 578936 h 582335"/>
                <a:gd name="connsiteX12" fmla="*/ 843384 w 881348"/>
                <a:gd name="connsiteY12" fmla="*/ 483968 h 582335"/>
                <a:gd name="connsiteX13" fmla="*/ 843399 w 881348"/>
                <a:gd name="connsiteY13" fmla="*/ 483960 h 582335"/>
                <a:gd name="connsiteX14" fmla="*/ 848512 w 881348"/>
                <a:gd name="connsiteY14" fmla="*/ 481568 h 582335"/>
                <a:gd name="connsiteX15" fmla="*/ 870565 w 881348"/>
                <a:gd name="connsiteY15" fmla="*/ 463615 h 582335"/>
                <a:gd name="connsiteX16" fmla="*/ 874603 w 881348"/>
                <a:gd name="connsiteY16" fmla="*/ 450333 h 582335"/>
                <a:gd name="connsiteX17" fmla="*/ 871898 w 881348"/>
                <a:gd name="connsiteY17" fmla="*/ 431603 h 582335"/>
                <a:gd name="connsiteX18" fmla="*/ 833196 w 881348"/>
                <a:gd name="connsiteY18" fmla="*/ 350824 h 582335"/>
                <a:gd name="connsiteX19" fmla="*/ 818520 w 881348"/>
                <a:gd name="connsiteY19" fmla="*/ 321868 h 582335"/>
                <a:gd name="connsiteX20" fmla="*/ 732635 w 881348"/>
                <a:gd name="connsiteY20" fmla="*/ 288012 h 582335"/>
                <a:gd name="connsiteX21" fmla="*/ 691655 w 881348"/>
                <a:gd name="connsiteY21" fmla="*/ 504793 h 582335"/>
                <a:gd name="connsiteX22" fmla="*/ 713714 w 881348"/>
                <a:gd name="connsiteY22" fmla="*/ 494461 h 582335"/>
                <a:gd name="connsiteX23" fmla="*/ 691655 w 881348"/>
                <a:gd name="connsiteY23" fmla="*/ 504793 h 582335"/>
                <a:gd name="connsiteX24" fmla="*/ 603575 w 881348"/>
                <a:gd name="connsiteY24" fmla="*/ 538870 h 582335"/>
                <a:gd name="connsiteX25" fmla="*/ 603575 w 881348"/>
                <a:gd name="connsiteY25" fmla="*/ 538870 h 582335"/>
                <a:gd name="connsiteX26" fmla="*/ 610425 w 881348"/>
                <a:gd name="connsiteY26" fmla="*/ 535654 h 582335"/>
                <a:gd name="connsiteX27" fmla="*/ 610425 w 881348"/>
                <a:gd name="connsiteY27" fmla="*/ 535654 h 582335"/>
                <a:gd name="connsiteX28" fmla="*/ 610425 w 881348"/>
                <a:gd name="connsiteY28" fmla="*/ 535654 h 582335"/>
                <a:gd name="connsiteX29" fmla="*/ 610425 w 881348"/>
                <a:gd name="connsiteY29" fmla="*/ 535654 h 582335"/>
                <a:gd name="connsiteX30" fmla="*/ 606585 w 881348"/>
                <a:gd name="connsiteY30" fmla="*/ 539243 h 582335"/>
                <a:gd name="connsiteX31" fmla="*/ 610425 w 881348"/>
                <a:gd name="connsiteY31" fmla="*/ 535654 h 582335"/>
                <a:gd name="connsiteX32" fmla="*/ 610425 w 881348"/>
                <a:gd name="connsiteY32" fmla="*/ 535654 h 582335"/>
                <a:gd name="connsiteX33" fmla="*/ 603575 w 881348"/>
                <a:gd name="connsiteY33" fmla="*/ 538870 h 582335"/>
                <a:gd name="connsiteX34" fmla="*/ 603705 w 881348"/>
                <a:gd name="connsiteY34" fmla="*/ 539083 h 582335"/>
                <a:gd name="connsiteX35" fmla="*/ 604893 w 881348"/>
                <a:gd name="connsiteY35" fmla="*/ 539693 h 582335"/>
                <a:gd name="connsiteX36" fmla="*/ 604924 w 881348"/>
                <a:gd name="connsiteY36" fmla="*/ 539693 h 582335"/>
                <a:gd name="connsiteX37" fmla="*/ 604969 w 881348"/>
                <a:gd name="connsiteY37" fmla="*/ 539693 h 582335"/>
                <a:gd name="connsiteX38" fmla="*/ 606280 w 881348"/>
                <a:gd name="connsiteY38" fmla="*/ 539373 h 582335"/>
                <a:gd name="connsiteX39" fmla="*/ 606387 w 881348"/>
                <a:gd name="connsiteY39" fmla="*/ 539335 h 582335"/>
                <a:gd name="connsiteX40" fmla="*/ 606585 w 881348"/>
                <a:gd name="connsiteY40" fmla="*/ 539243 h 582335"/>
                <a:gd name="connsiteX41" fmla="*/ 606387 w 881348"/>
                <a:gd name="connsiteY41" fmla="*/ 539335 h 582335"/>
                <a:gd name="connsiteX42" fmla="*/ 606280 w 881348"/>
                <a:gd name="connsiteY42" fmla="*/ 539373 h 582335"/>
                <a:gd name="connsiteX43" fmla="*/ 604969 w 881348"/>
                <a:gd name="connsiteY43" fmla="*/ 539693 h 582335"/>
                <a:gd name="connsiteX44" fmla="*/ 604924 w 881348"/>
                <a:gd name="connsiteY44" fmla="*/ 539693 h 582335"/>
                <a:gd name="connsiteX45" fmla="*/ 604924 w 881348"/>
                <a:gd name="connsiteY45" fmla="*/ 539693 h 582335"/>
                <a:gd name="connsiteX46" fmla="*/ 604924 w 881348"/>
                <a:gd name="connsiteY46" fmla="*/ 539693 h 582335"/>
                <a:gd name="connsiteX47" fmla="*/ 604893 w 881348"/>
                <a:gd name="connsiteY47" fmla="*/ 539693 h 582335"/>
                <a:gd name="connsiteX48" fmla="*/ 603705 w 881348"/>
                <a:gd name="connsiteY48" fmla="*/ 539083 h 582335"/>
                <a:gd name="connsiteX49" fmla="*/ 603575 w 881348"/>
                <a:gd name="connsiteY49" fmla="*/ 538870 h 582335"/>
                <a:gd name="connsiteX50" fmla="*/ 603575 w 881348"/>
                <a:gd name="connsiteY50" fmla="*/ 538870 h 582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881348" h="582335">
                  <a:moveTo>
                    <a:pt x="-6657" y="-3400"/>
                  </a:moveTo>
                  <a:lnTo>
                    <a:pt x="177777" y="368532"/>
                  </a:lnTo>
                  <a:lnTo>
                    <a:pt x="268021" y="409597"/>
                  </a:lnTo>
                  <a:lnTo>
                    <a:pt x="74092" y="28429"/>
                  </a:lnTo>
                  <a:lnTo>
                    <a:pt x="-6657" y="-3400"/>
                  </a:lnTo>
                  <a:moveTo>
                    <a:pt x="732635" y="288012"/>
                  </a:moveTo>
                  <a:lnTo>
                    <a:pt x="790974" y="402678"/>
                  </a:lnTo>
                  <a:lnTo>
                    <a:pt x="525737" y="526876"/>
                  </a:lnTo>
                  <a:lnTo>
                    <a:pt x="585965" y="554285"/>
                  </a:lnTo>
                  <a:lnTo>
                    <a:pt x="670364" y="514768"/>
                  </a:lnTo>
                  <a:lnTo>
                    <a:pt x="585965" y="554285"/>
                  </a:lnTo>
                  <a:lnTo>
                    <a:pt x="640136" y="578936"/>
                  </a:lnTo>
                  <a:lnTo>
                    <a:pt x="843384" y="483968"/>
                  </a:lnTo>
                  <a:cubicBezTo>
                    <a:pt x="843384" y="483968"/>
                    <a:pt x="843392" y="483968"/>
                    <a:pt x="843399" y="483960"/>
                  </a:cubicBezTo>
                  <a:lnTo>
                    <a:pt x="848512" y="481568"/>
                  </a:lnTo>
                  <a:cubicBezTo>
                    <a:pt x="859744" y="476310"/>
                    <a:pt x="866678" y="470237"/>
                    <a:pt x="870565" y="463615"/>
                  </a:cubicBezTo>
                  <a:cubicBezTo>
                    <a:pt x="872790" y="459660"/>
                    <a:pt x="874161" y="455248"/>
                    <a:pt x="874603" y="450333"/>
                  </a:cubicBezTo>
                  <a:cubicBezTo>
                    <a:pt x="875029" y="444306"/>
                    <a:pt x="873879" y="438012"/>
                    <a:pt x="871898" y="431603"/>
                  </a:cubicBezTo>
                  <a:lnTo>
                    <a:pt x="833196" y="350824"/>
                  </a:lnTo>
                  <a:lnTo>
                    <a:pt x="818520" y="321868"/>
                  </a:lnTo>
                  <a:lnTo>
                    <a:pt x="732635" y="288012"/>
                  </a:lnTo>
                  <a:moveTo>
                    <a:pt x="691655" y="504793"/>
                  </a:moveTo>
                  <a:lnTo>
                    <a:pt x="713714" y="494461"/>
                  </a:lnTo>
                  <a:lnTo>
                    <a:pt x="691655" y="504793"/>
                  </a:lnTo>
                  <a:moveTo>
                    <a:pt x="603575" y="538870"/>
                  </a:moveTo>
                  <a:lnTo>
                    <a:pt x="603575" y="538870"/>
                  </a:lnTo>
                  <a:cubicBezTo>
                    <a:pt x="605610" y="537917"/>
                    <a:pt x="607888" y="536851"/>
                    <a:pt x="610425" y="535654"/>
                  </a:cubicBezTo>
                  <a:lnTo>
                    <a:pt x="610425" y="535654"/>
                  </a:lnTo>
                  <a:lnTo>
                    <a:pt x="610425" y="535654"/>
                  </a:lnTo>
                  <a:lnTo>
                    <a:pt x="610425" y="535654"/>
                  </a:lnTo>
                  <a:cubicBezTo>
                    <a:pt x="609877" y="535929"/>
                    <a:pt x="608597" y="537117"/>
                    <a:pt x="606585" y="539243"/>
                  </a:cubicBezTo>
                  <a:cubicBezTo>
                    <a:pt x="608597" y="537117"/>
                    <a:pt x="609877" y="535929"/>
                    <a:pt x="610425" y="535654"/>
                  </a:cubicBezTo>
                  <a:lnTo>
                    <a:pt x="610425" y="535654"/>
                  </a:lnTo>
                  <a:cubicBezTo>
                    <a:pt x="607888" y="536851"/>
                    <a:pt x="605610" y="537917"/>
                    <a:pt x="603575" y="538870"/>
                  </a:cubicBezTo>
                  <a:cubicBezTo>
                    <a:pt x="603613" y="538946"/>
                    <a:pt x="603659" y="539015"/>
                    <a:pt x="603705" y="539083"/>
                  </a:cubicBezTo>
                  <a:cubicBezTo>
                    <a:pt x="603971" y="539480"/>
                    <a:pt x="604375" y="539685"/>
                    <a:pt x="604893" y="539693"/>
                  </a:cubicBezTo>
                  <a:cubicBezTo>
                    <a:pt x="604901" y="539693"/>
                    <a:pt x="604916" y="539693"/>
                    <a:pt x="604924" y="539693"/>
                  </a:cubicBezTo>
                  <a:cubicBezTo>
                    <a:pt x="604939" y="539693"/>
                    <a:pt x="604954" y="539693"/>
                    <a:pt x="604969" y="539693"/>
                  </a:cubicBezTo>
                  <a:cubicBezTo>
                    <a:pt x="605343" y="539685"/>
                    <a:pt x="605785" y="539579"/>
                    <a:pt x="606280" y="539373"/>
                  </a:cubicBezTo>
                  <a:cubicBezTo>
                    <a:pt x="606318" y="539365"/>
                    <a:pt x="606349" y="539350"/>
                    <a:pt x="606387" y="539335"/>
                  </a:cubicBezTo>
                  <a:cubicBezTo>
                    <a:pt x="606448" y="539304"/>
                    <a:pt x="606516" y="539274"/>
                    <a:pt x="606585" y="539243"/>
                  </a:cubicBezTo>
                  <a:cubicBezTo>
                    <a:pt x="606516" y="539274"/>
                    <a:pt x="606448" y="539304"/>
                    <a:pt x="606387" y="539335"/>
                  </a:cubicBezTo>
                  <a:cubicBezTo>
                    <a:pt x="606349" y="539350"/>
                    <a:pt x="606318" y="539365"/>
                    <a:pt x="606280" y="539373"/>
                  </a:cubicBezTo>
                  <a:cubicBezTo>
                    <a:pt x="605785" y="539579"/>
                    <a:pt x="605343" y="539685"/>
                    <a:pt x="604969" y="539693"/>
                  </a:cubicBezTo>
                  <a:cubicBezTo>
                    <a:pt x="604954" y="539693"/>
                    <a:pt x="604939" y="539693"/>
                    <a:pt x="604924" y="539693"/>
                  </a:cubicBezTo>
                  <a:lnTo>
                    <a:pt x="604924" y="539693"/>
                  </a:lnTo>
                  <a:lnTo>
                    <a:pt x="604924" y="539693"/>
                  </a:lnTo>
                  <a:cubicBezTo>
                    <a:pt x="604916" y="539693"/>
                    <a:pt x="604901" y="539693"/>
                    <a:pt x="604893" y="539693"/>
                  </a:cubicBezTo>
                  <a:cubicBezTo>
                    <a:pt x="604375" y="539685"/>
                    <a:pt x="603971" y="539480"/>
                    <a:pt x="603705" y="539083"/>
                  </a:cubicBezTo>
                  <a:cubicBezTo>
                    <a:pt x="603659" y="539015"/>
                    <a:pt x="603613" y="538946"/>
                    <a:pt x="603575" y="538870"/>
                  </a:cubicBezTo>
                  <a:lnTo>
                    <a:pt x="603575" y="538870"/>
                  </a:lnTo>
                </a:path>
              </a:pathLst>
            </a:custGeom>
            <a:solidFill>
              <a:srgbClr val="667F99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067C6051-BC4D-A351-5262-823FBA5629FD}"/>
                </a:ext>
              </a:extLst>
            </p:cNvPr>
            <p:cNvSpPr/>
            <p:nvPr/>
          </p:nvSpPr>
          <p:spPr>
            <a:xfrm flipV="1">
              <a:off x="3323556" y="4681050"/>
              <a:ext cx="495404" cy="459802"/>
            </a:xfrm>
            <a:custGeom>
              <a:avLst/>
              <a:gdLst>
                <a:gd name="connsiteX0" fmla="*/ 742393 w 743719"/>
                <a:gd name="connsiteY0" fmla="*/ 537072 h 690272"/>
                <a:gd name="connsiteX1" fmla="*/ 609736 w 743719"/>
                <a:gd name="connsiteY1" fmla="*/ -3147 h 690272"/>
                <a:gd name="connsiteX2" fmla="*/ -1327 w 743719"/>
                <a:gd name="connsiteY2" fmla="*/ 146906 h 690272"/>
                <a:gd name="connsiteX3" fmla="*/ 131330 w 743719"/>
                <a:gd name="connsiteY3" fmla="*/ 687125 h 690272"/>
                <a:gd name="connsiteX4" fmla="*/ 742393 w 743719"/>
                <a:gd name="connsiteY4" fmla="*/ 537072 h 69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719" h="690272">
                  <a:moveTo>
                    <a:pt x="742393" y="537072"/>
                  </a:moveTo>
                  <a:lnTo>
                    <a:pt x="609736" y="-3147"/>
                  </a:lnTo>
                  <a:lnTo>
                    <a:pt x="-1327" y="146906"/>
                  </a:lnTo>
                  <a:lnTo>
                    <a:pt x="131330" y="687125"/>
                  </a:lnTo>
                  <a:lnTo>
                    <a:pt x="742393" y="537072"/>
                  </a:lnTo>
                </a:path>
              </a:pathLst>
            </a:custGeom>
            <a:solidFill>
              <a:srgbClr val="E5E9E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58D6DB6A-6F1A-7061-1303-C049D25622A0}"/>
                </a:ext>
              </a:extLst>
            </p:cNvPr>
            <p:cNvSpPr/>
            <p:nvPr/>
          </p:nvSpPr>
          <p:spPr>
            <a:xfrm flipV="1">
              <a:off x="3367437" y="4964107"/>
              <a:ext cx="353946" cy="86913"/>
            </a:xfrm>
            <a:custGeom>
              <a:avLst/>
              <a:gdLst>
                <a:gd name="connsiteX0" fmla="*/ -1281 w 531357"/>
                <a:gd name="connsiteY0" fmla="*/ 127546 h 130477"/>
                <a:gd name="connsiteX1" fmla="*/ 530077 w 531357"/>
                <a:gd name="connsiteY1" fmla="*/ -2932 h 130477"/>
                <a:gd name="connsiteX2" fmla="*/ -1281 w 531357"/>
                <a:gd name="connsiteY2" fmla="*/ 127546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357" h="130477">
                  <a:moveTo>
                    <a:pt x="-1281" y="127546"/>
                  </a:moveTo>
                  <a:lnTo>
                    <a:pt x="530077" y="-2932"/>
                  </a:lnTo>
                  <a:lnTo>
                    <a:pt x="-1281" y="127546"/>
                  </a:lnTo>
                </a:path>
              </a:pathLst>
            </a:custGeom>
            <a:solidFill>
              <a:srgbClr val="E5E9E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0792D669-51FE-90B2-AF71-D302C17FF1D1}"/>
                </a:ext>
              </a:extLst>
            </p:cNvPr>
            <p:cNvSpPr/>
            <p:nvPr/>
          </p:nvSpPr>
          <p:spPr>
            <a:xfrm flipV="1">
              <a:off x="3366223" y="4959179"/>
              <a:ext cx="356367" cy="96770"/>
            </a:xfrm>
            <a:custGeom>
              <a:avLst/>
              <a:gdLst>
                <a:gd name="connsiteX0" fmla="*/ 540 w 534992"/>
                <a:gd name="connsiteY0" fmla="*/ 134945 h 145275"/>
                <a:gd name="connsiteX1" fmla="*/ -1281 w 534992"/>
                <a:gd name="connsiteY1" fmla="*/ 127546 h 145275"/>
                <a:gd name="connsiteX2" fmla="*/ 530077 w 534992"/>
                <a:gd name="connsiteY2" fmla="*/ -2932 h 145275"/>
                <a:gd name="connsiteX3" fmla="*/ 533712 w 534992"/>
                <a:gd name="connsiteY3" fmla="*/ 11866 h 145275"/>
                <a:gd name="connsiteX4" fmla="*/ 2354 w 534992"/>
                <a:gd name="connsiteY4" fmla="*/ 142344 h 145275"/>
                <a:gd name="connsiteX5" fmla="*/ -1281 w 534992"/>
                <a:gd name="connsiteY5" fmla="*/ 127546 h 145275"/>
                <a:gd name="connsiteX6" fmla="*/ 540 w 534992"/>
                <a:gd name="connsiteY6" fmla="*/ 134945 h 145275"/>
                <a:gd name="connsiteX7" fmla="*/ -1281 w 534992"/>
                <a:gd name="connsiteY7" fmla="*/ 127546 h 145275"/>
                <a:gd name="connsiteX8" fmla="*/ 530077 w 534992"/>
                <a:gd name="connsiteY8" fmla="*/ -2932 h 145275"/>
                <a:gd name="connsiteX9" fmla="*/ 533712 w 534992"/>
                <a:gd name="connsiteY9" fmla="*/ 11866 h 145275"/>
                <a:gd name="connsiteX10" fmla="*/ 2354 w 534992"/>
                <a:gd name="connsiteY10" fmla="*/ 142344 h 145275"/>
                <a:gd name="connsiteX11" fmla="*/ -1281 w 534992"/>
                <a:gd name="connsiteY11" fmla="*/ 127546 h 145275"/>
                <a:gd name="connsiteX12" fmla="*/ 540 w 534992"/>
                <a:gd name="connsiteY12" fmla="*/ 134945 h 14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4992" h="145275">
                  <a:moveTo>
                    <a:pt x="540" y="134945"/>
                  </a:moveTo>
                  <a:lnTo>
                    <a:pt x="-1281" y="127546"/>
                  </a:lnTo>
                  <a:lnTo>
                    <a:pt x="530077" y="-2932"/>
                  </a:lnTo>
                  <a:lnTo>
                    <a:pt x="533712" y="11866"/>
                  </a:lnTo>
                  <a:lnTo>
                    <a:pt x="2354" y="142344"/>
                  </a:lnTo>
                  <a:lnTo>
                    <a:pt x="-1281" y="127546"/>
                  </a:lnTo>
                  <a:lnTo>
                    <a:pt x="540" y="134945"/>
                  </a:lnTo>
                  <a:lnTo>
                    <a:pt x="-1281" y="127546"/>
                  </a:lnTo>
                  <a:lnTo>
                    <a:pt x="530077" y="-2932"/>
                  </a:lnTo>
                  <a:lnTo>
                    <a:pt x="533712" y="11866"/>
                  </a:lnTo>
                  <a:lnTo>
                    <a:pt x="2354" y="142344"/>
                  </a:lnTo>
                  <a:lnTo>
                    <a:pt x="-1281" y="127546"/>
                  </a:lnTo>
                  <a:lnTo>
                    <a:pt x="540" y="134945"/>
                  </a:lnTo>
                </a:path>
              </a:pathLst>
            </a:custGeom>
            <a:solidFill>
              <a:srgbClr val="535456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9E825E96-BAF4-B3C7-FAC7-76CBF825B19E}"/>
                </a:ext>
              </a:extLst>
            </p:cNvPr>
            <p:cNvSpPr/>
            <p:nvPr/>
          </p:nvSpPr>
          <p:spPr>
            <a:xfrm flipV="1">
              <a:off x="3381918" y="4905116"/>
              <a:ext cx="353951" cy="86913"/>
            </a:xfrm>
            <a:custGeom>
              <a:avLst/>
              <a:gdLst>
                <a:gd name="connsiteX0" fmla="*/ -1306 w 531365"/>
                <a:gd name="connsiteY0" fmla="*/ 127414 h 130477"/>
                <a:gd name="connsiteX1" fmla="*/ 530060 w 531365"/>
                <a:gd name="connsiteY1" fmla="*/ -3063 h 130477"/>
                <a:gd name="connsiteX2" fmla="*/ -1306 w 531365"/>
                <a:gd name="connsiteY2" fmla="*/ 127414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365" h="130477">
                  <a:moveTo>
                    <a:pt x="-1306" y="127414"/>
                  </a:moveTo>
                  <a:lnTo>
                    <a:pt x="530060" y="-3063"/>
                  </a:lnTo>
                  <a:lnTo>
                    <a:pt x="-1306" y="127414"/>
                  </a:lnTo>
                </a:path>
              </a:pathLst>
            </a:custGeom>
            <a:solidFill>
              <a:srgbClr val="E5E9E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BCD3B836-ABAC-46A6-C809-68E07BD5E65F}"/>
                </a:ext>
              </a:extLst>
            </p:cNvPr>
            <p:cNvSpPr/>
            <p:nvPr/>
          </p:nvSpPr>
          <p:spPr>
            <a:xfrm flipV="1">
              <a:off x="3380710" y="4900188"/>
              <a:ext cx="356367" cy="96770"/>
            </a:xfrm>
            <a:custGeom>
              <a:avLst/>
              <a:gdLst>
                <a:gd name="connsiteX0" fmla="*/ 508 w 534992"/>
                <a:gd name="connsiteY0" fmla="*/ 134813 h 145275"/>
                <a:gd name="connsiteX1" fmla="*/ -1306 w 534992"/>
                <a:gd name="connsiteY1" fmla="*/ 127414 h 145275"/>
                <a:gd name="connsiteX2" fmla="*/ 530052 w 534992"/>
                <a:gd name="connsiteY2" fmla="*/ -3063 h 145275"/>
                <a:gd name="connsiteX3" fmla="*/ 533687 w 534992"/>
                <a:gd name="connsiteY3" fmla="*/ 11735 h 145275"/>
                <a:gd name="connsiteX4" fmla="*/ 2329 w 534992"/>
                <a:gd name="connsiteY4" fmla="*/ 142212 h 145275"/>
                <a:gd name="connsiteX5" fmla="*/ -1306 w 534992"/>
                <a:gd name="connsiteY5" fmla="*/ 127414 h 145275"/>
                <a:gd name="connsiteX6" fmla="*/ 508 w 534992"/>
                <a:gd name="connsiteY6" fmla="*/ 134813 h 145275"/>
                <a:gd name="connsiteX7" fmla="*/ -1306 w 534992"/>
                <a:gd name="connsiteY7" fmla="*/ 127414 h 145275"/>
                <a:gd name="connsiteX8" fmla="*/ 530052 w 534992"/>
                <a:gd name="connsiteY8" fmla="*/ -3063 h 145275"/>
                <a:gd name="connsiteX9" fmla="*/ 533687 w 534992"/>
                <a:gd name="connsiteY9" fmla="*/ 11735 h 145275"/>
                <a:gd name="connsiteX10" fmla="*/ 2329 w 534992"/>
                <a:gd name="connsiteY10" fmla="*/ 142212 h 145275"/>
                <a:gd name="connsiteX11" fmla="*/ -1306 w 534992"/>
                <a:gd name="connsiteY11" fmla="*/ 127414 h 145275"/>
                <a:gd name="connsiteX12" fmla="*/ 508 w 534992"/>
                <a:gd name="connsiteY12" fmla="*/ 134813 h 14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4992" h="145275">
                  <a:moveTo>
                    <a:pt x="508" y="134813"/>
                  </a:moveTo>
                  <a:lnTo>
                    <a:pt x="-1306" y="127414"/>
                  </a:lnTo>
                  <a:lnTo>
                    <a:pt x="530052" y="-3063"/>
                  </a:lnTo>
                  <a:lnTo>
                    <a:pt x="533687" y="11735"/>
                  </a:lnTo>
                  <a:lnTo>
                    <a:pt x="2329" y="142212"/>
                  </a:lnTo>
                  <a:lnTo>
                    <a:pt x="-1306" y="127414"/>
                  </a:lnTo>
                  <a:lnTo>
                    <a:pt x="508" y="134813"/>
                  </a:lnTo>
                  <a:lnTo>
                    <a:pt x="-1306" y="127414"/>
                  </a:lnTo>
                  <a:lnTo>
                    <a:pt x="530052" y="-3063"/>
                  </a:lnTo>
                  <a:lnTo>
                    <a:pt x="533687" y="11735"/>
                  </a:lnTo>
                  <a:lnTo>
                    <a:pt x="2329" y="142212"/>
                  </a:lnTo>
                  <a:lnTo>
                    <a:pt x="-1306" y="127414"/>
                  </a:lnTo>
                  <a:lnTo>
                    <a:pt x="508" y="134813"/>
                  </a:lnTo>
                </a:path>
              </a:pathLst>
            </a:custGeom>
            <a:solidFill>
              <a:srgbClr val="535456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EEF5E3F0-B972-59C6-BC94-02EF402B7B09}"/>
                </a:ext>
              </a:extLst>
            </p:cNvPr>
            <p:cNvSpPr/>
            <p:nvPr/>
          </p:nvSpPr>
          <p:spPr>
            <a:xfrm flipV="1">
              <a:off x="3396404" y="4846126"/>
              <a:ext cx="353946" cy="86913"/>
            </a:xfrm>
            <a:custGeom>
              <a:avLst/>
              <a:gdLst>
                <a:gd name="connsiteX0" fmla="*/ -1331 w 531357"/>
                <a:gd name="connsiteY0" fmla="*/ 127282 h 130477"/>
                <a:gd name="connsiteX1" fmla="*/ 530027 w 531357"/>
                <a:gd name="connsiteY1" fmla="*/ -3195 h 130477"/>
                <a:gd name="connsiteX2" fmla="*/ -1331 w 531357"/>
                <a:gd name="connsiteY2" fmla="*/ 127282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357" h="130477">
                  <a:moveTo>
                    <a:pt x="-1331" y="127282"/>
                  </a:moveTo>
                  <a:lnTo>
                    <a:pt x="530027" y="-3195"/>
                  </a:lnTo>
                  <a:lnTo>
                    <a:pt x="-1331" y="127282"/>
                  </a:lnTo>
                </a:path>
              </a:pathLst>
            </a:custGeom>
            <a:solidFill>
              <a:srgbClr val="E5E9E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BCFC225B-8F27-083A-2F9A-BA82175354FD}"/>
                </a:ext>
              </a:extLst>
            </p:cNvPr>
            <p:cNvSpPr/>
            <p:nvPr/>
          </p:nvSpPr>
          <p:spPr>
            <a:xfrm flipV="1">
              <a:off x="3396404" y="4846126"/>
              <a:ext cx="353946" cy="86913"/>
            </a:xfrm>
            <a:custGeom>
              <a:avLst/>
              <a:gdLst>
                <a:gd name="connsiteX0" fmla="*/ -1331 w 531357"/>
                <a:gd name="connsiteY0" fmla="*/ 127282 h 130477"/>
                <a:gd name="connsiteX1" fmla="*/ 530027 w 531357"/>
                <a:gd name="connsiteY1" fmla="*/ -3195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1357" h="130477">
                  <a:moveTo>
                    <a:pt x="-1331" y="127282"/>
                  </a:moveTo>
                  <a:lnTo>
                    <a:pt x="530027" y="-3195"/>
                  </a:lnTo>
                  <a:close/>
                </a:path>
              </a:pathLst>
            </a:custGeom>
            <a:noFill/>
            <a:ln w="15240" cap="flat">
              <a:solidFill>
                <a:srgbClr val="14527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6CF54949-104C-0A7C-F32E-C4BD1B99A007}"/>
                </a:ext>
              </a:extLst>
            </p:cNvPr>
            <p:cNvSpPr/>
            <p:nvPr/>
          </p:nvSpPr>
          <p:spPr>
            <a:xfrm flipV="1">
              <a:off x="3409444" y="4793032"/>
              <a:ext cx="353946" cy="86913"/>
            </a:xfrm>
            <a:custGeom>
              <a:avLst/>
              <a:gdLst>
                <a:gd name="connsiteX0" fmla="*/ -1353 w 531357"/>
                <a:gd name="connsiteY0" fmla="*/ 127164 h 130477"/>
                <a:gd name="connsiteX1" fmla="*/ 530005 w 531357"/>
                <a:gd name="connsiteY1" fmla="*/ -3314 h 130477"/>
                <a:gd name="connsiteX2" fmla="*/ -1353 w 531357"/>
                <a:gd name="connsiteY2" fmla="*/ 127164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357" h="130477">
                  <a:moveTo>
                    <a:pt x="-1353" y="127164"/>
                  </a:moveTo>
                  <a:lnTo>
                    <a:pt x="530005" y="-3314"/>
                  </a:lnTo>
                  <a:lnTo>
                    <a:pt x="-1353" y="127164"/>
                  </a:lnTo>
                </a:path>
              </a:pathLst>
            </a:custGeom>
            <a:solidFill>
              <a:srgbClr val="E5E9E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21E5694B-AAB9-0B7D-1B6C-46CA6D74F043}"/>
                </a:ext>
              </a:extLst>
            </p:cNvPr>
            <p:cNvSpPr/>
            <p:nvPr/>
          </p:nvSpPr>
          <p:spPr>
            <a:xfrm flipV="1">
              <a:off x="3409444" y="4793032"/>
              <a:ext cx="353946" cy="86913"/>
            </a:xfrm>
            <a:custGeom>
              <a:avLst/>
              <a:gdLst>
                <a:gd name="connsiteX0" fmla="*/ -1353 w 531357"/>
                <a:gd name="connsiteY0" fmla="*/ 127164 h 130477"/>
                <a:gd name="connsiteX1" fmla="*/ 530005 w 531357"/>
                <a:gd name="connsiteY1" fmla="*/ -3314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1357" h="130477">
                  <a:moveTo>
                    <a:pt x="-1353" y="127164"/>
                  </a:moveTo>
                  <a:lnTo>
                    <a:pt x="530005" y="-3314"/>
                  </a:lnTo>
                  <a:close/>
                </a:path>
              </a:pathLst>
            </a:custGeom>
            <a:noFill/>
            <a:ln w="15240" cap="flat">
              <a:solidFill>
                <a:srgbClr val="14527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B7D45A0C-9BCF-CE9F-BEBF-4EC3DCF955F7}"/>
                </a:ext>
              </a:extLst>
            </p:cNvPr>
            <p:cNvSpPr/>
            <p:nvPr/>
          </p:nvSpPr>
          <p:spPr>
            <a:xfrm flipV="1">
              <a:off x="3047592" y="4977670"/>
              <a:ext cx="707839" cy="1121738"/>
            </a:xfrm>
            <a:custGeom>
              <a:avLst/>
              <a:gdLst>
                <a:gd name="connsiteX0" fmla="*/ 1061599 w 1062635"/>
                <a:gd name="connsiteY0" fmla="*/ 1512630 h 1683997"/>
                <a:gd name="connsiteX1" fmla="*/ 689727 w 1062635"/>
                <a:gd name="connsiteY1" fmla="*/ -1746 h 1683997"/>
                <a:gd name="connsiteX2" fmla="*/ -1037 w 1062635"/>
                <a:gd name="connsiteY2" fmla="*/ 167875 h 1683997"/>
                <a:gd name="connsiteX3" fmla="*/ 370830 w 1062635"/>
                <a:gd name="connsiteY3" fmla="*/ 1682251 h 1683997"/>
                <a:gd name="connsiteX4" fmla="*/ 1061599 w 1062635"/>
                <a:gd name="connsiteY4" fmla="*/ 1512630 h 1683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2635" h="1683997">
                  <a:moveTo>
                    <a:pt x="1061599" y="1512630"/>
                  </a:moveTo>
                  <a:lnTo>
                    <a:pt x="689727" y="-1746"/>
                  </a:lnTo>
                  <a:lnTo>
                    <a:pt x="-1037" y="167875"/>
                  </a:lnTo>
                  <a:lnTo>
                    <a:pt x="370830" y="1682251"/>
                  </a:lnTo>
                  <a:lnTo>
                    <a:pt x="1061599" y="1512630"/>
                  </a:lnTo>
                </a:path>
              </a:pathLst>
            </a:custGeom>
            <a:solidFill>
              <a:srgbClr val="FFFFFF">
                <a:lumMod val="9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F8BEDB0D-C4E9-D10B-445B-49F10AA7F527}"/>
                </a:ext>
              </a:extLst>
            </p:cNvPr>
            <p:cNvSpPr/>
            <p:nvPr/>
          </p:nvSpPr>
          <p:spPr>
            <a:xfrm flipV="1">
              <a:off x="3047592" y="4977670"/>
              <a:ext cx="353918" cy="1008750"/>
            </a:xfrm>
            <a:custGeom>
              <a:avLst/>
              <a:gdLst>
                <a:gd name="connsiteX0" fmla="*/ 530581 w 531315"/>
                <a:gd name="connsiteY0" fmla="*/ 670509 h 1514375"/>
                <a:gd name="connsiteX1" fmla="*/ 371132 w 531315"/>
                <a:gd name="connsiteY1" fmla="*/ 1512504 h 1514375"/>
                <a:gd name="connsiteX2" fmla="*/ -735 w 531315"/>
                <a:gd name="connsiteY2" fmla="*/ -1872 h 15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315" h="1514375">
                  <a:moveTo>
                    <a:pt x="530581" y="670509"/>
                  </a:moveTo>
                  <a:lnTo>
                    <a:pt x="371132" y="1512504"/>
                  </a:lnTo>
                  <a:lnTo>
                    <a:pt x="-735" y="-1872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EFBCCEEB-3EF7-6DD5-3A64-8316AE1D3CE3}"/>
                </a:ext>
              </a:extLst>
            </p:cNvPr>
            <p:cNvSpPr/>
            <p:nvPr/>
          </p:nvSpPr>
          <p:spPr>
            <a:xfrm flipV="1">
              <a:off x="3401510" y="5090658"/>
              <a:ext cx="353920" cy="1008750"/>
            </a:xfrm>
            <a:custGeom>
              <a:avLst/>
              <a:gdLst>
                <a:gd name="connsiteX0" fmla="*/ -1339 w 531319"/>
                <a:gd name="connsiteY0" fmla="*/ 840382 h 1514375"/>
                <a:gd name="connsiteX1" fmla="*/ 529980 w 531319"/>
                <a:gd name="connsiteY1" fmla="*/ 1512756 h 1514375"/>
                <a:gd name="connsiteX2" fmla="*/ 158109 w 531319"/>
                <a:gd name="connsiteY2" fmla="*/ -1620 h 1514375"/>
                <a:gd name="connsiteX3" fmla="*/ -1339 w 531319"/>
                <a:gd name="connsiteY3" fmla="*/ 840382 h 15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1319" h="1514375">
                  <a:moveTo>
                    <a:pt x="-1339" y="840382"/>
                  </a:moveTo>
                  <a:lnTo>
                    <a:pt x="529980" y="1512756"/>
                  </a:lnTo>
                  <a:lnTo>
                    <a:pt x="158109" y="-1620"/>
                  </a:lnTo>
                  <a:lnTo>
                    <a:pt x="-1339" y="840382"/>
                  </a:lnTo>
                </a:path>
              </a:pathLst>
            </a:custGeom>
            <a:solidFill>
              <a:srgbClr val="FFFFFF">
                <a:lumMod val="8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28C57D54-272E-4C9D-5195-26041C0364F1}"/>
                </a:ext>
              </a:extLst>
            </p:cNvPr>
            <p:cNvSpPr/>
            <p:nvPr/>
          </p:nvSpPr>
          <p:spPr>
            <a:xfrm flipV="1">
              <a:off x="3312998" y="4970214"/>
              <a:ext cx="427632" cy="116099"/>
            </a:xfrm>
            <a:custGeom>
              <a:avLst/>
              <a:gdLst>
                <a:gd name="connsiteX0" fmla="*/ 640726 w 641977"/>
                <a:gd name="connsiteY0" fmla="*/ 14831 h 174292"/>
                <a:gd name="connsiteX1" fmla="*/ 636383 w 641977"/>
                <a:gd name="connsiteY1" fmla="*/ -2885 h 174292"/>
                <a:gd name="connsiteX2" fmla="*/ -1251 w 641977"/>
                <a:gd name="connsiteY2" fmla="*/ 153690 h 174292"/>
                <a:gd name="connsiteX3" fmla="*/ 3100 w 641977"/>
                <a:gd name="connsiteY3" fmla="*/ 171407 h 174292"/>
                <a:gd name="connsiteX4" fmla="*/ 640726 w 641977"/>
                <a:gd name="connsiteY4" fmla="*/ 14831 h 17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1977" h="174292">
                  <a:moveTo>
                    <a:pt x="640726" y="14831"/>
                  </a:moveTo>
                  <a:lnTo>
                    <a:pt x="636383" y="-2885"/>
                  </a:lnTo>
                  <a:lnTo>
                    <a:pt x="-1251" y="153690"/>
                  </a:lnTo>
                  <a:lnTo>
                    <a:pt x="3100" y="171407"/>
                  </a:lnTo>
                  <a:lnTo>
                    <a:pt x="640726" y="14831"/>
                  </a:lnTo>
                </a:path>
              </a:pathLst>
            </a:custGeom>
            <a:solidFill>
              <a:srgbClr val="CACED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F7729A06-8813-BF61-C89B-A3C132D19A15}"/>
                </a:ext>
              </a:extLst>
            </p:cNvPr>
            <p:cNvSpPr/>
            <p:nvPr/>
          </p:nvSpPr>
          <p:spPr>
            <a:xfrm flipV="1">
              <a:off x="3515061" y="5031631"/>
              <a:ext cx="137377" cy="33739"/>
            </a:xfrm>
            <a:custGeom>
              <a:avLst/>
              <a:gdLst>
                <a:gd name="connsiteX0" fmla="*/ 204887 w 206235"/>
                <a:gd name="connsiteY0" fmla="*/ -2840 h 50650"/>
                <a:gd name="connsiteX1" fmla="*/ -1348 w 206235"/>
                <a:gd name="connsiteY1" fmla="*/ 47802 h 50650"/>
                <a:gd name="connsiteX2" fmla="*/ -1348 w 206235"/>
                <a:gd name="connsiteY2" fmla="*/ 47810 h 50650"/>
                <a:gd name="connsiteX3" fmla="*/ 204887 w 206235"/>
                <a:gd name="connsiteY3" fmla="*/ -2833 h 50650"/>
                <a:gd name="connsiteX4" fmla="*/ 204887 w 206235"/>
                <a:gd name="connsiteY4" fmla="*/ -2840 h 5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235" h="50650">
                  <a:moveTo>
                    <a:pt x="204887" y="-2840"/>
                  </a:moveTo>
                  <a:lnTo>
                    <a:pt x="-1348" y="47802"/>
                  </a:lnTo>
                  <a:lnTo>
                    <a:pt x="-1348" y="47810"/>
                  </a:lnTo>
                  <a:lnTo>
                    <a:pt x="204887" y="-2833"/>
                  </a:lnTo>
                  <a:lnTo>
                    <a:pt x="204887" y="-2840"/>
                  </a:lnTo>
                </a:path>
              </a:pathLst>
            </a:custGeom>
            <a:solidFill>
              <a:srgbClr val="9D94B1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83A9737D-180E-EAD0-E21B-1C857C944817}"/>
                </a:ext>
              </a:extLst>
            </p:cNvPr>
            <p:cNvSpPr/>
            <p:nvPr/>
          </p:nvSpPr>
          <p:spPr>
            <a:xfrm flipV="1">
              <a:off x="3485033" y="4956905"/>
              <a:ext cx="45667" cy="116093"/>
            </a:xfrm>
            <a:custGeom>
              <a:avLst/>
              <a:gdLst>
                <a:gd name="connsiteX0" fmla="*/ 67338 w 68557"/>
                <a:gd name="connsiteY0" fmla="*/ -2915 h 174284"/>
                <a:gd name="connsiteX1" fmla="*/ -1219 w 68557"/>
                <a:gd name="connsiteY1" fmla="*/ 171369 h 174284"/>
                <a:gd name="connsiteX2" fmla="*/ 67338 w 68557"/>
                <a:gd name="connsiteY2" fmla="*/ -2915 h 174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557" h="174284">
                  <a:moveTo>
                    <a:pt x="67338" y="-2915"/>
                  </a:moveTo>
                  <a:lnTo>
                    <a:pt x="-1219" y="171369"/>
                  </a:lnTo>
                  <a:lnTo>
                    <a:pt x="67338" y="-2915"/>
                  </a:ln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911BDD69-32AC-7A13-DA73-4646C2FA55CD}"/>
                </a:ext>
              </a:extLst>
            </p:cNvPr>
            <p:cNvSpPr/>
            <p:nvPr/>
          </p:nvSpPr>
          <p:spPr>
            <a:xfrm flipV="1">
              <a:off x="3485033" y="4956905"/>
              <a:ext cx="45667" cy="116093"/>
            </a:xfrm>
            <a:custGeom>
              <a:avLst/>
              <a:gdLst>
                <a:gd name="connsiteX0" fmla="*/ 67338 w 68557"/>
                <a:gd name="connsiteY0" fmla="*/ -2915 h 174284"/>
                <a:gd name="connsiteX1" fmla="*/ -1219 w 68557"/>
                <a:gd name="connsiteY1" fmla="*/ 171369 h 174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57" h="174284">
                  <a:moveTo>
                    <a:pt x="67338" y="-2915"/>
                  </a:moveTo>
                  <a:lnTo>
                    <a:pt x="-1219" y="171369"/>
                  </a:lnTo>
                  <a:close/>
                </a:path>
              </a:pathLst>
            </a:custGeom>
            <a:solidFill>
              <a:srgbClr val="145275"/>
            </a:solidFill>
            <a:ln w="57932" cap="rnd">
              <a:solidFill>
                <a:srgbClr val="14527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5054B125-C51C-623F-A98C-12B0C3F83382}"/>
                </a:ext>
              </a:extLst>
            </p:cNvPr>
            <p:cNvSpPr/>
            <p:nvPr/>
          </p:nvSpPr>
          <p:spPr>
            <a:xfrm flipV="1">
              <a:off x="3530903" y="4997671"/>
              <a:ext cx="92466" cy="127045"/>
            </a:xfrm>
            <a:custGeom>
              <a:avLst/>
              <a:gdLst>
                <a:gd name="connsiteX0" fmla="*/ 8988 w 138813"/>
                <a:gd name="connsiteY0" fmla="*/ 166299 h 190725"/>
                <a:gd name="connsiteX1" fmla="*/ 61078 w 138813"/>
                <a:gd name="connsiteY1" fmla="*/ 186789 h 190725"/>
                <a:gd name="connsiteX2" fmla="*/ 82201 w 138813"/>
                <a:gd name="connsiteY2" fmla="*/ 177591 h 190725"/>
                <a:gd name="connsiteX3" fmla="*/ 136349 w 138813"/>
                <a:gd name="connsiteY3" fmla="*/ 39928 h 190725"/>
                <a:gd name="connsiteX4" fmla="*/ 127151 w 138813"/>
                <a:gd name="connsiteY4" fmla="*/ 18806 h 190725"/>
                <a:gd name="connsiteX5" fmla="*/ 75061 w 138813"/>
                <a:gd name="connsiteY5" fmla="*/ -1684 h 190725"/>
                <a:gd name="connsiteX6" fmla="*/ 53931 w 138813"/>
                <a:gd name="connsiteY6" fmla="*/ 7513 h 190725"/>
                <a:gd name="connsiteX7" fmla="*/ -209 w 138813"/>
                <a:gd name="connsiteY7" fmla="*/ 145168 h 190725"/>
                <a:gd name="connsiteX8" fmla="*/ 8988 w 138813"/>
                <a:gd name="connsiteY8" fmla="*/ 166299 h 190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813" h="190725">
                  <a:moveTo>
                    <a:pt x="8988" y="166299"/>
                  </a:moveTo>
                  <a:lnTo>
                    <a:pt x="61078" y="186789"/>
                  </a:lnTo>
                  <a:cubicBezTo>
                    <a:pt x="69414" y="190065"/>
                    <a:pt x="78924" y="185935"/>
                    <a:pt x="82201" y="177591"/>
                  </a:cubicBezTo>
                  <a:lnTo>
                    <a:pt x="136349" y="39928"/>
                  </a:lnTo>
                  <a:cubicBezTo>
                    <a:pt x="139633" y="31592"/>
                    <a:pt x="135495" y="22090"/>
                    <a:pt x="127151" y="18806"/>
                  </a:cubicBezTo>
                  <a:lnTo>
                    <a:pt x="75061" y="-1684"/>
                  </a:lnTo>
                  <a:cubicBezTo>
                    <a:pt x="66725" y="-4969"/>
                    <a:pt x="57215" y="-831"/>
                    <a:pt x="53931" y="7513"/>
                  </a:cubicBezTo>
                  <a:lnTo>
                    <a:pt x="-209" y="145168"/>
                  </a:lnTo>
                  <a:cubicBezTo>
                    <a:pt x="-3494" y="153512"/>
                    <a:pt x="644" y="163014"/>
                    <a:pt x="8988" y="166299"/>
                  </a:cubicBez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E0305BC3-77BB-507D-5E39-BD08A332B450}"/>
                </a:ext>
              </a:extLst>
            </p:cNvPr>
            <p:cNvSpPr/>
            <p:nvPr/>
          </p:nvSpPr>
          <p:spPr>
            <a:xfrm flipV="1">
              <a:off x="3592201" y="5064180"/>
              <a:ext cx="114900" cy="257163"/>
            </a:xfrm>
            <a:custGeom>
              <a:avLst/>
              <a:gdLst>
                <a:gd name="connsiteX0" fmla="*/ 2368 w 172493"/>
                <a:gd name="connsiteY0" fmla="*/ 376607 h 386063"/>
                <a:gd name="connsiteX1" fmla="*/ 18934 w 172493"/>
                <a:gd name="connsiteY1" fmla="*/ 383130 h 386063"/>
                <a:gd name="connsiteX2" fmla="*/ 26775 w 172493"/>
                <a:gd name="connsiteY2" fmla="*/ 379709 h 386063"/>
                <a:gd name="connsiteX3" fmla="*/ 170618 w 172493"/>
                <a:gd name="connsiteY3" fmla="*/ 14055 h 386063"/>
                <a:gd name="connsiteX4" fmla="*/ 167196 w 172493"/>
                <a:gd name="connsiteY4" fmla="*/ 6214 h 386063"/>
                <a:gd name="connsiteX5" fmla="*/ 145007 w 172493"/>
                <a:gd name="connsiteY5" fmla="*/ -2518 h 386063"/>
                <a:gd name="connsiteX6" fmla="*/ -1046 w 172493"/>
                <a:gd name="connsiteY6" fmla="*/ 368766 h 386063"/>
                <a:gd name="connsiteX7" fmla="*/ 2368 w 172493"/>
                <a:gd name="connsiteY7" fmla="*/ 376607 h 386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493" h="386063">
                  <a:moveTo>
                    <a:pt x="2368" y="376607"/>
                  </a:moveTo>
                  <a:lnTo>
                    <a:pt x="18934" y="383130"/>
                  </a:lnTo>
                  <a:cubicBezTo>
                    <a:pt x="22035" y="384342"/>
                    <a:pt x="25563" y="382810"/>
                    <a:pt x="26775" y="379709"/>
                  </a:cubicBezTo>
                  <a:lnTo>
                    <a:pt x="170618" y="14055"/>
                  </a:lnTo>
                  <a:cubicBezTo>
                    <a:pt x="171829" y="10962"/>
                    <a:pt x="170298" y="7426"/>
                    <a:pt x="167196" y="6214"/>
                  </a:cubicBezTo>
                  <a:lnTo>
                    <a:pt x="145007" y="-2518"/>
                  </a:lnTo>
                  <a:lnTo>
                    <a:pt x="-1046" y="368766"/>
                  </a:lnTo>
                  <a:cubicBezTo>
                    <a:pt x="-2257" y="371868"/>
                    <a:pt x="-726" y="375388"/>
                    <a:pt x="2368" y="376607"/>
                  </a:cubicBez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E0C4CBC8-B999-B525-69FB-AAE7B493F9DA}"/>
                </a:ext>
              </a:extLst>
            </p:cNvPr>
            <p:cNvSpPr/>
            <p:nvPr/>
          </p:nvSpPr>
          <p:spPr>
            <a:xfrm flipV="1">
              <a:off x="3674338" y="5292353"/>
              <a:ext cx="26717" cy="30534"/>
            </a:xfrm>
            <a:custGeom>
              <a:avLst/>
              <a:gdLst>
                <a:gd name="connsiteX0" fmla="*/ 1792 w 40109"/>
                <a:gd name="connsiteY0" fmla="*/ 35894 h 45839"/>
                <a:gd name="connsiteX1" fmla="*/ 20400 w 40109"/>
                <a:gd name="connsiteY1" fmla="*/ 43217 h 45839"/>
                <a:gd name="connsiteX2" fmla="*/ 27181 w 40109"/>
                <a:gd name="connsiteY2" fmla="*/ 40268 h 45839"/>
                <a:gd name="connsiteX3" fmla="*/ 38223 w 40109"/>
                <a:gd name="connsiteY3" fmla="*/ 12204 h 45839"/>
                <a:gd name="connsiteX4" fmla="*/ 35266 w 40109"/>
                <a:gd name="connsiteY4" fmla="*/ 5422 h 45839"/>
                <a:gd name="connsiteX5" fmla="*/ 16658 w 40109"/>
                <a:gd name="connsiteY5" fmla="*/ -1901 h 45839"/>
                <a:gd name="connsiteX6" fmla="*/ 9876 w 40109"/>
                <a:gd name="connsiteY6" fmla="*/ 1056 h 45839"/>
                <a:gd name="connsiteX7" fmla="*/ -1165 w 40109"/>
                <a:gd name="connsiteY7" fmla="*/ 29112 h 45839"/>
                <a:gd name="connsiteX8" fmla="*/ 1792 w 40109"/>
                <a:gd name="connsiteY8" fmla="*/ 35894 h 4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09" h="45839">
                  <a:moveTo>
                    <a:pt x="1792" y="35894"/>
                  </a:moveTo>
                  <a:lnTo>
                    <a:pt x="20400" y="43217"/>
                  </a:lnTo>
                  <a:cubicBezTo>
                    <a:pt x="23082" y="44269"/>
                    <a:pt x="26130" y="42943"/>
                    <a:pt x="27181" y="40268"/>
                  </a:cubicBezTo>
                  <a:lnTo>
                    <a:pt x="38223" y="12204"/>
                  </a:lnTo>
                  <a:cubicBezTo>
                    <a:pt x="39274" y="9529"/>
                    <a:pt x="37948" y="6473"/>
                    <a:pt x="35266" y="5422"/>
                  </a:cubicBezTo>
                  <a:lnTo>
                    <a:pt x="16658" y="-1901"/>
                  </a:lnTo>
                  <a:cubicBezTo>
                    <a:pt x="13976" y="-2953"/>
                    <a:pt x="10928" y="-1627"/>
                    <a:pt x="9876" y="1056"/>
                  </a:cubicBezTo>
                  <a:lnTo>
                    <a:pt x="-1165" y="29112"/>
                  </a:lnTo>
                  <a:cubicBezTo>
                    <a:pt x="-2217" y="31795"/>
                    <a:pt x="-891" y="34843"/>
                    <a:pt x="1792" y="35894"/>
                  </a:cubicBez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48F6F308-B214-C47D-5C9B-5FB74A419647}"/>
                </a:ext>
              </a:extLst>
            </p:cNvPr>
            <p:cNvSpPr/>
            <p:nvPr/>
          </p:nvSpPr>
          <p:spPr>
            <a:xfrm flipV="1">
              <a:off x="3468448" y="4984942"/>
              <a:ext cx="419958" cy="927221"/>
            </a:xfrm>
            <a:custGeom>
              <a:avLst/>
              <a:gdLst>
                <a:gd name="connsiteX0" fmla="*/ 12429 w 630457"/>
                <a:gd name="connsiteY0" fmla="*/ 1362348 h 1391980"/>
                <a:gd name="connsiteX1" fmla="*/ 78952 w 630457"/>
                <a:gd name="connsiteY1" fmla="*/ 1388515 h 1391980"/>
                <a:gd name="connsiteX2" fmla="*/ 107474 w 630457"/>
                <a:gd name="connsiteY2" fmla="*/ 1376094 h 1391980"/>
                <a:gd name="connsiteX3" fmla="*/ 627424 w 630457"/>
                <a:gd name="connsiteY3" fmla="*/ 54268 h 1391980"/>
                <a:gd name="connsiteX4" fmla="*/ 615011 w 630457"/>
                <a:gd name="connsiteY4" fmla="*/ 25739 h 1391980"/>
                <a:gd name="connsiteX5" fmla="*/ 548489 w 630457"/>
                <a:gd name="connsiteY5" fmla="*/ -428 h 1391980"/>
                <a:gd name="connsiteX6" fmla="*/ 519959 w 630457"/>
                <a:gd name="connsiteY6" fmla="*/ 11992 h 1391980"/>
                <a:gd name="connsiteX7" fmla="*/ 9 w 630457"/>
                <a:gd name="connsiteY7" fmla="*/ 1333826 h 1391980"/>
                <a:gd name="connsiteX8" fmla="*/ 12429 w 630457"/>
                <a:gd name="connsiteY8" fmla="*/ 1362348 h 1391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0457" h="1391980">
                  <a:moveTo>
                    <a:pt x="12429" y="1362348"/>
                  </a:moveTo>
                  <a:lnTo>
                    <a:pt x="78952" y="1388515"/>
                  </a:lnTo>
                  <a:cubicBezTo>
                    <a:pt x="90207" y="1392942"/>
                    <a:pt x="103046" y="1387357"/>
                    <a:pt x="107474" y="1376094"/>
                  </a:cubicBezTo>
                  <a:lnTo>
                    <a:pt x="627424" y="54268"/>
                  </a:lnTo>
                  <a:cubicBezTo>
                    <a:pt x="631859" y="43006"/>
                    <a:pt x="626274" y="30174"/>
                    <a:pt x="615011" y="25739"/>
                  </a:cubicBezTo>
                  <a:lnTo>
                    <a:pt x="548489" y="-428"/>
                  </a:lnTo>
                  <a:cubicBezTo>
                    <a:pt x="537226" y="-4856"/>
                    <a:pt x="524394" y="730"/>
                    <a:pt x="519959" y="11992"/>
                  </a:cubicBezTo>
                  <a:lnTo>
                    <a:pt x="9" y="1333826"/>
                  </a:lnTo>
                  <a:cubicBezTo>
                    <a:pt x="-4418" y="1345081"/>
                    <a:pt x="1167" y="1357913"/>
                    <a:pt x="12429" y="1362348"/>
                  </a:cubicBezTo>
                </a:path>
              </a:pathLst>
            </a:custGeom>
            <a:solidFill>
              <a:srgbClr val="4DA5C3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600766B4-D5B3-D42E-DB5F-73B563EE5992}"/>
                </a:ext>
              </a:extLst>
            </p:cNvPr>
            <p:cNvSpPr/>
            <p:nvPr/>
          </p:nvSpPr>
          <p:spPr>
            <a:xfrm flipV="1">
              <a:off x="3505447" y="5041544"/>
              <a:ext cx="317055" cy="814693"/>
            </a:xfrm>
            <a:custGeom>
              <a:avLst/>
              <a:gdLst>
                <a:gd name="connsiteX0" fmla="*/ -1485 w 475975"/>
                <a:gd name="connsiteY0" fmla="*/ 1221102 h 1223048"/>
                <a:gd name="connsiteX1" fmla="*/ 474490 w 475975"/>
                <a:gd name="connsiteY1" fmla="*/ -1946 h 122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5975" h="1223048">
                  <a:moveTo>
                    <a:pt x="-1485" y="1221102"/>
                  </a:moveTo>
                  <a:lnTo>
                    <a:pt x="474490" y="-1946"/>
                  </a:lnTo>
                </a:path>
              </a:pathLst>
            </a:custGeom>
            <a:noFill/>
            <a:ln w="19533" cap="rnd">
              <a:solidFill>
                <a:srgbClr val="9ADEE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6DAE8A01-7DAF-BD07-9B91-E0007BD92445}"/>
                </a:ext>
              </a:extLst>
            </p:cNvPr>
            <p:cNvSpPr/>
            <p:nvPr/>
          </p:nvSpPr>
          <p:spPr>
            <a:xfrm flipV="1">
              <a:off x="3469608" y="4955083"/>
              <a:ext cx="14161" cy="35997"/>
            </a:xfrm>
            <a:custGeom>
              <a:avLst/>
              <a:gdLst>
                <a:gd name="connsiteX0" fmla="*/ 20094 w 21259"/>
                <a:gd name="connsiteY0" fmla="*/ -3009 h 54040"/>
                <a:gd name="connsiteX1" fmla="*/ -1166 w 21259"/>
                <a:gd name="connsiteY1" fmla="*/ 51032 h 5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59" h="54040">
                  <a:moveTo>
                    <a:pt x="20094" y="-3009"/>
                  </a:moveTo>
                  <a:lnTo>
                    <a:pt x="-1166" y="51032"/>
                  </a:lnTo>
                </a:path>
              </a:pathLst>
            </a:custGeom>
            <a:solidFill>
              <a:srgbClr val="145275"/>
            </a:solidFill>
            <a:ln w="18409" cap="rnd">
              <a:solidFill>
                <a:srgbClr val="14527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F81F7D1F-B029-FB56-1519-48743F4549AB}"/>
                </a:ext>
              </a:extLst>
            </p:cNvPr>
            <p:cNvSpPr/>
            <p:nvPr/>
          </p:nvSpPr>
          <p:spPr>
            <a:xfrm flipV="1">
              <a:off x="3807397" y="5853328"/>
              <a:ext cx="79261" cy="57086"/>
            </a:xfrm>
            <a:custGeom>
              <a:avLst/>
              <a:gdLst>
                <a:gd name="connsiteX0" fmla="*/ 97643 w 118990"/>
                <a:gd name="connsiteY0" fmla="*/ 20841 h 85699"/>
                <a:gd name="connsiteX1" fmla="*/ 47587 w 118990"/>
                <a:gd name="connsiteY1" fmla="*/ 1151 h 85699"/>
                <a:gd name="connsiteX2" fmla="*/ 7590 w 118990"/>
                <a:gd name="connsiteY2" fmla="*/ 18563 h 85699"/>
                <a:gd name="connsiteX3" fmla="*/ -1798 w 118990"/>
                <a:gd name="connsiteY3" fmla="*/ 42444 h 85699"/>
                <a:gd name="connsiteX4" fmla="*/ 12276 w 118990"/>
                <a:gd name="connsiteY4" fmla="*/ 36317 h 85699"/>
                <a:gd name="connsiteX5" fmla="*/ 99541 w 118990"/>
                <a:gd name="connsiteY5" fmla="*/ 70638 h 85699"/>
                <a:gd name="connsiteX6" fmla="*/ 105667 w 118990"/>
                <a:gd name="connsiteY6" fmla="*/ 84720 h 85699"/>
                <a:gd name="connsiteX7" fmla="*/ 115062 w 118990"/>
                <a:gd name="connsiteY7" fmla="*/ 60839 h 85699"/>
                <a:gd name="connsiteX8" fmla="*/ 97643 w 118990"/>
                <a:gd name="connsiteY8" fmla="*/ 20841 h 85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990" h="85699">
                  <a:moveTo>
                    <a:pt x="97643" y="20841"/>
                  </a:moveTo>
                  <a:lnTo>
                    <a:pt x="47587" y="1151"/>
                  </a:lnTo>
                  <a:cubicBezTo>
                    <a:pt x="31799" y="-5059"/>
                    <a:pt x="13808" y="2774"/>
                    <a:pt x="7590" y="18563"/>
                  </a:cubicBezTo>
                  <a:lnTo>
                    <a:pt x="-1798" y="42444"/>
                  </a:lnTo>
                  <a:cubicBezTo>
                    <a:pt x="389" y="36881"/>
                    <a:pt x="6721" y="34131"/>
                    <a:pt x="12276" y="36317"/>
                  </a:cubicBezTo>
                  <a:lnTo>
                    <a:pt x="99541" y="70638"/>
                  </a:lnTo>
                  <a:cubicBezTo>
                    <a:pt x="105095" y="72833"/>
                    <a:pt x="107854" y="79157"/>
                    <a:pt x="105667" y="84720"/>
                  </a:cubicBezTo>
                  <a:lnTo>
                    <a:pt x="115062" y="60839"/>
                  </a:lnTo>
                  <a:cubicBezTo>
                    <a:pt x="121273" y="45050"/>
                    <a:pt x="113432" y="27059"/>
                    <a:pt x="97643" y="20841"/>
                  </a:cubicBezTo>
                </a:path>
              </a:pathLst>
            </a:custGeom>
            <a:solidFill>
              <a:srgbClr val="42ACB2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74DD407B-51AE-1D51-4484-A5F2354F35B2}"/>
                </a:ext>
              </a:extLst>
            </p:cNvPr>
            <p:cNvSpPr/>
            <p:nvPr/>
          </p:nvSpPr>
          <p:spPr>
            <a:xfrm flipV="1">
              <a:off x="3901356" y="6015282"/>
              <a:ext cx="20978" cy="53337"/>
            </a:xfrm>
            <a:custGeom>
              <a:avLst/>
              <a:gdLst>
                <a:gd name="connsiteX0" fmla="*/ -1909 w 31493"/>
                <a:gd name="connsiteY0" fmla="*/ 79449 h 80071"/>
                <a:gd name="connsiteX1" fmla="*/ 29585 w 31493"/>
                <a:gd name="connsiteY1" fmla="*/ -622 h 80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493" h="80071">
                  <a:moveTo>
                    <a:pt x="-1909" y="79449"/>
                  </a:moveTo>
                  <a:lnTo>
                    <a:pt x="29585" y="-622"/>
                  </a:lnTo>
                </a:path>
              </a:pathLst>
            </a:custGeom>
            <a:solidFill>
              <a:srgbClr val="145275"/>
            </a:solidFill>
            <a:ln w="18409" cap="rnd">
              <a:solidFill>
                <a:srgbClr val="14527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F168E0AB-965C-6B05-BFDA-E21DA85CCD58}"/>
                </a:ext>
              </a:extLst>
            </p:cNvPr>
            <p:cNvSpPr/>
            <p:nvPr/>
          </p:nvSpPr>
          <p:spPr>
            <a:xfrm flipV="1">
              <a:off x="3818160" y="5876021"/>
              <a:ext cx="102089" cy="169603"/>
            </a:xfrm>
            <a:custGeom>
              <a:avLst/>
              <a:gdLst>
                <a:gd name="connsiteX0" fmla="*/ 6711 w 153260"/>
                <a:gd name="connsiteY0" fmla="*/ 220319 h 254614"/>
                <a:gd name="connsiteX1" fmla="*/ 88603 w 153260"/>
                <a:gd name="connsiteY1" fmla="*/ 252537 h 254614"/>
                <a:gd name="connsiteX2" fmla="*/ 119144 w 153260"/>
                <a:gd name="connsiteY2" fmla="*/ 188994 h 254614"/>
                <a:gd name="connsiteX3" fmla="*/ 151331 w 153260"/>
                <a:gd name="connsiteY3" fmla="*/ 13856 h 254614"/>
                <a:gd name="connsiteX4" fmla="*/ 146973 w 153260"/>
                <a:gd name="connsiteY4" fmla="*/ 5329 h 254614"/>
                <a:gd name="connsiteX5" fmla="*/ 132411 w 153260"/>
                <a:gd name="connsiteY5" fmla="*/ -394 h 254614"/>
                <a:gd name="connsiteX6" fmla="*/ 123412 w 153260"/>
                <a:gd name="connsiteY6" fmla="*/ 2868 h 254614"/>
                <a:gd name="connsiteX7" fmla="*/ 27651 w 153260"/>
                <a:gd name="connsiteY7" fmla="*/ 153004 h 254614"/>
                <a:gd name="connsiteX8" fmla="*/ 6711 w 153260"/>
                <a:gd name="connsiteY8" fmla="*/ 220319 h 254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260" h="254614">
                  <a:moveTo>
                    <a:pt x="6711" y="220319"/>
                  </a:moveTo>
                  <a:lnTo>
                    <a:pt x="88603" y="252537"/>
                  </a:lnTo>
                  <a:cubicBezTo>
                    <a:pt x="105063" y="259014"/>
                    <a:pt x="111380" y="241259"/>
                    <a:pt x="119144" y="188994"/>
                  </a:cubicBezTo>
                  <a:lnTo>
                    <a:pt x="151331" y="13856"/>
                  </a:lnTo>
                  <a:cubicBezTo>
                    <a:pt x="151888" y="10152"/>
                    <a:pt x="149899" y="6479"/>
                    <a:pt x="146973" y="5329"/>
                  </a:cubicBezTo>
                  <a:lnTo>
                    <a:pt x="132411" y="-394"/>
                  </a:lnTo>
                  <a:cubicBezTo>
                    <a:pt x="129485" y="-1544"/>
                    <a:pt x="125530" y="-211"/>
                    <a:pt x="123412" y="2868"/>
                  </a:cubicBezTo>
                  <a:lnTo>
                    <a:pt x="27651" y="153004"/>
                  </a:lnTo>
                  <a:cubicBezTo>
                    <a:pt x="-2273" y="196560"/>
                    <a:pt x="-9740" y="213850"/>
                    <a:pt x="6711" y="220319"/>
                  </a:cubicBezTo>
                </a:path>
              </a:pathLst>
            </a:custGeom>
            <a:solidFill>
              <a:srgbClr val="4DA5C3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B8F62BA1-5420-4107-DC6A-F62076AA6201}"/>
                </a:ext>
              </a:extLst>
            </p:cNvPr>
            <p:cNvSpPr/>
            <p:nvPr/>
          </p:nvSpPr>
          <p:spPr>
            <a:xfrm flipV="1">
              <a:off x="3833736" y="5909898"/>
              <a:ext cx="74568" cy="123052"/>
            </a:xfrm>
            <a:custGeom>
              <a:avLst/>
              <a:gdLst>
                <a:gd name="connsiteX0" fmla="*/ -1839 w 111945"/>
                <a:gd name="connsiteY0" fmla="*/ 183952 h 184731"/>
                <a:gd name="connsiteX1" fmla="*/ 110107 w 111945"/>
                <a:gd name="connsiteY1" fmla="*/ -780 h 1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945" h="184731">
                  <a:moveTo>
                    <a:pt x="-1839" y="183952"/>
                  </a:moveTo>
                  <a:lnTo>
                    <a:pt x="110107" y="-780"/>
                  </a:lnTo>
                </a:path>
              </a:pathLst>
            </a:custGeom>
            <a:noFill/>
            <a:ln w="18409" cap="rnd">
              <a:solidFill>
                <a:srgbClr val="8AD8D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F674AEBE-F1B5-10AB-68EA-E92D6A115FB6}"/>
                </a:ext>
              </a:extLst>
            </p:cNvPr>
            <p:cNvSpPr/>
            <p:nvPr/>
          </p:nvSpPr>
          <p:spPr>
            <a:xfrm flipV="1">
              <a:off x="4401424" y="4509422"/>
              <a:ext cx="415708" cy="177653"/>
            </a:xfrm>
            <a:custGeom>
              <a:avLst/>
              <a:gdLst>
                <a:gd name="connsiteX0" fmla="*/ -3099 w 624077"/>
                <a:gd name="connsiteY0" fmla="*/ 129504 h 266699"/>
                <a:gd name="connsiteX1" fmla="*/ 308940 w 624077"/>
                <a:gd name="connsiteY1" fmla="*/ 262854 h 266699"/>
                <a:gd name="connsiteX2" fmla="*/ 620979 w 624077"/>
                <a:gd name="connsiteY2" fmla="*/ 129504 h 266699"/>
                <a:gd name="connsiteX3" fmla="*/ 308940 w 624077"/>
                <a:gd name="connsiteY3" fmla="*/ -3846 h 266699"/>
                <a:gd name="connsiteX4" fmla="*/ -3099 w 624077"/>
                <a:gd name="connsiteY4" fmla="*/ 129504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077" h="266699">
                  <a:moveTo>
                    <a:pt x="-3099" y="129504"/>
                  </a:moveTo>
                  <a:cubicBezTo>
                    <a:pt x="-3099" y="203152"/>
                    <a:pt x="136606" y="262854"/>
                    <a:pt x="308940" y="262854"/>
                  </a:cubicBezTo>
                  <a:cubicBezTo>
                    <a:pt x="481274" y="262854"/>
                    <a:pt x="620979" y="203152"/>
                    <a:pt x="620979" y="129504"/>
                  </a:cubicBezTo>
                  <a:cubicBezTo>
                    <a:pt x="620979" y="55857"/>
                    <a:pt x="481274" y="-3846"/>
                    <a:pt x="308940" y="-3846"/>
                  </a:cubicBezTo>
                  <a:cubicBezTo>
                    <a:pt x="136606" y="-3846"/>
                    <a:pt x="-3099" y="55857"/>
                    <a:pt x="-3099" y="129504"/>
                  </a:cubicBezTo>
                </a:path>
              </a:pathLst>
            </a:custGeom>
            <a:solidFill>
              <a:srgbClr val="E7CC0C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93D9BB52-43FC-B60C-0A7D-D03012AC33F4}"/>
                </a:ext>
              </a:extLst>
            </p:cNvPr>
            <p:cNvSpPr/>
            <p:nvPr/>
          </p:nvSpPr>
          <p:spPr>
            <a:xfrm flipV="1">
              <a:off x="4401424" y="4509422"/>
              <a:ext cx="415708" cy="177653"/>
            </a:xfrm>
            <a:custGeom>
              <a:avLst/>
              <a:gdLst>
                <a:gd name="connsiteX0" fmla="*/ -3099 w 624077"/>
                <a:gd name="connsiteY0" fmla="*/ 129504 h 266699"/>
                <a:gd name="connsiteX1" fmla="*/ 308940 w 624077"/>
                <a:gd name="connsiteY1" fmla="*/ 262854 h 266699"/>
                <a:gd name="connsiteX2" fmla="*/ 620979 w 624077"/>
                <a:gd name="connsiteY2" fmla="*/ 129504 h 266699"/>
                <a:gd name="connsiteX3" fmla="*/ 308940 w 624077"/>
                <a:gd name="connsiteY3" fmla="*/ -3846 h 266699"/>
                <a:gd name="connsiteX4" fmla="*/ -3099 w 624077"/>
                <a:gd name="connsiteY4" fmla="*/ 129504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077" h="266699">
                  <a:moveTo>
                    <a:pt x="-3099" y="129504"/>
                  </a:moveTo>
                  <a:cubicBezTo>
                    <a:pt x="-3099" y="203152"/>
                    <a:pt x="136606" y="262854"/>
                    <a:pt x="308940" y="262854"/>
                  </a:cubicBezTo>
                  <a:cubicBezTo>
                    <a:pt x="481274" y="262854"/>
                    <a:pt x="620979" y="203152"/>
                    <a:pt x="620979" y="129504"/>
                  </a:cubicBezTo>
                  <a:cubicBezTo>
                    <a:pt x="620979" y="55857"/>
                    <a:pt x="481274" y="-3846"/>
                    <a:pt x="308940" y="-3846"/>
                  </a:cubicBezTo>
                  <a:cubicBezTo>
                    <a:pt x="136606" y="-3846"/>
                    <a:pt x="-3099" y="55857"/>
                    <a:pt x="-3099" y="129504"/>
                  </a:cubicBezTo>
                  <a:close/>
                </a:path>
              </a:pathLst>
            </a:custGeom>
            <a:noFill/>
            <a:ln w="2472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73CFD0D3-7249-0289-D4B1-CD06A7C7C1C3}"/>
                </a:ext>
              </a:extLst>
            </p:cNvPr>
            <p:cNvSpPr/>
            <p:nvPr/>
          </p:nvSpPr>
          <p:spPr>
            <a:xfrm flipV="1">
              <a:off x="4401424" y="4509422"/>
              <a:ext cx="415708" cy="177653"/>
            </a:xfrm>
            <a:custGeom>
              <a:avLst/>
              <a:gdLst>
                <a:gd name="connsiteX0" fmla="*/ 308940 w 624077"/>
                <a:gd name="connsiteY0" fmla="*/ 129504 h 266699"/>
                <a:gd name="connsiteX1" fmla="*/ 414240 w 624077"/>
                <a:gd name="connsiteY1" fmla="*/ 3973 h 266699"/>
                <a:gd name="connsiteX2" fmla="*/ 308940 w 624077"/>
                <a:gd name="connsiteY2" fmla="*/ -3846 h 266699"/>
                <a:gd name="connsiteX3" fmla="*/ -3099 w 624077"/>
                <a:gd name="connsiteY3" fmla="*/ 129504 h 266699"/>
                <a:gd name="connsiteX4" fmla="*/ 308940 w 624077"/>
                <a:gd name="connsiteY4" fmla="*/ 262854 h 266699"/>
                <a:gd name="connsiteX5" fmla="*/ 620979 w 624077"/>
                <a:gd name="connsiteY5" fmla="*/ 129504 h 266699"/>
                <a:gd name="connsiteX6" fmla="*/ 520593 w 624077"/>
                <a:gd name="connsiteY6" fmla="*/ 31511 h 266699"/>
                <a:gd name="connsiteX7" fmla="*/ 308940 w 624077"/>
                <a:gd name="connsiteY7" fmla="*/ 129504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077" h="266699">
                  <a:moveTo>
                    <a:pt x="308940" y="129504"/>
                  </a:moveTo>
                  <a:lnTo>
                    <a:pt x="414240" y="3973"/>
                  </a:lnTo>
                  <a:cubicBezTo>
                    <a:pt x="380453" y="-1201"/>
                    <a:pt x="344830" y="-3846"/>
                    <a:pt x="308940" y="-3846"/>
                  </a:cubicBezTo>
                  <a:cubicBezTo>
                    <a:pt x="137756" y="-3846"/>
                    <a:pt x="-3099" y="56345"/>
                    <a:pt x="-3099" y="129504"/>
                  </a:cubicBezTo>
                  <a:cubicBezTo>
                    <a:pt x="-3099" y="202656"/>
                    <a:pt x="137756" y="262854"/>
                    <a:pt x="308940" y="262854"/>
                  </a:cubicBezTo>
                  <a:cubicBezTo>
                    <a:pt x="480115" y="262854"/>
                    <a:pt x="620979" y="202656"/>
                    <a:pt x="620979" y="129504"/>
                  </a:cubicBezTo>
                  <a:cubicBezTo>
                    <a:pt x="620979" y="92304"/>
                    <a:pt x="584555" y="56749"/>
                    <a:pt x="520593" y="31511"/>
                  </a:cubicBezTo>
                  <a:lnTo>
                    <a:pt x="308940" y="129504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5BE1A71A-5284-8589-03DF-EDD2380BAAA1}"/>
                </a:ext>
              </a:extLst>
            </p:cNvPr>
            <p:cNvSpPr/>
            <p:nvPr/>
          </p:nvSpPr>
          <p:spPr>
            <a:xfrm flipV="1">
              <a:off x="4401424" y="4509422"/>
              <a:ext cx="415708" cy="177653"/>
            </a:xfrm>
            <a:custGeom>
              <a:avLst/>
              <a:gdLst>
                <a:gd name="connsiteX0" fmla="*/ 308940 w 624077"/>
                <a:gd name="connsiteY0" fmla="*/ 129504 h 266699"/>
                <a:gd name="connsiteX1" fmla="*/ 414240 w 624077"/>
                <a:gd name="connsiteY1" fmla="*/ 3973 h 266699"/>
                <a:gd name="connsiteX2" fmla="*/ 308940 w 624077"/>
                <a:gd name="connsiteY2" fmla="*/ -3846 h 266699"/>
                <a:gd name="connsiteX3" fmla="*/ -3099 w 624077"/>
                <a:gd name="connsiteY3" fmla="*/ 129504 h 266699"/>
                <a:gd name="connsiteX4" fmla="*/ 308940 w 624077"/>
                <a:gd name="connsiteY4" fmla="*/ 262854 h 266699"/>
                <a:gd name="connsiteX5" fmla="*/ 620979 w 624077"/>
                <a:gd name="connsiteY5" fmla="*/ 129504 h 266699"/>
                <a:gd name="connsiteX6" fmla="*/ 520593 w 624077"/>
                <a:gd name="connsiteY6" fmla="*/ 31511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077" h="266699">
                  <a:moveTo>
                    <a:pt x="308940" y="129504"/>
                  </a:moveTo>
                  <a:lnTo>
                    <a:pt x="414240" y="3973"/>
                  </a:lnTo>
                  <a:cubicBezTo>
                    <a:pt x="380453" y="-1201"/>
                    <a:pt x="344830" y="-3846"/>
                    <a:pt x="308940" y="-3846"/>
                  </a:cubicBezTo>
                  <a:cubicBezTo>
                    <a:pt x="137756" y="-3846"/>
                    <a:pt x="-3099" y="56345"/>
                    <a:pt x="-3099" y="129504"/>
                  </a:cubicBezTo>
                  <a:cubicBezTo>
                    <a:pt x="-3099" y="202656"/>
                    <a:pt x="137756" y="262854"/>
                    <a:pt x="308940" y="262854"/>
                  </a:cubicBezTo>
                  <a:cubicBezTo>
                    <a:pt x="480115" y="262854"/>
                    <a:pt x="620979" y="202656"/>
                    <a:pt x="620979" y="129504"/>
                  </a:cubicBezTo>
                  <a:cubicBezTo>
                    <a:pt x="620979" y="92304"/>
                    <a:pt x="584555" y="56749"/>
                    <a:pt x="520593" y="31511"/>
                  </a:cubicBezTo>
                  <a:close/>
                </a:path>
              </a:pathLst>
            </a:custGeom>
            <a:noFill/>
            <a:ln w="2472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EC1AF3CE-FEC7-CA61-91EA-AB49D2F12A14}"/>
                </a:ext>
              </a:extLst>
            </p:cNvPr>
            <p:cNvSpPr/>
            <p:nvPr/>
          </p:nvSpPr>
          <p:spPr>
            <a:xfrm flipV="1">
              <a:off x="4401424" y="4509422"/>
              <a:ext cx="308517" cy="177653"/>
            </a:xfrm>
            <a:custGeom>
              <a:avLst/>
              <a:gdLst>
                <a:gd name="connsiteX0" fmla="*/ 309031 w 463158"/>
                <a:gd name="connsiteY0" fmla="*/ 129504 h 266699"/>
                <a:gd name="connsiteX1" fmla="*/ 414332 w 463158"/>
                <a:gd name="connsiteY1" fmla="*/ 3973 h 266699"/>
                <a:gd name="connsiteX2" fmla="*/ 309031 w 463158"/>
                <a:gd name="connsiteY2" fmla="*/ -3846 h 266699"/>
                <a:gd name="connsiteX3" fmla="*/ -3008 w 463158"/>
                <a:gd name="connsiteY3" fmla="*/ 129504 h 266699"/>
                <a:gd name="connsiteX4" fmla="*/ 309031 w 463158"/>
                <a:gd name="connsiteY4" fmla="*/ 262854 h 266699"/>
                <a:gd name="connsiteX5" fmla="*/ 460151 w 463158"/>
                <a:gd name="connsiteY5" fmla="*/ 246167 h 266699"/>
                <a:gd name="connsiteX6" fmla="*/ 309031 w 463158"/>
                <a:gd name="connsiteY6" fmla="*/ 129504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3158" h="266699">
                  <a:moveTo>
                    <a:pt x="309031" y="129504"/>
                  </a:moveTo>
                  <a:lnTo>
                    <a:pt x="414332" y="3973"/>
                  </a:lnTo>
                  <a:cubicBezTo>
                    <a:pt x="380545" y="-1201"/>
                    <a:pt x="344921" y="-3846"/>
                    <a:pt x="309031" y="-3846"/>
                  </a:cubicBezTo>
                  <a:cubicBezTo>
                    <a:pt x="137848" y="-3846"/>
                    <a:pt x="-3008" y="56345"/>
                    <a:pt x="-3008" y="129504"/>
                  </a:cubicBezTo>
                  <a:cubicBezTo>
                    <a:pt x="-3008" y="202656"/>
                    <a:pt x="137848" y="262854"/>
                    <a:pt x="309031" y="262854"/>
                  </a:cubicBezTo>
                  <a:cubicBezTo>
                    <a:pt x="361899" y="262854"/>
                    <a:pt x="413905" y="257109"/>
                    <a:pt x="460151" y="246167"/>
                  </a:cubicBezTo>
                  <a:lnTo>
                    <a:pt x="309031" y="129504"/>
                  </a:lnTo>
                </a:path>
              </a:pathLst>
            </a:custGeom>
            <a:solidFill>
              <a:srgbClr val="55B9E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1256A3F2-9C62-B1EE-4198-F8C0B358ABE3}"/>
                </a:ext>
              </a:extLst>
            </p:cNvPr>
            <p:cNvSpPr/>
            <p:nvPr/>
          </p:nvSpPr>
          <p:spPr>
            <a:xfrm flipV="1">
              <a:off x="4401424" y="4509422"/>
              <a:ext cx="308517" cy="177653"/>
            </a:xfrm>
            <a:custGeom>
              <a:avLst/>
              <a:gdLst>
                <a:gd name="connsiteX0" fmla="*/ 309031 w 463158"/>
                <a:gd name="connsiteY0" fmla="*/ 129504 h 266699"/>
                <a:gd name="connsiteX1" fmla="*/ 414332 w 463158"/>
                <a:gd name="connsiteY1" fmla="*/ 3973 h 266699"/>
                <a:gd name="connsiteX2" fmla="*/ 309031 w 463158"/>
                <a:gd name="connsiteY2" fmla="*/ -3846 h 266699"/>
                <a:gd name="connsiteX3" fmla="*/ -3008 w 463158"/>
                <a:gd name="connsiteY3" fmla="*/ 129504 h 266699"/>
                <a:gd name="connsiteX4" fmla="*/ 309031 w 463158"/>
                <a:gd name="connsiteY4" fmla="*/ 262854 h 266699"/>
                <a:gd name="connsiteX5" fmla="*/ 460151 w 463158"/>
                <a:gd name="connsiteY5" fmla="*/ 246167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3158" h="266699">
                  <a:moveTo>
                    <a:pt x="309031" y="129504"/>
                  </a:moveTo>
                  <a:lnTo>
                    <a:pt x="414332" y="3973"/>
                  </a:lnTo>
                  <a:cubicBezTo>
                    <a:pt x="380545" y="-1201"/>
                    <a:pt x="344921" y="-3846"/>
                    <a:pt x="309031" y="-3846"/>
                  </a:cubicBezTo>
                  <a:cubicBezTo>
                    <a:pt x="137848" y="-3846"/>
                    <a:pt x="-3008" y="56345"/>
                    <a:pt x="-3008" y="129504"/>
                  </a:cubicBezTo>
                  <a:cubicBezTo>
                    <a:pt x="-3008" y="202656"/>
                    <a:pt x="137848" y="262854"/>
                    <a:pt x="309031" y="262854"/>
                  </a:cubicBezTo>
                  <a:cubicBezTo>
                    <a:pt x="361899" y="262854"/>
                    <a:pt x="413905" y="257109"/>
                    <a:pt x="460151" y="246167"/>
                  </a:cubicBezTo>
                  <a:close/>
                </a:path>
              </a:pathLst>
            </a:custGeom>
            <a:noFill/>
            <a:ln w="2472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6F925E6F-8056-98A5-4B0C-3FAEA33BE130}"/>
                </a:ext>
              </a:extLst>
            </p:cNvPr>
            <p:cNvSpPr/>
            <p:nvPr/>
          </p:nvSpPr>
          <p:spPr>
            <a:xfrm flipV="1">
              <a:off x="4401424" y="4574630"/>
              <a:ext cx="277996" cy="112444"/>
            </a:xfrm>
            <a:custGeom>
              <a:avLst/>
              <a:gdLst>
                <a:gd name="connsiteX0" fmla="*/ 309057 w 417339"/>
                <a:gd name="connsiteY0" fmla="*/ 129577 h 168806"/>
                <a:gd name="connsiteX1" fmla="*/ 414358 w 417339"/>
                <a:gd name="connsiteY1" fmla="*/ 4046 h 168806"/>
                <a:gd name="connsiteX2" fmla="*/ 309057 w 417339"/>
                <a:gd name="connsiteY2" fmla="*/ -3773 h 168806"/>
                <a:gd name="connsiteX3" fmla="*/ -2982 w 417339"/>
                <a:gd name="connsiteY3" fmla="*/ 129577 h 168806"/>
                <a:gd name="connsiteX4" fmla="*/ 8258 w 417339"/>
                <a:gd name="connsiteY4" fmla="*/ 165033 h 168806"/>
                <a:gd name="connsiteX5" fmla="*/ 309057 w 417339"/>
                <a:gd name="connsiteY5" fmla="*/ 129577 h 168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7339" h="168806">
                  <a:moveTo>
                    <a:pt x="309057" y="129577"/>
                  </a:moveTo>
                  <a:lnTo>
                    <a:pt x="414358" y="4046"/>
                  </a:lnTo>
                  <a:cubicBezTo>
                    <a:pt x="380571" y="-1129"/>
                    <a:pt x="344947" y="-3773"/>
                    <a:pt x="309057" y="-3773"/>
                  </a:cubicBezTo>
                  <a:cubicBezTo>
                    <a:pt x="137874" y="-3773"/>
                    <a:pt x="-2982" y="56418"/>
                    <a:pt x="-2982" y="129577"/>
                  </a:cubicBezTo>
                  <a:cubicBezTo>
                    <a:pt x="-2982" y="141556"/>
                    <a:pt x="798" y="153481"/>
                    <a:pt x="8258" y="165033"/>
                  </a:cubicBezTo>
                  <a:lnTo>
                    <a:pt x="309057" y="129577"/>
                  </a:lnTo>
                </a:path>
              </a:pathLst>
            </a:custGeom>
            <a:solidFill>
              <a:srgbClr val="4DA5C3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0B0E0BAE-8185-1BB5-63DF-EBE63E6900BC}"/>
                </a:ext>
              </a:extLst>
            </p:cNvPr>
            <p:cNvSpPr/>
            <p:nvPr/>
          </p:nvSpPr>
          <p:spPr>
            <a:xfrm flipV="1">
              <a:off x="4401424" y="4574630"/>
              <a:ext cx="277996" cy="112444"/>
            </a:xfrm>
            <a:custGeom>
              <a:avLst/>
              <a:gdLst>
                <a:gd name="connsiteX0" fmla="*/ 309057 w 417339"/>
                <a:gd name="connsiteY0" fmla="*/ 129577 h 168806"/>
                <a:gd name="connsiteX1" fmla="*/ 414358 w 417339"/>
                <a:gd name="connsiteY1" fmla="*/ 4046 h 168806"/>
                <a:gd name="connsiteX2" fmla="*/ 309057 w 417339"/>
                <a:gd name="connsiteY2" fmla="*/ -3773 h 168806"/>
                <a:gd name="connsiteX3" fmla="*/ -2982 w 417339"/>
                <a:gd name="connsiteY3" fmla="*/ 129577 h 168806"/>
                <a:gd name="connsiteX4" fmla="*/ 8258 w 417339"/>
                <a:gd name="connsiteY4" fmla="*/ 165033 h 168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7339" h="168806">
                  <a:moveTo>
                    <a:pt x="309057" y="129577"/>
                  </a:moveTo>
                  <a:lnTo>
                    <a:pt x="414358" y="4046"/>
                  </a:lnTo>
                  <a:cubicBezTo>
                    <a:pt x="380571" y="-1129"/>
                    <a:pt x="344947" y="-3773"/>
                    <a:pt x="309057" y="-3773"/>
                  </a:cubicBezTo>
                  <a:cubicBezTo>
                    <a:pt x="137874" y="-3773"/>
                    <a:pt x="-2982" y="56418"/>
                    <a:pt x="-2982" y="129577"/>
                  </a:cubicBezTo>
                  <a:cubicBezTo>
                    <a:pt x="-2982" y="141556"/>
                    <a:pt x="798" y="153481"/>
                    <a:pt x="8258" y="165033"/>
                  </a:cubicBezTo>
                  <a:close/>
                </a:path>
              </a:pathLst>
            </a:custGeom>
            <a:noFill/>
            <a:ln w="2472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395FA49A-FCB4-85AD-3510-88CD14B51BDD}"/>
                </a:ext>
              </a:extLst>
            </p:cNvPr>
            <p:cNvSpPr/>
            <p:nvPr/>
          </p:nvSpPr>
          <p:spPr>
            <a:xfrm flipV="1">
              <a:off x="4505935" y="4598248"/>
              <a:ext cx="173485" cy="88826"/>
            </a:xfrm>
            <a:custGeom>
              <a:avLst/>
              <a:gdLst>
                <a:gd name="connsiteX0" fmla="*/ 152072 w 260443"/>
                <a:gd name="connsiteY0" fmla="*/ 129604 h 133349"/>
                <a:gd name="connsiteX1" fmla="*/ 257373 w 260443"/>
                <a:gd name="connsiteY1" fmla="*/ 4072 h 133349"/>
                <a:gd name="connsiteX2" fmla="*/ 152072 w 260443"/>
                <a:gd name="connsiteY2" fmla="*/ -3746 h 133349"/>
                <a:gd name="connsiteX3" fmla="*/ -3071 w 260443"/>
                <a:gd name="connsiteY3" fmla="*/ 13902 h 133349"/>
                <a:gd name="connsiteX4" fmla="*/ 152072 w 260443"/>
                <a:gd name="connsiteY4" fmla="*/ 129604 h 13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443" h="133349">
                  <a:moveTo>
                    <a:pt x="152072" y="129604"/>
                  </a:moveTo>
                  <a:lnTo>
                    <a:pt x="257373" y="4072"/>
                  </a:lnTo>
                  <a:cubicBezTo>
                    <a:pt x="223586" y="-1102"/>
                    <a:pt x="187962" y="-3746"/>
                    <a:pt x="152072" y="-3746"/>
                  </a:cubicBezTo>
                  <a:cubicBezTo>
                    <a:pt x="97650" y="-3746"/>
                    <a:pt x="44150" y="2335"/>
                    <a:pt x="-3071" y="13902"/>
                  </a:cubicBezTo>
                  <a:lnTo>
                    <a:pt x="152072" y="129604"/>
                  </a:lnTo>
                </a:path>
              </a:pathLst>
            </a:custGeom>
            <a:solidFill>
              <a:srgbClr val="803DA2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AF639177-2699-FC83-F73A-2443DEB6CF19}"/>
                </a:ext>
              </a:extLst>
            </p:cNvPr>
            <p:cNvSpPr/>
            <p:nvPr/>
          </p:nvSpPr>
          <p:spPr>
            <a:xfrm flipV="1">
              <a:off x="4505935" y="4598248"/>
              <a:ext cx="173485" cy="88826"/>
            </a:xfrm>
            <a:custGeom>
              <a:avLst/>
              <a:gdLst>
                <a:gd name="connsiteX0" fmla="*/ 152072 w 260443"/>
                <a:gd name="connsiteY0" fmla="*/ 129604 h 133349"/>
                <a:gd name="connsiteX1" fmla="*/ 257373 w 260443"/>
                <a:gd name="connsiteY1" fmla="*/ 4072 h 133349"/>
                <a:gd name="connsiteX2" fmla="*/ 152072 w 260443"/>
                <a:gd name="connsiteY2" fmla="*/ -3746 h 133349"/>
                <a:gd name="connsiteX3" fmla="*/ -3071 w 260443"/>
                <a:gd name="connsiteY3" fmla="*/ 13902 h 13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443" h="133349">
                  <a:moveTo>
                    <a:pt x="152072" y="129604"/>
                  </a:moveTo>
                  <a:lnTo>
                    <a:pt x="257373" y="4072"/>
                  </a:lnTo>
                  <a:cubicBezTo>
                    <a:pt x="223586" y="-1102"/>
                    <a:pt x="187962" y="-3746"/>
                    <a:pt x="152072" y="-3746"/>
                  </a:cubicBezTo>
                  <a:cubicBezTo>
                    <a:pt x="97650" y="-3746"/>
                    <a:pt x="44150" y="2335"/>
                    <a:pt x="-3071" y="13902"/>
                  </a:cubicBezTo>
                  <a:close/>
                </a:path>
              </a:pathLst>
            </a:custGeom>
            <a:solidFill>
              <a:srgbClr val="4DA5C3">
                <a:lumMod val="50000"/>
              </a:srgbClr>
            </a:solidFill>
            <a:ln w="2472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BE6359E1-2E65-EA31-BA0B-DE8FFDAAB3EB}"/>
                </a:ext>
              </a:extLst>
            </p:cNvPr>
            <p:cNvSpPr/>
            <p:nvPr/>
          </p:nvSpPr>
          <p:spPr>
            <a:xfrm flipV="1">
              <a:off x="5403790" y="5343326"/>
              <a:ext cx="465522" cy="220533"/>
            </a:xfrm>
            <a:custGeom>
              <a:avLst/>
              <a:gdLst>
                <a:gd name="connsiteX0" fmla="*/ 668336 w 698860"/>
                <a:gd name="connsiteY0" fmla="*/ -1936 h 331073"/>
                <a:gd name="connsiteX1" fmla="*/ 667566 w 698860"/>
                <a:gd name="connsiteY1" fmla="*/ -1936 h 331073"/>
                <a:gd name="connsiteX2" fmla="*/ 307635 w 698860"/>
                <a:gd name="connsiteY2" fmla="*/ 967 h 331073"/>
                <a:gd name="connsiteX3" fmla="*/ 233378 w 698860"/>
                <a:gd name="connsiteY3" fmla="*/ 82273 h 331073"/>
                <a:gd name="connsiteX4" fmla="*/ 239581 w 698860"/>
                <a:gd name="connsiteY4" fmla="*/ 82220 h 331073"/>
                <a:gd name="connsiteX5" fmla="*/ 239764 w 698860"/>
                <a:gd name="connsiteY5" fmla="*/ 82220 h 331073"/>
                <a:gd name="connsiteX6" fmla="*/ 262616 w 698860"/>
                <a:gd name="connsiteY6" fmla="*/ 104897 h 331073"/>
                <a:gd name="connsiteX7" fmla="*/ 263127 w 698860"/>
                <a:gd name="connsiteY7" fmla="*/ 167914 h 331073"/>
                <a:gd name="connsiteX8" fmla="*/ 240457 w 698860"/>
                <a:gd name="connsiteY8" fmla="*/ 190957 h 331073"/>
                <a:gd name="connsiteX9" fmla="*/ 86869 w 698860"/>
                <a:gd name="connsiteY9" fmla="*/ 192199 h 331073"/>
                <a:gd name="connsiteX10" fmla="*/ 63925 w 698860"/>
                <a:gd name="connsiteY10" fmla="*/ 204528 h 331073"/>
                <a:gd name="connsiteX11" fmla="*/ 40691 w 698860"/>
                <a:gd name="connsiteY11" fmla="*/ 239222 h 331073"/>
                <a:gd name="connsiteX12" fmla="*/ 43457 w 698860"/>
                <a:gd name="connsiteY12" fmla="*/ 249905 h 331073"/>
                <a:gd name="connsiteX13" fmla="*/ 43694 w 698860"/>
                <a:gd name="connsiteY13" fmla="*/ 278648 h 331073"/>
                <a:gd name="connsiteX14" fmla="*/ 46475 w 698860"/>
                <a:gd name="connsiteY14" fmla="*/ 284995 h 331073"/>
                <a:gd name="connsiteX15" fmla="*/ 80651 w 698860"/>
                <a:gd name="connsiteY15" fmla="*/ 306613 h 331073"/>
                <a:gd name="connsiteX16" fmla="*/ 95327 w 698860"/>
                <a:gd name="connsiteY16" fmla="*/ 304533 h 331073"/>
                <a:gd name="connsiteX17" fmla="*/ 94885 w 698860"/>
                <a:gd name="connsiteY17" fmla="*/ 249486 h 331073"/>
                <a:gd name="connsiteX18" fmla="*/ 117562 w 698860"/>
                <a:gd name="connsiteY18" fmla="*/ 226443 h 331073"/>
                <a:gd name="connsiteX19" fmla="*/ 227290 w 698860"/>
                <a:gd name="connsiteY19" fmla="*/ 225559 h 331073"/>
                <a:gd name="connsiteX20" fmla="*/ 310356 w 698860"/>
                <a:gd name="connsiteY20" fmla="*/ 154129 h 331073"/>
                <a:gd name="connsiteX21" fmla="*/ 309952 w 698860"/>
                <a:gd name="connsiteY21" fmla="*/ 103777 h 331073"/>
                <a:gd name="connsiteX22" fmla="*/ 332629 w 698860"/>
                <a:gd name="connsiteY22" fmla="*/ 80726 h 331073"/>
                <a:gd name="connsiteX23" fmla="*/ 378516 w 698860"/>
                <a:gd name="connsiteY23" fmla="*/ 80360 h 331073"/>
                <a:gd name="connsiteX24" fmla="*/ 436383 w 698860"/>
                <a:gd name="connsiteY24" fmla="*/ 4800 h 331073"/>
                <a:gd name="connsiteX25" fmla="*/ 443248 w 698860"/>
                <a:gd name="connsiteY25" fmla="*/ 2758 h 331073"/>
                <a:gd name="connsiteX26" fmla="*/ 452034 w 698860"/>
                <a:gd name="connsiteY26" fmla="*/ 8915 h 331073"/>
                <a:gd name="connsiteX27" fmla="*/ 401704 w 698860"/>
                <a:gd name="connsiteY27" fmla="*/ 80170 h 331073"/>
                <a:gd name="connsiteX28" fmla="*/ 451486 w 698860"/>
                <a:gd name="connsiteY28" fmla="*/ 79766 h 331073"/>
                <a:gd name="connsiteX29" fmla="*/ 451668 w 698860"/>
                <a:gd name="connsiteY29" fmla="*/ 79766 h 331073"/>
                <a:gd name="connsiteX30" fmla="*/ 474528 w 698860"/>
                <a:gd name="connsiteY30" fmla="*/ 102451 h 331073"/>
                <a:gd name="connsiteX31" fmla="*/ 474963 w 698860"/>
                <a:gd name="connsiteY31" fmla="*/ 156050 h 331073"/>
                <a:gd name="connsiteX32" fmla="*/ 536784 w 698860"/>
                <a:gd name="connsiteY32" fmla="*/ 71224 h 331073"/>
                <a:gd name="connsiteX33" fmla="*/ 543451 w 698860"/>
                <a:gd name="connsiteY33" fmla="*/ 68298 h 331073"/>
                <a:gd name="connsiteX34" fmla="*/ 549380 w 698860"/>
                <a:gd name="connsiteY34" fmla="*/ 75926 h 331073"/>
                <a:gd name="connsiteX35" fmla="*/ 547338 w 698860"/>
                <a:gd name="connsiteY35" fmla="*/ 80749 h 331073"/>
                <a:gd name="connsiteX36" fmla="*/ 550797 w 698860"/>
                <a:gd name="connsiteY36" fmla="*/ 80452 h 331073"/>
                <a:gd name="connsiteX37" fmla="*/ 648470 w 698860"/>
                <a:gd name="connsiteY37" fmla="*/ 79667 h 331073"/>
                <a:gd name="connsiteX38" fmla="*/ 648600 w 698860"/>
                <a:gd name="connsiteY38" fmla="*/ 79324 h 331073"/>
                <a:gd name="connsiteX39" fmla="*/ 694007 w 698860"/>
                <a:gd name="connsiteY39" fmla="*/ 1646 h 331073"/>
                <a:gd name="connsiteX40" fmla="*/ 668336 w 698860"/>
                <a:gd name="connsiteY40" fmla="*/ -1936 h 331073"/>
                <a:gd name="connsiteX41" fmla="*/ 284280 w 698860"/>
                <a:gd name="connsiteY41" fmla="*/ 1150 h 331073"/>
                <a:gd name="connsiteX42" fmla="*/ 142319 w 698860"/>
                <a:gd name="connsiteY42" fmla="*/ 2293 h 331073"/>
                <a:gd name="connsiteX43" fmla="*/ 45408 w 698860"/>
                <a:gd name="connsiteY43" fmla="*/ 83782 h 331073"/>
                <a:gd name="connsiteX44" fmla="*/ 210663 w 698860"/>
                <a:gd name="connsiteY44" fmla="*/ 82456 h 331073"/>
                <a:gd name="connsiteX45" fmla="*/ 284280 w 698860"/>
                <a:gd name="connsiteY45" fmla="*/ 1150 h 331073"/>
                <a:gd name="connsiteX46" fmla="*/ 528265 w 698860"/>
                <a:gd name="connsiteY46" fmla="*/ 120495 h 331073"/>
                <a:gd name="connsiteX47" fmla="*/ 498653 w 698860"/>
                <a:gd name="connsiteY47" fmla="*/ 165087 h 331073"/>
                <a:gd name="connsiteX48" fmla="*/ 425715 w 698860"/>
                <a:gd name="connsiteY48" fmla="*/ 223959 h 331073"/>
                <a:gd name="connsiteX49" fmla="*/ 452423 w 698860"/>
                <a:gd name="connsiteY49" fmla="*/ 223746 h 331073"/>
                <a:gd name="connsiteX50" fmla="*/ 452613 w 698860"/>
                <a:gd name="connsiteY50" fmla="*/ 223746 h 331073"/>
                <a:gd name="connsiteX51" fmla="*/ 457429 w 698860"/>
                <a:gd name="connsiteY51" fmla="*/ 224264 h 331073"/>
                <a:gd name="connsiteX52" fmla="*/ 544587 w 698860"/>
                <a:gd name="connsiteY52" fmla="*/ 223563 h 331073"/>
                <a:gd name="connsiteX53" fmla="*/ 549578 w 698860"/>
                <a:gd name="connsiteY53" fmla="*/ 222969 h 331073"/>
                <a:gd name="connsiteX54" fmla="*/ 572232 w 698860"/>
                <a:gd name="connsiteY54" fmla="*/ 222786 h 331073"/>
                <a:gd name="connsiteX55" fmla="*/ 596479 w 698860"/>
                <a:gd name="connsiteY55" fmla="*/ 188831 h 331073"/>
                <a:gd name="connsiteX56" fmla="*/ 551681 w 698860"/>
                <a:gd name="connsiteY56" fmla="*/ 189189 h 331073"/>
                <a:gd name="connsiteX57" fmla="*/ 551483 w 698860"/>
                <a:gd name="connsiteY57" fmla="*/ 189197 h 331073"/>
                <a:gd name="connsiteX58" fmla="*/ 528630 w 698860"/>
                <a:gd name="connsiteY58" fmla="*/ 166520 h 331073"/>
                <a:gd name="connsiteX59" fmla="*/ 528265 w 698860"/>
                <a:gd name="connsiteY59" fmla="*/ 120495 h 331073"/>
                <a:gd name="connsiteX60" fmla="*/ 311735 w 698860"/>
                <a:gd name="connsiteY60" fmla="*/ 174117 h 331073"/>
                <a:gd name="connsiteX61" fmla="*/ 232822 w 698860"/>
                <a:gd name="connsiteY61" fmla="*/ 225514 h 331073"/>
                <a:gd name="connsiteX62" fmla="*/ 236426 w 698860"/>
                <a:gd name="connsiteY62" fmla="*/ 225491 h 331073"/>
                <a:gd name="connsiteX63" fmla="*/ 236602 w 698860"/>
                <a:gd name="connsiteY63" fmla="*/ 225491 h 331073"/>
                <a:gd name="connsiteX64" fmla="*/ 259462 w 698860"/>
                <a:gd name="connsiteY64" fmla="*/ 248160 h 331073"/>
                <a:gd name="connsiteX65" fmla="*/ 260033 w 698860"/>
                <a:gd name="connsiteY65" fmla="*/ 318615 h 331073"/>
                <a:gd name="connsiteX66" fmla="*/ 257541 w 698860"/>
                <a:gd name="connsiteY66" fmla="*/ 329138 h 331073"/>
                <a:gd name="connsiteX67" fmla="*/ 311331 w 698860"/>
                <a:gd name="connsiteY67" fmla="*/ 302338 h 331073"/>
                <a:gd name="connsiteX68" fmla="*/ 310897 w 698860"/>
                <a:gd name="connsiteY68" fmla="*/ 247749 h 331073"/>
                <a:gd name="connsiteX69" fmla="*/ 311232 w 698860"/>
                <a:gd name="connsiteY69" fmla="*/ 243664 h 331073"/>
                <a:gd name="connsiteX70" fmla="*/ 311079 w 698860"/>
                <a:gd name="connsiteY70" fmla="*/ 225438 h 331073"/>
                <a:gd name="connsiteX71" fmla="*/ 328583 w 698860"/>
                <a:gd name="connsiteY71" fmla="*/ 225300 h 331073"/>
                <a:gd name="connsiteX72" fmla="*/ 333566 w 698860"/>
                <a:gd name="connsiteY72" fmla="*/ 224706 h 331073"/>
                <a:gd name="connsiteX73" fmla="*/ 412083 w 698860"/>
                <a:gd name="connsiteY73" fmla="*/ 224073 h 331073"/>
                <a:gd name="connsiteX74" fmla="*/ 446738 w 698860"/>
                <a:gd name="connsiteY74" fmla="*/ 188549 h 331073"/>
                <a:gd name="connsiteX75" fmla="*/ 333505 w 698860"/>
                <a:gd name="connsiteY75" fmla="*/ 189471 h 331073"/>
                <a:gd name="connsiteX76" fmla="*/ 333322 w 698860"/>
                <a:gd name="connsiteY76" fmla="*/ 189471 h 331073"/>
                <a:gd name="connsiteX77" fmla="*/ 311735 w 698860"/>
                <a:gd name="connsiteY77" fmla="*/ 174117 h 331073"/>
                <a:gd name="connsiteX78" fmla="*/ 72825 w 698860"/>
                <a:gd name="connsiteY78" fmla="*/ 192313 h 331073"/>
                <a:gd name="connsiteX79" fmla="*/ -4853 w 698860"/>
                <a:gd name="connsiteY79" fmla="*/ 192938 h 331073"/>
                <a:gd name="connsiteX80" fmla="*/ 32431 w 698860"/>
                <a:gd name="connsiteY80" fmla="*/ 208445 h 331073"/>
                <a:gd name="connsiteX81" fmla="*/ 60641 w 698860"/>
                <a:gd name="connsiteY81" fmla="*/ 200177 h 331073"/>
                <a:gd name="connsiteX82" fmla="*/ 72825 w 698860"/>
                <a:gd name="connsiteY82" fmla="*/ 192313 h 331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698860" h="331073">
                  <a:moveTo>
                    <a:pt x="668336" y="-1936"/>
                  </a:moveTo>
                  <a:cubicBezTo>
                    <a:pt x="668076" y="-1936"/>
                    <a:pt x="667817" y="-1936"/>
                    <a:pt x="667566" y="-1936"/>
                  </a:cubicBezTo>
                  <a:lnTo>
                    <a:pt x="307635" y="967"/>
                  </a:lnTo>
                  <a:cubicBezTo>
                    <a:pt x="283747" y="30487"/>
                    <a:pt x="259004" y="57576"/>
                    <a:pt x="233378" y="82273"/>
                  </a:cubicBezTo>
                  <a:lnTo>
                    <a:pt x="239581" y="82220"/>
                  </a:lnTo>
                  <a:cubicBezTo>
                    <a:pt x="239642" y="82220"/>
                    <a:pt x="239703" y="82220"/>
                    <a:pt x="239764" y="82220"/>
                  </a:cubicBezTo>
                  <a:cubicBezTo>
                    <a:pt x="252245" y="82220"/>
                    <a:pt x="262517" y="92385"/>
                    <a:pt x="262616" y="104897"/>
                  </a:cubicBezTo>
                  <a:lnTo>
                    <a:pt x="263127" y="167914"/>
                  </a:lnTo>
                  <a:cubicBezTo>
                    <a:pt x="263226" y="180487"/>
                    <a:pt x="253023" y="190858"/>
                    <a:pt x="240457" y="190957"/>
                  </a:cubicBezTo>
                  <a:lnTo>
                    <a:pt x="86869" y="192199"/>
                  </a:lnTo>
                  <a:cubicBezTo>
                    <a:pt x="79294" y="196459"/>
                    <a:pt x="71644" y="200573"/>
                    <a:pt x="63925" y="204528"/>
                  </a:cubicBezTo>
                  <a:cubicBezTo>
                    <a:pt x="51237" y="211036"/>
                    <a:pt x="43610" y="224325"/>
                    <a:pt x="40691" y="239222"/>
                  </a:cubicBezTo>
                  <a:cubicBezTo>
                    <a:pt x="42429" y="242407"/>
                    <a:pt x="43427" y="246042"/>
                    <a:pt x="43457" y="249905"/>
                  </a:cubicBezTo>
                  <a:lnTo>
                    <a:pt x="43694" y="278648"/>
                  </a:lnTo>
                  <a:cubicBezTo>
                    <a:pt x="44509" y="280850"/>
                    <a:pt x="45431" y="282969"/>
                    <a:pt x="46475" y="284995"/>
                  </a:cubicBezTo>
                  <a:cubicBezTo>
                    <a:pt x="54232" y="300197"/>
                    <a:pt x="66554" y="306613"/>
                    <a:pt x="80651" y="306613"/>
                  </a:cubicBezTo>
                  <a:cubicBezTo>
                    <a:pt x="85375" y="306613"/>
                    <a:pt x="90305" y="305890"/>
                    <a:pt x="95327" y="304533"/>
                  </a:cubicBezTo>
                  <a:lnTo>
                    <a:pt x="94885" y="249486"/>
                  </a:lnTo>
                  <a:cubicBezTo>
                    <a:pt x="94786" y="236913"/>
                    <a:pt x="104989" y="226542"/>
                    <a:pt x="117562" y="226443"/>
                  </a:cubicBezTo>
                  <a:lnTo>
                    <a:pt x="227290" y="225559"/>
                  </a:lnTo>
                  <a:cubicBezTo>
                    <a:pt x="255972" y="203964"/>
                    <a:pt x="283640" y="180175"/>
                    <a:pt x="310356" y="154129"/>
                  </a:cubicBezTo>
                  <a:lnTo>
                    <a:pt x="309952" y="103777"/>
                  </a:lnTo>
                  <a:cubicBezTo>
                    <a:pt x="309845" y="91204"/>
                    <a:pt x="320056" y="80833"/>
                    <a:pt x="332629" y="80726"/>
                  </a:cubicBezTo>
                  <a:lnTo>
                    <a:pt x="378516" y="80360"/>
                  </a:lnTo>
                  <a:cubicBezTo>
                    <a:pt x="398351" y="56616"/>
                    <a:pt x="417630" y="31440"/>
                    <a:pt x="436383" y="4800"/>
                  </a:cubicBezTo>
                  <a:cubicBezTo>
                    <a:pt x="438920" y="3353"/>
                    <a:pt x="441229" y="2758"/>
                    <a:pt x="443248" y="2758"/>
                  </a:cubicBezTo>
                  <a:cubicBezTo>
                    <a:pt x="447820" y="2758"/>
                    <a:pt x="450937" y="5799"/>
                    <a:pt x="452034" y="8915"/>
                  </a:cubicBezTo>
                  <a:cubicBezTo>
                    <a:pt x="437808" y="31630"/>
                    <a:pt x="420830" y="56014"/>
                    <a:pt x="401704" y="80170"/>
                  </a:cubicBezTo>
                  <a:lnTo>
                    <a:pt x="451486" y="79766"/>
                  </a:lnTo>
                  <a:cubicBezTo>
                    <a:pt x="451547" y="79766"/>
                    <a:pt x="451607" y="79766"/>
                    <a:pt x="451668" y="79766"/>
                  </a:cubicBezTo>
                  <a:cubicBezTo>
                    <a:pt x="464158" y="79766"/>
                    <a:pt x="474429" y="89939"/>
                    <a:pt x="474528" y="102451"/>
                  </a:cubicBezTo>
                  <a:lnTo>
                    <a:pt x="474963" y="156050"/>
                  </a:lnTo>
                  <a:cubicBezTo>
                    <a:pt x="498219" y="127863"/>
                    <a:pt x="519037" y="98984"/>
                    <a:pt x="536784" y="71224"/>
                  </a:cubicBezTo>
                  <a:cubicBezTo>
                    <a:pt x="539550" y="69136"/>
                    <a:pt x="541729" y="68298"/>
                    <a:pt x="543451" y="68298"/>
                  </a:cubicBezTo>
                  <a:cubicBezTo>
                    <a:pt x="547208" y="68298"/>
                    <a:pt x="548755" y="72291"/>
                    <a:pt x="549380" y="75926"/>
                  </a:cubicBezTo>
                  <a:cubicBezTo>
                    <a:pt x="548702" y="77541"/>
                    <a:pt x="548023" y="79149"/>
                    <a:pt x="547338" y="80749"/>
                  </a:cubicBezTo>
                  <a:cubicBezTo>
                    <a:pt x="548465" y="80566"/>
                    <a:pt x="549624" y="80467"/>
                    <a:pt x="550797" y="80452"/>
                  </a:cubicBezTo>
                  <a:lnTo>
                    <a:pt x="648470" y="79667"/>
                  </a:lnTo>
                  <a:cubicBezTo>
                    <a:pt x="648516" y="79553"/>
                    <a:pt x="648562" y="79438"/>
                    <a:pt x="648600" y="79324"/>
                  </a:cubicBezTo>
                  <a:lnTo>
                    <a:pt x="694007" y="1646"/>
                  </a:lnTo>
                  <a:cubicBezTo>
                    <a:pt x="685846" y="-686"/>
                    <a:pt x="677236" y="-1936"/>
                    <a:pt x="668336" y="-1936"/>
                  </a:cubicBezTo>
                  <a:moveTo>
                    <a:pt x="284280" y="1150"/>
                  </a:moveTo>
                  <a:lnTo>
                    <a:pt x="142319" y="2293"/>
                  </a:lnTo>
                  <a:cubicBezTo>
                    <a:pt x="113828" y="30602"/>
                    <a:pt x="82198" y="57508"/>
                    <a:pt x="45408" y="83782"/>
                  </a:cubicBezTo>
                  <a:lnTo>
                    <a:pt x="210663" y="82456"/>
                  </a:lnTo>
                  <a:cubicBezTo>
                    <a:pt x="237425" y="56342"/>
                    <a:pt x="261572" y="29344"/>
                    <a:pt x="284280" y="1150"/>
                  </a:cubicBezTo>
                  <a:moveTo>
                    <a:pt x="528265" y="120495"/>
                  </a:moveTo>
                  <a:cubicBezTo>
                    <a:pt x="519601" y="136382"/>
                    <a:pt x="509946" y="151272"/>
                    <a:pt x="498653" y="165087"/>
                  </a:cubicBezTo>
                  <a:cubicBezTo>
                    <a:pt x="480099" y="187787"/>
                    <a:pt x="453040" y="207447"/>
                    <a:pt x="425715" y="223959"/>
                  </a:cubicBezTo>
                  <a:lnTo>
                    <a:pt x="452423" y="223746"/>
                  </a:lnTo>
                  <a:cubicBezTo>
                    <a:pt x="452484" y="223746"/>
                    <a:pt x="452545" y="223746"/>
                    <a:pt x="452613" y="223746"/>
                  </a:cubicBezTo>
                  <a:cubicBezTo>
                    <a:pt x="454259" y="223746"/>
                    <a:pt x="455875" y="223921"/>
                    <a:pt x="457429" y="224264"/>
                  </a:cubicBezTo>
                  <a:lnTo>
                    <a:pt x="544587" y="223563"/>
                  </a:lnTo>
                  <a:cubicBezTo>
                    <a:pt x="546195" y="223182"/>
                    <a:pt x="547863" y="222976"/>
                    <a:pt x="549578" y="222969"/>
                  </a:cubicBezTo>
                  <a:lnTo>
                    <a:pt x="572232" y="222786"/>
                  </a:lnTo>
                  <a:cubicBezTo>
                    <a:pt x="581117" y="211760"/>
                    <a:pt x="589141" y="200429"/>
                    <a:pt x="596479" y="188831"/>
                  </a:cubicBezTo>
                  <a:lnTo>
                    <a:pt x="551681" y="189189"/>
                  </a:lnTo>
                  <a:cubicBezTo>
                    <a:pt x="551612" y="189189"/>
                    <a:pt x="551551" y="189197"/>
                    <a:pt x="551483" y="189197"/>
                  </a:cubicBezTo>
                  <a:cubicBezTo>
                    <a:pt x="538994" y="189197"/>
                    <a:pt x="528737" y="179024"/>
                    <a:pt x="528630" y="166520"/>
                  </a:cubicBezTo>
                  <a:lnTo>
                    <a:pt x="528265" y="120495"/>
                  </a:lnTo>
                  <a:moveTo>
                    <a:pt x="311735" y="174117"/>
                  </a:moveTo>
                  <a:cubicBezTo>
                    <a:pt x="286642" y="195079"/>
                    <a:pt x="260109" y="212933"/>
                    <a:pt x="232822" y="225514"/>
                  </a:cubicBezTo>
                  <a:lnTo>
                    <a:pt x="236426" y="225491"/>
                  </a:lnTo>
                  <a:cubicBezTo>
                    <a:pt x="236480" y="225491"/>
                    <a:pt x="236548" y="225491"/>
                    <a:pt x="236602" y="225491"/>
                  </a:cubicBezTo>
                  <a:cubicBezTo>
                    <a:pt x="249091" y="225483"/>
                    <a:pt x="259363" y="235648"/>
                    <a:pt x="259462" y="248160"/>
                  </a:cubicBezTo>
                  <a:lnTo>
                    <a:pt x="260033" y="318615"/>
                  </a:lnTo>
                  <a:cubicBezTo>
                    <a:pt x="260064" y="322394"/>
                    <a:pt x="259164" y="325976"/>
                    <a:pt x="257541" y="329138"/>
                  </a:cubicBezTo>
                  <a:cubicBezTo>
                    <a:pt x="275791" y="321884"/>
                    <a:pt x="293759" y="312831"/>
                    <a:pt x="311331" y="302338"/>
                  </a:cubicBezTo>
                  <a:lnTo>
                    <a:pt x="310897" y="247749"/>
                  </a:lnTo>
                  <a:cubicBezTo>
                    <a:pt x="310881" y="246354"/>
                    <a:pt x="310996" y="244990"/>
                    <a:pt x="311232" y="243664"/>
                  </a:cubicBezTo>
                  <a:lnTo>
                    <a:pt x="311079" y="225438"/>
                  </a:lnTo>
                  <a:lnTo>
                    <a:pt x="328583" y="225300"/>
                  </a:lnTo>
                  <a:cubicBezTo>
                    <a:pt x="330190" y="224927"/>
                    <a:pt x="331859" y="224721"/>
                    <a:pt x="333566" y="224706"/>
                  </a:cubicBezTo>
                  <a:lnTo>
                    <a:pt x="412083" y="224073"/>
                  </a:lnTo>
                  <a:cubicBezTo>
                    <a:pt x="424031" y="212613"/>
                    <a:pt x="435598" y="200726"/>
                    <a:pt x="446738" y="188549"/>
                  </a:cubicBezTo>
                  <a:lnTo>
                    <a:pt x="333505" y="189471"/>
                  </a:lnTo>
                  <a:cubicBezTo>
                    <a:pt x="333444" y="189471"/>
                    <a:pt x="333383" y="189471"/>
                    <a:pt x="333322" y="189471"/>
                  </a:cubicBezTo>
                  <a:cubicBezTo>
                    <a:pt x="323386" y="189471"/>
                    <a:pt x="314859" y="183040"/>
                    <a:pt x="311735" y="174117"/>
                  </a:cubicBezTo>
                  <a:moveTo>
                    <a:pt x="72825" y="192313"/>
                  </a:moveTo>
                  <a:lnTo>
                    <a:pt x="-4853" y="192938"/>
                  </a:lnTo>
                  <a:cubicBezTo>
                    <a:pt x="5159" y="203035"/>
                    <a:pt x="18677" y="208445"/>
                    <a:pt x="32431" y="208445"/>
                  </a:cubicBezTo>
                  <a:cubicBezTo>
                    <a:pt x="42101" y="208445"/>
                    <a:pt x="51885" y="205770"/>
                    <a:pt x="60641" y="200177"/>
                  </a:cubicBezTo>
                  <a:cubicBezTo>
                    <a:pt x="64755" y="197556"/>
                    <a:pt x="68809" y="194942"/>
                    <a:pt x="72825" y="192313"/>
                  </a:cubicBezTo>
                </a:path>
              </a:pathLst>
            </a:custGeom>
            <a:solidFill>
              <a:srgbClr val="28282E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0B4555C2-DC44-C6A3-E14F-10C186BB9FD8}"/>
                </a:ext>
              </a:extLst>
            </p:cNvPr>
            <p:cNvSpPr/>
            <p:nvPr/>
          </p:nvSpPr>
          <p:spPr>
            <a:xfrm flipV="1">
              <a:off x="5769781" y="5413652"/>
              <a:ext cx="18415" cy="518"/>
            </a:xfrm>
            <a:custGeom>
              <a:avLst/>
              <a:gdLst>
                <a:gd name="connsiteX0" fmla="*/ 22549 w 27645"/>
                <a:gd name="connsiteY0" fmla="*/ -2024 h 777"/>
                <a:gd name="connsiteX1" fmla="*/ -105 w 27645"/>
                <a:gd name="connsiteY1" fmla="*/ -1842 h 777"/>
                <a:gd name="connsiteX2" fmla="*/ -5097 w 27645"/>
                <a:gd name="connsiteY2" fmla="*/ -1247 h 777"/>
                <a:gd name="connsiteX3" fmla="*/ 22100 w 27645"/>
                <a:gd name="connsiteY3" fmla="*/ -1468 h 777"/>
                <a:gd name="connsiteX4" fmla="*/ 22549 w 27645"/>
                <a:gd name="connsiteY4" fmla="*/ -2024 h 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45" h="777">
                  <a:moveTo>
                    <a:pt x="22549" y="-2024"/>
                  </a:moveTo>
                  <a:lnTo>
                    <a:pt x="-105" y="-1842"/>
                  </a:lnTo>
                  <a:cubicBezTo>
                    <a:pt x="-1820" y="-1834"/>
                    <a:pt x="-3488" y="-1628"/>
                    <a:pt x="-5097" y="-1247"/>
                  </a:cubicBezTo>
                  <a:lnTo>
                    <a:pt x="22100" y="-1468"/>
                  </a:lnTo>
                  <a:cubicBezTo>
                    <a:pt x="22244" y="-1659"/>
                    <a:pt x="22396" y="-1842"/>
                    <a:pt x="22549" y="-2024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823B376B-EE9E-AF1F-D238-378877A34C0D}"/>
                </a:ext>
              </a:extLst>
            </p:cNvPr>
            <p:cNvSpPr/>
            <p:nvPr/>
          </p:nvSpPr>
          <p:spPr>
            <a:xfrm flipV="1">
              <a:off x="5614115" y="5361178"/>
              <a:ext cx="97608" cy="52351"/>
            </a:xfrm>
            <a:custGeom>
              <a:avLst/>
              <a:gdLst>
                <a:gd name="connsiteX0" fmla="*/ 136820 w 146533"/>
                <a:gd name="connsiteY0" fmla="*/ -2084 h 78592"/>
                <a:gd name="connsiteX1" fmla="*/ 136629 w 146533"/>
                <a:gd name="connsiteY1" fmla="*/ -2084 h 78592"/>
                <a:gd name="connsiteX2" fmla="*/ 109921 w 146533"/>
                <a:gd name="connsiteY2" fmla="*/ -1870 h 78592"/>
                <a:gd name="connsiteX3" fmla="*/ 108991 w 146533"/>
                <a:gd name="connsiteY3" fmla="*/ -1306 h 78592"/>
                <a:gd name="connsiteX4" fmla="*/ 141635 w 146533"/>
                <a:gd name="connsiteY4" fmla="*/ -1566 h 78592"/>
                <a:gd name="connsiteX5" fmla="*/ 136820 w 146533"/>
                <a:gd name="connsiteY5" fmla="*/ -2084 h 78592"/>
                <a:gd name="connsiteX6" fmla="*/ 96289 w 146533"/>
                <a:gd name="connsiteY6" fmla="*/ -1756 h 78592"/>
                <a:gd name="connsiteX7" fmla="*/ 17772 w 146533"/>
                <a:gd name="connsiteY7" fmla="*/ -1124 h 78592"/>
                <a:gd name="connsiteX8" fmla="*/ 12789 w 146533"/>
                <a:gd name="connsiteY8" fmla="*/ -529 h 78592"/>
                <a:gd name="connsiteX9" fmla="*/ 95710 w 146533"/>
                <a:gd name="connsiteY9" fmla="*/ -1200 h 78592"/>
                <a:gd name="connsiteX10" fmla="*/ 96289 w 146533"/>
                <a:gd name="connsiteY10" fmla="*/ -1756 h 78592"/>
                <a:gd name="connsiteX11" fmla="*/ -4562 w 146533"/>
                <a:gd name="connsiteY11" fmla="*/ 17835 h 78592"/>
                <a:gd name="connsiteX12" fmla="*/ -4897 w 146533"/>
                <a:gd name="connsiteY12" fmla="*/ 21919 h 78592"/>
                <a:gd name="connsiteX13" fmla="*/ -4463 w 146533"/>
                <a:gd name="connsiteY13" fmla="*/ 76509 h 78592"/>
                <a:gd name="connsiteX14" fmla="*/ -4089 w 146533"/>
                <a:gd name="connsiteY14" fmla="*/ 76288 h 78592"/>
                <a:gd name="connsiteX15" fmla="*/ -4562 w 146533"/>
                <a:gd name="connsiteY15" fmla="*/ 17835 h 7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533" h="78592">
                  <a:moveTo>
                    <a:pt x="136820" y="-2084"/>
                  </a:moveTo>
                  <a:cubicBezTo>
                    <a:pt x="136751" y="-2084"/>
                    <a:pt x="136690" y="-2084"/>
                    <a:pt x="136629" y="-2084"/>
                  </a:cubicBezTo>
                  <a:lnTo>
                    <a:pt x="109921" y="-1870"/>
                  </a:lnTo>
                  <a:cubicBezTo>
                    <a:pt x="109616" y="-1680"/>
                    <a:pt x="109304" y="-1489"/>
                    <a:pt x="108991" y="-1306"/>
                  </a:cubicBezTo>
                  <a:lnTo>
                    <a:pt x="141635" y="-1566"/>
                  </a:lnTo>
                  <a:cubicBezTo>
                    <a:pt x="140081" y="-1908"/>
                    <a:pt x="138466" y="-2084"/>
                    <a:pt x="136820" y="-2084"/>
                  </a:cubicBezTo>
                  <a:moveTo>
                    <a:pt x="96289" y="-1756"/>
                  </a:moveTo>
                  <a:lnTo>
                    <a:pt x="17772" y="-1124"/>
                  </a:lnTo>
                  <a:cubicBezTo>
                    <a:pt x="16065" y="-1108"/>
                    <a:pt x="14397" y="-903"/>
                    <a:pt x="12789" y="-529"/>
                  </a:cubicBezTo>
                  <a:lnTo>
                    <a:pt x="95710" y="-1200"/>
                  </a:lnTo>
                  <a:cubicBezTo>
                    <a:pt x="95900" y="-1383"/>
                    <a:pt x="96098" y="-1573"/>
                    <a:pt x="96289" y="-1756"/>
                  </a:cubicBezTo>
                  <a:moveTo>
                    <a:pt x="-4562" y="17835"/>
                  </a:moveTo>
                  <a:cubicBezTo>
                    <a:pt x="-4798" y="19161"/>
                    <a:pt x="-4912" y="20525"/>
                    <a:pt x="-4897" y="21919"/>
                  </a:cubicBezTo>
                  <a:lnTo>
                    <a:pt x="-4463" y="76509"/>
                  </a:lnTo>
                  <a:cubicBezTo>
                    <a:pt x="-4333" y="76433"/>
                    <a:pt x="-4211" y="76364"/>
                    <a:pt x="-4089" y="76288"/>
                  </a:cubicBezTo>
                  <a:lnTo>
                    <a:pt x="-4562" y="17835"/>
                  </a:ln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573291C4-1BA3-BCA2-C479-44025A826108}"/>
                </a:ext>
              </a:extLst>
            </p:cNvPr>
            <p:cNvSpPr/>
            <p:nvPr/>
          </p:nvSpPr>
          <p:spPr>
            <a:xfrm flipV="1">
              <a:off x="5470227" y="5336778"/>
              <a:ext cx="110008" cy="75588"/>
            </a:xfrm>
            <a:custGeom>
              <a:avLst/>
              <a:gdLst>
                <a:gd name="connsiteX0" fmla="*/ 137054 w 165149"/>
                <a:gd name="connsiteY0" fmla="*/ -2112 h 113476"/>
                <a:gd name="connsiteX1" fmla="*/ 136879 w 165149"/>
                <a:gd name="connsiteY1" fmla="*/ -2112 h 113476"/>
                <a:gd name="connsiteX2" fmla="*/ 133275 w 165149"/>
                <a:gd name="connsiteY2" fmla="*/ -2089 h 113476"/>
                <a:gd name="connsiteX3" fmla="*/ 120382 w 165149"/>
                <a:gd name="connsiteY3" fmla="*/ 3443 h 113476"/>
                <a:gd name="connsiteX4" fmla="*/ 127742 w 165149"/>
                <a:gd name="connsiteY4" fmla="*/ -2044 h 113476"/>
                <a:gd name="connsiteX5" fmla="*/ 18014 w 165149"/>
                <a:gd name="connsiteY5" fmla="*/ -1160 h 113476"/>
                <a:gd name="connsiteX6" fmla="*/ -4663 w 165149"/>
                <a:gd name="connsiteY6" fmla="*/ 21883 h 113476"/>
                <a:gd name="connsiteX7" fmla="*/ -4221 w 165149"/>
                <a:gd name="connsiteY7" fmla="*/ 76930 h 113476"/>
                <a:gd name="connsiteX8" fmla="*/ 12307 w 165149"/>
                <a:gd name="connsiteY8" fmla="*/ 70423 h 113476"/>
                <a:gd name="connsiteX9" fmla="*/ 74943 w 165149"/>
                <a:gd name="connsiteY9" fmla="*/ 34449 h 113476"/>
                <a:gd name="connsiteX10" fmla="*/ 71438 w 165149"/>
                <a:gd name="connsiteY10" fmla="*/ 74690 h 113476"/>
                <a:gd name="connsiteX11" fmla="*/ 121540 w 165149"/>
                <a:gd name="connsiteY11" fmla="*/ 111365 h 113476"/>
                <a:gd name="connsiteX12" fmla="*/ 137427 w 165149"/>
                <a:gd name="connsiteY12" fmla="*/ 108904 h 113476"/>
                <a:gd name="connsiteX13" fmla="*/ 157994 w 165149"/>
                <a:gd name="connsiteY13" fmla="*/ 101535 h 113476"/>
                <a:gd name="connsiteX14" fmla="*/ 160486 w 165149"/>
                <a:gd name="connsiteY14" fmla="*/ 91012 h 113476"/>
                <a:gd name="connsiteX15" fmla="*/ 159914 w 165149"/>
                <a:gd name="connsiteY15" fmla="*/ 20557 h 113476"/>
                <a:gd name="connsiteX16" fmla="*/ 137054 w 165149"/>
                <a:gd name="connsiteY16" fmla="*/ -2112 h 113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5149" h="113476">
                  <a:moveTo>
                    <a:pt x="137054" y="-2112"/>
                  </a:moveTo>
                  <a:cubicBezTo>
                    <a:pt x="137001" y="-2112"/>
                    <a:pt x="136932" y="-2112"/>
                    <a:pt x="136879" y="-2112"/>
                  </a:cubicBezTo>
                  <a:lnTo>
                    <a:pt x="133275" y="-2089"/>
                  </a:lnTo>
                  <a:cubicBezTo>
                    <a:pt x="128992" y="-108"/>
                    <a:pt x="124694" y="1736"/>
                    <a:pt x="120382" y="3443"/>
                  </a:cubicBezTo>
                  <a:cubicBezTo>
                    <a:pt x="122843" y="1629"/>
                    <a:pt x="125296" y="-200"/>
                    <a:pt x="127742" y="-2044"/>
                  </a:cubicBezTo>
                  <a:lnTo>
                    <a:pt x="18014" y="-1160"/>
                  </a:lnTo>
                  <a:cubicBezTo>
                    <a:pt x="5441" y="-1061"/>
                    <a:pt x="-4762" y="9310"/>
                    <a:pt x="-4663" y="21883"/>
                  </a:cubicBezTo>
                  <a:lnTo>
                    <a:pt x="-4221" y="76930"/>
                  </a:lnTo>
                  <a:cubicBezTo>
                    <a:pt x="1220" y="75467"/>
                    <a:pt x="6775" y="73257"/>
                    <a:pt x="12307" y="70423"/>
                  </a:cubicBezTo>
                  <a:cubicBezTo>
                    <a:pt x="33712" y="59526"/>
                    <a:pt x="54522" y="47410"/>
                    <a:pt x="74943" y="34449"/>
                  </a:cubicBezTo>
                  <a:cubicBezTo>
                    <a:pt x="68687" y="46488"/>
                    <a:pt x="67019" y="60814"/>
                    <a:pt x="71438" y="74690"/>
                  </a:cubicBezTo>
                  <a:cubicBezTo>
                    <a:pt x="78525" y="97070"/>
                    <a:pt x="99236" y="111365"/>
                    <a:pt x="121540" y="111365"/>
                  </a:cubicBezTo>
                  <a:cubicBezTo>
                    <a:pt x="126798" y="111365"/>
                    <a:pt x="132147" y="110572"/>
                    <a:pt x="137427" y="108904"/>
                  </a:cubicBezTo>
                  <a:cubicBezTo>
                    <a:pt x="144324" y="106709"/>
                    <a:pt x="151174" y="104248"/>
                    <a:pt x="157994" y="101535"/>
                  </a:cubicBezTo>
                  <a:cubicBezTo>
                    <a:pt x="159617" y="98373"/>
                    <a:pt x="160516" y="94791"/>
                    <a:pt x="160486" y="91012"/>
                  </a:cubicBezTo>
                  <a:lnTo>
                    <a:pt x="159914" y="20557"/>
                  </a:lnTo>
                  <a:cubicBezTo>
                    <a:pt x="159815" y="8045"/>
                    <a:pt x="149543" y="-2120"/>
                    <a:pt x="137054" y="-2112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B307F6B7-E7FE-2E06-D81D-CFAB6C6A3DBE}"/>
                </a:ext>
              </a:extLst>
            </p:cNvPr>
            <p:cNvSpPr/>
            <p:nvPr/>
          </p:nvSpPr>
          <p:spPr>
            <a:xfrm flipV="1">
              <a:off x="5433224" y="5376959"/>
              <a:ext cx="2904" cy="26262"/>
            </a:xfrm>
            <a:custGeom>
              <a:avLst/>
              <a:gdLst>
                <a:gd name="connsiteX0" fmla="*/ -3151 w 4359"/>
                <a:gd name="connsiteY0" fmla="*/ -2078 h 39425"/>
                <a:gd name="connsiteX1" fmla="*/ -149 w 4359"/>
                <a:gd name="connsiteY1" fmla="*/ 37348 h 39425"/>
                <a:gd name="connsiteX2" fmla="*/ -385 w 4359"/>
                <a:gd name="connsiteY2" fmla="*/ 8605 h 39425"/>
                <a:gd name="connsiteX3" fmla="*/ -3151 w 4359"/>
                <a:gd name="connsiteY3" fmla="*/ -2078 h 3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9" h="39425">
                  <a:moveTo>
                    <a:pt x="-3151" y="-2078"/>
                  </a:moveTo>
                  <a:cubicBezTo>
                    <a:pt x="-5704" y="10991"/>
                    <a:pt x="-4630" y="25293"/>
                    <a:pt x="-149" y="37348"/>
                  </a:cubicBezTo>
                  <a:lnTo>
                    <a:pt x="-385" y="8605"/>
                  </a:lnTo>
                  <a:cubicBezTo>
                    <a:pt x="-416" y="4742"/>
                    <a:pt x="-1414" y="1108"/>
                    <a:pt x="-3151" y="-2078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F10974B2-D3C6-49F2-93EB-FD58B2ECA39A}"/>
                </a:ext>
              </a:extLst>
            </p:cNvPr>
            <p:cNvSpPr/>
            <p:nvPr/>
          </p:nvSpPr>
          <p:spPr>
            <a:xfrm flipV="1">
              <a:off x="5614238" y="5339215"/>
              <a:ext cx="173659" cy="74584"/>
            </a:xfrm>
            <a:custGeom>
              <a:avLst/>
              <a:gdLst>
                <a:gd name="connsiteX0" fmla="*/ 255740 w 260703"/>
                <a:gd name="connsiteY0" fmla="*/ -2108 h 111968"/>
                <a:gd name="connsiteX1" fmla="*/ 228544 w 260703"/>
                <a:gd name="connsiteY1" fmla="*/ -1887 h 111968"/>
                <a:gd name="connsiteX2" fmla="*/ 141386 w 260703"/>
                <a:gd name="connsiteY2" fmla="*/ -1186 h 111968"/>
                <a:gd name="connsiteX3" fmla="*/ 108742 w 260703"/>
                <a:gd name="connsiteY3" fmla="*/ -927 h 111968"/>
                <a:gd name="connsiteX4" fmla="*/ 74871 w 260703"/>
                <a:gd name="connsiteY4" fmla="*/ 18100 h 111968"/>
                <a:gd name="connsiteX5" fmla="*/ 95460 w 260703"/>
                <a:gd name="connsiteY5" fmla="*/ -820 h 111968"/>
                <a:gd name="connsiteX6" fmla="*/ 12540 w 260703"/>
                <a:gd name="connsiteY6" fmla="*/ -150 h 111968"/>
                <a:gd name="connsiteX7" fmla="*/ -4964 w 260703"/>
                <a:gd name="connsiteY7" fmla="*/ -12 h 111968"/>
                <a:gd name="connsiteX8" fmla="*/ -4811 w 260703"/>
                <a:gd name="connsiteY8" fmla="*/ 18215 h 111968"/>
                <a:gd name="connsiteX9" fmla="*/ -4338 w 260703"/>
                <a:gd name="connsiteY9" fmla="*/ 76668 h 111968"/>
                <a:gd name="connsiteX10" fmla="*/ 49482 w 260703"/>
                <a:gd name="connsiteY10" fmla="*/ 39276 h 111968"/>
                <a:gd name="connsiteX11" fmla="*/ 48186 w 260703"/>
                <a:gd name="connsiteY11" fmla="*/ 84768 h 111968"/>
                <a:gd name="connsiteX12" fmla="*/ 89654 w 260703"/>
                <a:gd name="connsiteY12" fmla="*/ 109860 h 111968"/>
                <a:gd name="connsiteX13" fmla="*/ 111196 w 260703"/>
                <a:gd name="connsiteY13" fmla="*/ 104572 h 111968"/>
                <a:gd name="connsiteX14" fmla="*/ 254993 w 260703"/>
                <a:gd name="connsiteY14" fmla="*/ -1186 h 111968"/>
                <a:gd name="connsiteX15" fmla="*/ 255740 w 260703"/>
                <a:gd name="connsiteY15" fmla="*/ -2108 h 111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703" h="111968">
                  <a:moveTo>
                    <a:pt x="255740" y="-2108"/>
                  </a:moveTo>
                  <a:lnTo>
                    <a:pt x="228544" y="-1887"/>
                  </a:lnTo>
                  <a:lnTo>
                    <a:pt x="141386" y="-1186"/>
                  </a:lnTo>
                  <a:lnTo>
                    <a:pt x="108742" y="-927"/>
                  </a:lnTo>
                  <a:cubicBezTo>
                    <a:pt x="97274" y="5977"/>
                    <a:pt x="85783" y="12317"/>
                    <a:pt x="74871" y="18100"/>
                  </a:cubicBezTo>
                  <a:cubicBezTo>
                    <a:pt x="81843" y="11951"/>
                    <a:pt x="88709" y="5634"/>
                    <a:pt x="95460" y="-820"/>
                  </a:cubicBezTo>
                  <a:lnTo>
                    <a:pt x="12540" y="-150"/>
                  </a:lnTo>
                  <a:lnTo>
                    <a:pt x="-4964" y="-12"/>
                  </a:lnTo>
                  <a:lnTo>
                    <a:pt x="-4811" y="18215"/>
                  </a:lnTo>
                  <a:lnTo>
                    <a:pt x="-4338" y="76668"/>
                  </a:lnTo>
                  <a:cubicBezTo>
                    <a:pt x="14071" y="65649"/>
                    <a:pt x="32047" y="53053"/>
                    <a:pt x="49482" y="39276"/>
                  </a:cubicBezTo>
                  <a:cubicBezTo>
                    <a:pt x="41557" y="52687"/>
                    <a:pt x="40406" y="69832"/>
                    <a:pt x="48186" y="84768"/>
                  </a:cubicBezTo>
                  <a:cubicBezTo>
                    <a:pt x="56537" y="100732"/>
                    <a:pt x="72814" y="109860"/>
                    <a:pt x="89654" y="109860"/>
                  </a:cubicBezTo>
                  <a:cubicBezTo>
                    <a:pt x="96931" y="109860"/>
                    <a:pt x="104308" y="108161"/>
                    <a:pt x="111196" y="104572"/>
                  </a:cubicBezTo>
                  <a:cubicBezTo>
                    <a:pt x="157678" y="80348"/>
                    <a:pt x="215971" y="46439"/>
                    <a:pt x="254993" y="-1186"/>
                  </a:cubicBezTo>
                  <a:cubicBezTo>
                    <a:pt x="255244" y="-1498"/>
                    <a:pt x="255488" y="-1803"/>
                    <a:pt x="255740" y="-2108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8575ACF6-0C92-95B7-1C76-ED58610B66AB}"/>
                </a:ext>
              </a:extLst>
            </p:cNvPr>
            <p:cNvSpPr/>
            <p:nvPr/>
          </p:nvSpPr>
          <p:spPr>
            <a:xfrm flipV="1">
              <a:off x="5393607" y="5434051"/>
              <a:ext cx="188689" cy="73751"/>
            </a:xfrm>
            <a:custGeom>
              <a:avLst/>
              <a:gdLst>
                <a:gd name="connsiteX0" fmla="*/ 255305 w 283267"/>
                <a:gd name="connsiteY0" fmla="*/ -1897 h 110718"/>
                <a:gd name="connsiteX1" fmla="*/ 255121 w 283267"/>
                <a:gd name="connsiteY1" fmla="*/ -1897 h 110718"/>
                <a:gd name="connsiteX2" fmla="*/ 248919 w 283267"/>
                <a:gd name="connsiteY2" fmla="*/ -1844 h 110718"/>
                <a:gd name="connsiteX3" fmla="*/ 102409 w 283267"/>
                <a:gd name="connsiteY3" fmla="*/ 108082 h 110718"/>
                <a:gd name="connsiteX4" fmla="*/ 255998 w 283267"/>
                <a:gd name="connsiteY4" fmla="*/ 106840 h 110718"/>
                <a:gd name="connsiteX5" fmla="*/ 278668 w 283267"/>
                <a:gd name="connsiteY5" fmla="*/ 83797 h 110718"/>
                <a:gd name="connsiteX6" fmla="*/ 278157 w 283267"/>
                <a:gd name="connsiteY6" fmla="*/ 20780 h 110718"/>
                <a:gd name="connsiteX7" fmla="*/ 255305 w 283267"/>
                <a:gd name="connsiteY7" fmla="*/ -1897 h 110718"/>
                <a:gd name="connsiteX8" fmla="*/ 226204 w 283267"/>
                <a:gd name="connsiteY8" fmla="*/ -1661 h 110718"/>
                <a:gd name="connsiteX9" fmla="*/ 60949 w 283267"/>
                <a:gd name="connsiteY9" fmla="*/ -335 h 110718"/>
                <a:gd name="connsiteX10" fmla="*/ 19724 w 283267"/>
                <a:gd name="connsiteY10" fmla="*/ 27440 h 110718"/>
                <a:gd name="connsiteX11" fmla="*/ 3647 w 283267"/>
                <a:gd name="connsiteY11" fmla="*/ 99982 h 110718"/>
                <a:gd name="connsiteX12" fmla="*/ 10687 w 283267"/>
                <a:gd name="connsiteY12" fmla="*/ 108822 h 110718"/>
                <a:gd name="connsiteX13" fmla="*/ 88365 w 283267"/>
                <a:gd name="connsiteY13" fmla="*/ 108197 h 110718"/>
                <a:gd name="connsiteX14" fmla="*/ 226204 w 283267"/>
                <a:gd name="connsiteY14" fmla="*/ -1661 h 110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3267" h="110718">
                  <a:moveTo>
                    <a:pt x="255305" y="-1897"/>
                  </a:moveTo>
                  <a:cubicBezTo>
                    <a:pt x="255243" y="-1897"/>
                    <a:pt x="255182" y="-1897"/>
                    <a:pt x="255121" y="-1897"/>
                  </a:cubicBezTo>
                  <a:lnTo>
                    <a:pt x="248919" y="-1844"/>
                  </a:lnTo>
                  <a:cubicBezTo>
                    <a:pt x="203100" y="42299"/>
                    <a:pt x="154401" y="78822"/>
                    <a:pt x="102409" y="108082"/>
                  </a:cubicBezTo>
                  <a:lnTo>
                    <a:pt x="255998" y="106840"/>
                  </a:lnTo>
                  <a:cubicBezTo>
                    <a:pt x="268563" y="106741"/>
                    <a:pt x="278767" y="96370"/>
                    <a:pt x="278668" y="83797"/>
                  </a:cubicBezTo>
                  <a:lnTo>
                    <a:pt x="278157" y="20780"/>
                  </a:lnTo>
                  <a:cubicBezTo>
                    <a:pt x="278058" y="8268"/>
                    <a:pt x="267786" y="-1897"/>
                    <a:pt x="255305" y="-1897"/>
                  </a:cubicBezTo>
                  <a:moveTo>
                    <a:pt x="226204" y="-1661"/>
                  </a:moveTo>
                  <a:lnTo>
                    <a:pt x="60949" y="-335"/>
                  </a:lnTo>
                  <a:cubicBezTo>
                    <a:pt x="47888" y="8992"/>
                    <a:pt x="34165" y="18250"/>
                    <a:pt x="19724" y="27440"/>
                  </a:cubicBezTo>
                  <a:cubicBezTo>
                    <a:pt x="-4735" y="43069"/>
                    <a:pt x="-11974" y="75522"/>
                    <a:pt x="3647" y="99982"/>
                  </a:cubicBezTo>
                  <a:cubicBezTo>
                    <a:pt x="5719" y="103236"/>
                    <a:pt x="8081" y="106185"/>
                    <a:pt x="10687" y="108822"/>
                  </a:cubicBezTo>
                  <a:lnTo>
                    <a:pt x="88365" y="108197"/>
                  </a:lnTo>
                  <a:cubicBezTo>
                    <a:pt x="142345" y="72809"/>
                    <a:pt x="187075" y="36508"/>
                    <a:pt x="226204" y="-1661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8416CB70-BC56-FAE5-F292-46D4DB6A9741}"/>
                </a:ext>
              </a:extLst>
            </p:cNvPr>
            <p:cNvSpPr/>
            <p:nvPr/>
          </p:nvSpPr>
          <p:spPr>
            <a:xfrm flipV="1">
              <a:off x="5613486" y="5436361"/>
              <a:ext cx="109917" cy="73076"/>
            </a:xfrm>
            <a:custGeom>
              <a:avLst/>
              <a:gdLst>
                <a:gd name="connsiteX0" fmla="*/ 136810 w 165012"/>
                <a:gd name="connsiteY0" fmla="*/ -1893 h 109705"/>
                <a:gd name="connsiteX1" fmla="*/ 136627 w 165012"/>
                <a:gd name="connsiteY1" fmla="*/ -1893 h 109705"/>
                <a:gd name="connsiteX2" fmla="*/ 86846 w 165012"/>
                <a:gd name="connsiteY2" fmla="*/ -1489 h 109705"/>
                <a:gd name="connsiteX3" fmla="*/ -3124 w 165012"/>
                <a:gd name="connsiteY3" fmla="*/ 92458 h 109705"/>
                <a:gd name="connsiteX4" fmla="*/ 18463 w 165012"/>
                <a:gd name="connsiteY4" fmla="*/ 107812 h 109705"/>
                <a:gd name="connsiteX5" fmla="*/ 18647 w 165012"/>
                <a:gd name="connsiteY5" fmla="*/ 107812 h 109705"/>
                <a:gd name="connsiteX6" fmla="*/ 131880 w 165012"/>
                <a:gd name="connsiteY6" fmla="*/ 106890 h 109705"/>
                <a:gd name="connsiteX7" fmla="*/ 160104 w 165012"/>
                <a:gd name="connsiteY7" fmla="*/ 74391 h 109705"/>
                <a:gd name="connsiteX8" fmla="*/ 159670 w 165012"/>
                <a:gd name="connsiteY8" fmla="*/ 20792 h 109705"/>
                <a:gd name="connsiteX9" fmla="*/ 136810 w 165012"/>
                <a:gd name="connsiteY9" fmla="*/ -1893 h 109705"/>
                <a:gd name="connsiteX10" fmla="*/ 63658 w 165012"/>
                <a:gd name="connsiteY10" fmla="*/ -1298 h 109705"/>
                <a:gd name="connsiteX11" fmla="*/ 17770 w 165012"/>
                <a:gd name="connsiteY11" fmla="*/ -933 h 109705"/>
                <a:gd name="connsiteX12" fmla="*/ -4907 w 165012"/>
                <a:gd name="connsiteY12" fmla="*/ 22118 h 109705"/>
                <a:gd name="connsiteX13" fmla="*/ -4503 w 165012"/>
                <a:gd name="connsiteY13" fmla="*/ 72471 h 109705"/>
                <a:gd name="connsiteX14" fmla="*/ 63658 w 165012"/>
                <a:gd name="connsiteY14" fmla="*/ -1298 h 10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5012" h="109705">
                  <a:moveTo>
                    <a:pt x="136810" y="-1893"/>
                  </a:moveTo>
                  <a:cubicBezTo>
                    <a:pt x="136749" y="-1893"/>
                    <a:pt x="136688" y="-1893"/>
                    <a:pt x="136627" y="-1893"/>
                  </a:cubicBezTo>
                  <a:lnTo>
                    <a:pt x="86846" y="-1489"/>
                  </a:lnTo>
                  <a:cubicBezTo>
                    <a:pt x="60427" y="31894"/>
                    <a:pt x="29901" y="64866"/>
                    <a:pt x="-3124" y="92458"/>
                  </a:cubicBezTo>
                  <a:cubicBezTo>
                    <a:pt x="0" y="101381"/>
                    <a:pt x="8527" y="107812"/>
                    <a:pt x="18463" y="107812"/>
                  </a:cubicBezTo>
                  <a:cubicBezTo>
                    <a:pt x="18524" y="107812"/>
                    <a:pt x="18586" y="107812"/>
                    <a:pt x="18647" y="107812"/>
                  </a:cubicBezTo>
                  <a:lnTo>
                    <a:pt x="131880" y="106890"/>
                  </a:lnTo>
                  <a:cubicBezTo>
                    <a:pt x="141633" y="96238"/>
                    <a:pt x="151051" y="85364"/>
                    <a:pt x="160104" y="74391"/>
                  </a:cubicBezTo>
                  <a:lnTo>
                    <a:pt x="159670" y="20792"/>
                  </a:lnTo>
                  <a:cubicBezTo>
                    <a:pt x="159571" y="8280"/>
                    <a:pt x="149299" y="-1893"/>
                    <a:pt x="136810" y="-1893"/>
                  </a:cubicBezTo>
                  <a:moveTo>
                    <a:pt x="63658" y="-1298"/>
                  </a:moveTo>
                  <a:lnTo>
                    <a:pt x="17770" y="-933"/>
                  </a:lnTo>
                  <a:cubicBezTo>
                    <a:pt x="5197" y="-826"/>
                    <a:pt x="-5013" y="9545"/>
                    <a:pt x="-4907" y="22118"/>
                  </a:cubicBezTo>
                  <a:lnTo>
                    <a:pt x="-4503" y="72471"/>
                  </a:lnTo>
                  <a:cubicBezTo>
                    <a:pt x="18929" y="49626"/>
                    <a:pt x="41636" y="25044"/>
                    <a:pt x="63658" y="-1298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AB6A4EAE-B87C-12F8-DED4-E16372391B65}"/>
                </a:ext>
              </a:extLst>
            </p:cNvPr>
            <p:cNvSpPr/>
            <p:nvPr/>
          </p:nvSpPr>
          <p:spPr>
            <a:xfrm flipV="1">
              <a:off x="5758908" y="5436543"/>
              <a:ext cx="80071" cy="72959"/>
            </a:xfrm>
            <a:custGeom>
              <a:avLst/>
              <a:gdLst>
                <a:gd name="connsiteX0" fmla="*/ 115075 w 120205"/>
                <a:gd name="connsiteY0" fmla="*/ -1892 h 109529"/>
                <a:gd name="connsiteX1" fmla="*/ 17402 w 120205"/>
                <a:gd name="connsiteY1" fmla="*/ -1108 h 109529"/>
                <a:gd name="connsiteX2" fmla="*/ 13942 w 120205"/>
                <a:gd name="connsiteY2" fmla="*/ -810 h 109529"/>
                <a:gd name="connsiteX3" fmla="*/ -5131 w 120205"/>
                <a:gd name="connsiteY3" fmla="*/ 38936 h 109529"/>
                <a:gd name="connsiteX4" fmla="*/ -4765 w 120205"/>
                <a:gd name="connsiteY4" fmla="*/ 84960 h 109529"/>
                <a:gd name="connsiteX5" fmla="*/ 18088 w 120205"/>
                <a:gd name="connsiteY5" fmla="*/ 107637 h 109529"/>
                <a:gd name="connsiteX6" fmla="*/ 18286 w 120205"/>
                <a:gd name="connsiteY6" fmla="*/ 107630 h 109529"/>
                <a:gd name="connsiteX7" fmla="*/ 63084 w 120205"/>
                <a:gd name="connsiteY7" fmla="*/ 107272 h 109529"/>
                <a:gd name="connsiteX8" fmla="*/ 115075 w 120205"/>
                <a:gd name="connsiteY8" fmla="*/ -1892 h 10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205" h="109529">
                  <a:moveTo>
                    <a:pt x="115075" y="-1892"/>
                  </a:moveTo>
                  <a:lnTo>
                    <a:pt x="17402" y="-1108"/>
                  </a:lnTo>
                  <a:cubicBezTo>
                    <a:pt x="16228" y="-1092"/>
                    <a:pt x="15070" y="-993"/>
                    <a:pt x="13942" y="-810"/>
                  </a:cubicBezTo>
                  <a:cubicBezTo>
                    <a:pt x="7999" y="13043"/>
                    <a:pt x="1750" y="26309"/>
                    <a:pt x="-5131" y="38936"/>
                  </a:cubicBezTo>
                  <a:lnTo>
                    <a:pt x="-4765" y="84960"/>
                  </a:lnTo>
                  <a:cubicBezTo>
                    <a:pt x="-4658" y="97465"/>
                    <a:pt x="5598" y="107637"/>
                    <a:pt x="18088" y="107637"/>
                  </a:cubicBezTo>
                  <a:cubicBezTo>
                    <a:pt x="18156" y="107637"/>
                    <a:pt x="18217" y="107630"/>
                    <a:pt x="18286" y="107630"/>
                  </a:cubicBezTo>
                  <a:lnTo>
                    <a:pt x="63084" y="107272"/>
                  </a:lnTo>
                  <a:cubicBezTo>
                    <a:pt x="84785" y="72966"/>
                    <a:pt x="100521" y="36307"/>
                    <a:pt x="115075" y="-1892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ADB9B8D4-3CE9-0440-016E-1FEA88F301A6}"/>
                </a:ext>
              </a:extLst>
            </p:cNvPr>
            <p:cNvSpPr/>
            <p:nvPr/>
          </p:nvSpPr>
          <p:spPr>
            <a:xfrm flipV="1">
              <a:off x="5560171" y="5399815"/>
              <a:ext cx="756935" cy="724947"/>
            </a:xfrm>
            <a:custGeom>
              <a:avLst/>
              <a:gdLst>
                <a:gd name="connsiteX0" fmla="*/ 51217 w 1136340"/>
                <a:gd name="connsiteY0" fmla="*/ 534561 h 1088318"/>
                <a:gd name="connsiteX1" fmla="*/ 273881 w 1136340"/>
                <a:gd name="connsiteY1" fmla="*/ 435303 h 1088318"/>
                <a:gd name="connsiteX2" fmla="*/ 385438 w 1136340"/>
                <a:gd name="connsiteY2" fmla="*/ 427401 h 1088318"/>
                <a:gd name="connsiteX3" fmla="*/ 497543 w 1136340"/>
                <a:gd name="connsiteY3" fmla="*/ 296543 h 1088318"/>
                <a:gd name="connsiteX4" fmla="*/ 564759 w 1136340"/>
                <a:gd name="connsiteY4" fmla="*/ 191730 h 1088318"/>
                <a:gd name="connsiteX5" fmla="*/ 905229 w 1136340"/>
                <a:gd name="connsiteY5" fmla="*/ -1247 h 1088318"/>
                <a:gd name="connsiteX6" fmla="*/ 1130971 w 1136340"/>
                <a:gd name="connsiteY6" fmla="*/ 84997 h 1088318"/>
                <a:gd name="connsiteX7" fmla="*/ 891863 w 1136340"/>
                <a:gd name="connsiteY7" fmla="*/ 412527 h 1088318"/>
                <a:gd name="connsiteX8" fmla="*/ 824342 w 1136340"/>
                <a:gd name="connsiteY8" fmla="*/ 453332 h 1088318"/>
                <a:gd name="connsiteX9" fmla="*/ 690840 w 1136340"/>
                <a:gd name="connsiteY9" fmla="*/ 615981 h 1088318"/>
                <a:gd name="connsiteX10" fmla="*/ 671508 w 1136340"/>
                <a:gd name="connsiteY10" fmla="*/ 759961 h 1088318"/>
                <a:gd name="connsiteX11" fmla="*/ 451877 w 1136340"/>
                <a:gd name="connsiteY11" fmla="*/ 1078698 h 1088318"/>
                <a:gd name="connsiteX12" fmla="*/ 447716 w 1136340"/>
                <a:gd name="connsiteY12" fmla="*/ 1080512 h 1088318"/>
                <a:gd name="connsiteX13" fmla="*/ 436058 w 1136340"/>
                <a:gd name="connsiteY13" fmla="*/ 1085076 h 1088318"/>
                <a:gd name="connsiteX14" fmla="*/ 407231 w 1136340"/>
                <a:gd name="connsiteY14" fmla="*/ 1085221 h 1088318"/>
                <a:gd name="connsiteX15" fmla="*/ 385065 w 1136340"/>
                <a:gd name="connsiteY15" fmla="*/ 1073448 h 1088318"/>
                <a:gd name="connsiteX16" fmla="*/ 380774 w 1136340"/>
                <a:gd name="connsiteY16" fmla="*/ 1041543 h 1088318"/>
                <a:gd name="connsiteX17" fmla="*/ 353960 w 1136340"/>
                <a:gd name="connsiteY17" fmla="*/ 1049201 h 1088318"/>
                <a:gd name="connsiteX18" fmla="*/ 336891 w 1136340"/>
                <a:gd name="connsiteY18" fmla="*/ 1039325 h 1088318"/>
                <a:gd name="connsiteX19" fmla="*/ 267236 w 1136340"/>
                <a:gd name="connsiteY19" fmla="*/ 1034837 h 1088318"/>
                <a:gd name="connsiteX20" fmla="*/ 246304 w 1136340"/>
                <a:gd name="connsiteY20" fmla="*/ 986786 h 1088318"/>
                <a:gd name="connsiteX21" fmla="*/ 234463 w 1136340"/>
                <a:gd name="connsiteY21" fmla="*/ 980042 h 1088318"/>
                <a:gd name="connsiteX22" fmla="*/ 207343 w 1136340"/>
                <a:gd name="connsiteY22" fmla="*/ 976361 h 1088318"/>
                <a:gd name="connsiteX23" fmla="*/ 130976 w 1136340"/>
                <a:gd name="connsiteY23" fmla="*/ 978076 h 1088318"/>
                <a:gd name="connsiteX24" fmla="*/ 114295 w 1136340"/>
                <a:gd name="connsiteY24" fmla="*/ 927807 h 1088318"/>
                <a:gd name="connsiteX25" fmla="*/ 78801 w 1136340"/>
                <a:gd name="connsiteY25" fmla="*/ 905975 h 1088318"/>
                <a:gd name="connsiteX26" fmla="*/ -5369 w 1136340"/>
                <a:gd name="connsiteY26" fmla="*/ 891078 h 1088318"/>
                <a:gd name="connsiteX27" fmla="*/ 47674 w 1136340"/>
                <a:gd name="connsiteY27" fmla="*/ 834751 h 1088318"/>
                <a:gd name="connsiteX28" fmla="*/ 40298 w 1136340"/>
                <a:gd name="connsiteY28" fmla="*/ 766865 h 1088318"/>
                <a:gd name="connsiteX29" fmla="*/ 106127 w 1136340"/>
                <a:gd name="connsiteY29" fmla="*/ 662501 h 1088318"/>
                <a:gd name="connsiteX30" fmla="*/ 51217 w 1136340"/>
                <a:gd name="connsiteY30" fmla="*/ 534561 h 108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36340" h="1088318">
                  <a:moveTo>
                    <a:pt x="51217" y="534561"/>
                  </a:moveTo>
                  <a:lnTo>
                    <a:pt x="273881" y="435303"/>
                  </a:lnTo>
                  <a:cubicBezTo>
                    <a:pt x="312575" y="420871"/>
                    <a:pt x="365961" y="417107"/>
                    <a:pt x="385438" y="427401"/>
                  </a:cubicBezTo>
                  <a:lnTo>
                    <a:pt x="497543" y="296543"/>
                  </a:lnTo>
                  <a:lnTo>
                    <a:pt x="564759" y="191730"/>
                  </a:lnTo>
                  <a:lnTo>
                    <a:pt x="905229" y="-1247"/>
                  </a:lnTo>
                  <a:lnTo>
                    <a:pt x="1130971" y="84997"/>
                  </a:lnTo>
                  <a:cubicBezTo>
                    <a:pt x="1031088" y="181184"/>
                    <a:pt x="984240" y="312858"/>
                    <a:pt x="891863" y="412527"/>
                  </a:cubicBezTo>
                  <a:cubicBezTo>
                    <a:pt x="876501" y="428834"/>
                    <a:pt x="839277" y="436919"/>
                    <a:pt x="824342" y="453332"/>
                  </a:cubicBezTo>
                  <a:cubicBezTo>
                    <a:pt x="775780" y="506642"/>
                    <a:pt x="737208" y="561689"/>
                    <a:pt x="690840" y="615981"/>
                  </a:cubicBezTo>
                  <a:cubicBezTo>
                    <a:pt x="703436" y="662036"/>
                    <a:pt x="703497" y="699184"/>
                    <a:pt x="671508" y="759961"/>
                  </a:cubicBezTo>
                  <a:lnTo>
                    <a:pt x="451877" y="1078698"/>
                  </a:lnTo>
                  <a:cubicBezTo>
                    <a:pt x="446520" y="1081632"/>
                    <a:pt x="451877" y="1078698"/>
                    <a:pt x="447716" y="1080512"/>
                  </a:cubicBezTo>
                  <a:cubicBezTo>
                    <a:pt x="443632" y="1082790"/>
                    <a:pt x="439746" y="1084329"/>
                    <a:pt x="436058" y="1085076"/>
                  </a:cubicBezTo>
                  <a:cubicBezTo>
                    <a:pt x="426258" y="1087690"/>
                    <a:pt x="416672" y="1087735"/>
                    <a:pt x="407231" y="1085221"/>
                  </a:cubicBezTo>
                  <a:cubicBezTo>
                    <a:pt x="401166" y="1083026"/>
                    <a:pt x="393828" y="1079079"/>
                    <a:pt x="385065" y="1073448"/>
                  </a:cubicBezTo>
                  <a:cubicBezTo>
                    <a:pt x="376942" y="1066727"/>
                    <a:pt x="384013" y="1049597"/>
                    <a:pt x="380774" y="1041543"/>
                  </a:cubicBezTo>
                  <a:cubicBezTo>
                    <a:pt x="377986" y="1036605"/>
                    <a:pt x="353960" y="1049201"/>
                    <a:pt x="353960" y="1049201"/>
                  </a:cubicBezTo>
                  <a:cubicBezTo>
                    <a:pt x="353960" y="1049201"/>
                    <a:pt x="354310" y="1027507"/>
                    <a:pt x="336891" y="1039325"/>
                  </a:cubicBezTo>
                  <a:cubicBezTo>
                    <a:pt x="308331" y="1055427"/>
                    <a:pt x="295202" y="1056417"/>
                    <a:pt x="267236" y="1034837"/>
                  </a:cubicBezTo>
                  <a:cubicBezTo>
                    <a:pt x="250335" y="1021899"/>
                    <a:pt x="248537" y="1003740"/>
                    <a:pt x="246304" y="986786"/>
                  </a:cubicBezTo>
                  <a:cubicBezTo>
                    <a:pt x="245786" y="983738"/>
                    <a:pt x="234242" y="982610"/>
                    <a:pt x="234463" y="980042"/>
                  </a:cubicBezTo>
                  <a:cubicBezTo>
                    <a:pt x="240345" y="975927"/>
                    <a:pt x="227094" y="958005"/>
                    <a:pt x="207343" y="976361"/>
                  </a:cubicBezTo>
                  <a:cubicBezTo>
                    <a:pt x="174631" y="994809"/>
                    <a:pt x="163124" y="1001827"/>
                    <a:pt x="130976" y="978076"/>
                  </a:cubicBezTo>
                  <a:cubicBezTo>
                    <a:pt x="114798" y="965617"/>
                    <a:pt x="118113" y="943100"/>
                    <a:pt x="114295" y="927807"/>
                  </a:cubicBezTo>
                  <a:cubicBezTo>
                    <a:pt x="108596" y="909557"/>
                    <a:pt x="96571" y="897990"/>
                    <a:pt x="78801" y="905975"/>
                  </a:cubicBezTo>
                  <a:lnTo>
                    <a:pt x="-5369" y="891078"/>
                  </a:lnTo>
                  <a:lnTo>
                    <a:pt x="47674" y="834751"/>
                  </a:lnTo>
                  <a:lnTo>
                    <a:pt x="40298" y="766865"/>
                  </a:lnTo>
                  <a:lnTo>
                    <a:pt x="106127" y="662501"/>
                  </a:lnTo>
                  <a:lnTo>
                    <a:pt x="51217" y="534561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762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6CAA9DD2-7312-4420-810A-E554CF1D6057}"/>
                </a:ext>
              </a:extLst>
            </p:cNvPr>
            <p:cNvSpPr/>
            <p:nvPr/>
          </p:nvSpPr>
          <p:spPr>
            <a:xfrm flipV="1">
              <a:off x="5389669" y="5386008"/>
              <a:ext cx="253216" cy="227234"/>
            </a:xfrm>
            <a:custGeom>
              <a:avLst/>
              <a:gdLst>
                <a:gd name="connsiteX0" fmla="*/ -4648 w 380138"/>
                <a:gd name="connsiteY0" fmla="*/ 339299 h 341132"/>
                <a:gd name="connsiteX1" fmla="*/ 375491 w 380138"/>
                <a:gd name="connsiteY1" fmla="*/ -1833 h 34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0138" h="341132">
                  <a:moveTo>
                    <a:pt x="-4648" y="339299"/>
                  </a:moveTo>
                  <a:cubicBezTo>
                    <a:pt x="179207" y="245360"/>
                    <a:pt x="264665" y="145660"/>
                    <a:pt x="375491" y="-1833"/>
                  </a:cubicBezTo>
                </a:path>
              </a:pathLst>
            </a:custGeom>
            <a:solidFill>
              <a:srgbClr val="4DA5C3">
                <a:lumMod val="20000"/>
                <a:lumOff val="80000"/>
              </a:srgbClr>
            </a:solidFill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A8DA8E65-8340-68E8-21D6-46B249F4F100}"/>
                </a:ext>
              </a:extLst>
            </p:cNvPr>
            <p:cNvSpPr/>
            <p:nvPr/>
          </p:nvSpPr>
          <p:spPr>
            <a:xfrm flipV="1">
              <a:off x="5556556" y="5294634"/>
              <a:ext cx="241768" cy="254486"/>
            </a:xfrm>
            <a:custGeom>
              <a:avLst/>
              <a:gdLst>
                <a:gd name="connsiteX0" fmla="*/ -4923 w 362951"/>
                <a:gd name="connsiteY0" fmla="*/ 380037 h 382044"/>
                <a:gd name="connsiteX1" fmla="*/ 353758 w 362951"/>
                <a:gd name="connsiteY1" fmla="*/ -2007 h 382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2951" h="382044">
                  <a:moveTo>
                    <a:pt x="-4923" y="380037"/>
                  </a:moveTo>
                  <a:cubicBezTo>
                    <a:pt x="206097" y="312562"/>
                    <a:pt x="388497" y="39401"/>
                    <a:pt x="353758" y="-2007"/>
                  </a:cubicBezTo>
                </a:path>
              </a:pathLst>
            </a:custGeom>
            <a:noFill/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2FB20BC2-C80E-471E-FD42-3FF5F7AA9685}"/>
                </a:ext>
              </a:extLst>
            </p:cNvPr>
            <p:cNvSpPr/>
            <p:nvPr/>
          </p:nvSpPr>
          <p:spPr>
            <a:xfrm flipV="1">
              <a:off x="5694354" y="5290918"/>
              <a:ext cx="186804" cy="231873"/>
            </a:xfrm>
            <a:custGeom>
              <a:avLst/>
              <a:gdLst>
                <a:gd name="connsiteX0" fmla="*/ -5112 w 280438"/>
                <a:gd name="connsiteY0" fmla="*/ 346057 h 348096"/>
                <a:gd name="connsiteX1" fmla="*/ 138137 w 280438"/>
                <a:gd name="connsiteY1" fmla="*/ 255889 h 348096"/>
                <a:gd name="connsiteX2" fmla="*/ 275327 w 280438"/>
                <a:gd name="connsiteY2" fmla="*/ -2040 h 348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0438" h="348096">
                  <a:moveTo>
                    <a:pt x="-5112" y="346057"/>
                  </a:moveTo>
                  <a:cubicBezTo>
                    <a:pt x="44548" y="325574"/>
                    <a:pt x="99214" y="295521"/>
                    <a:pt x="138137" y="255889"/>
                  </a:cubicBezTo>
                  <a:cubicBezTo>
                    <a:pt x="206282" y="186494"/>
                    <a:pt x="225096" y="96974"/>
                    <a:pt x="275327" y="-2040"/>
                  </a:cubicBezTo>
                </a:path>
              </a:pathLst>
            </a:custGeom>
            <a:noFill/>
            <a:ln w="101401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658913F7-09D2-220C-98C2-BE12A3FFC94E}"/>
                </a:ext>
              </a:extLst>
            </p:cNvPr>
            <p:cNvSpPr/>
            <p:nvPr/>
          </p:nvSpPr>
          <p:spPr>
            <a:xfrm flipV="1">
              <a:off x="5442239" y="5320399"/>
              <a:ext cx="281986" cy="245852"/>
            </a:xfrm>
            <a:custGeom>
              <a:avLst/>
              <a:gdLst>
                <a:gd name="connsiteX0" fmla="*/ -4762 w 423328"/>
                <a:gd name="connsiteY0" fmla="*/ 367124 h 369082"/>
                <a:gd name="connsiteX1" fmla="*/ 418567 w 423328"/>
                <a:gd name="connsiteY1" fmla="*/ -1959 h 369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3328" h="369082">
                  <a:moveTo>
                    <a:pt x="-4762" y="367124"/>
                  </a:moveTo>
                  <a:cubicBezTo>
                    <a:pt x="176190" y="293812"/>
                    <a:pt x="306637" y="163898"/>
                    <a:pt x="418567" y="-1959"/>
                  </a:cubicBezTo>
                </a:path>
              </a:pathLst>
            </a:custGeom>
            <a:noFill/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44BE33B6-D87B-3C3E-B249-2F291AB561DD}"/>
                </a:ext>
              </a:extLst>
            </p:cNvPr>
            <p:cNvSpPr/>
            <p:nvPr/>
          </p:nvSpPr>
          <p:spPr>
            <a:xfrm flipV="1">
              <a:off x="5437630" y="5603624"/>
              <a:ext cx="231563" cy="144239"/>
            </a:xfrm>
            <a:custGeom>
              <a:avLst/>
              <a:gdLst>
                <a:gd name="connsiteX0" fmla="*/ 342921 w 347631"/>
                <a:gd name="connsiteY0" fmla="*/ -1440 h 216537"/>
                <a:gd name="connsiteX1" fmla="*/ 105954 w 347631"/>
                <a:gd name="connsiteY1" fmla="*/ 83302 h 216537"/>
                <a:gd name="connsiteX2" fmla="*/ -4711 w 347631"/>
                <a:gd name="connsiteY2" fmla="*/ 215098 h 21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7631" h="216537">
                  <a:moveTo>
                    <a:pt x="342921" y="-1440"/>
                  </a:moveTo>
                  <a:lnTo>
                    <a:pt x="105954" y="83302"/>
                  </a:lnTo>
                  <a:lnTo>
                    <a:pt x="-4711" y="215098"/>
                  </a:lnTo>
                </a:path>
              </a:pathLst>
            </a:custGeom>
            <a:noFill/>
            <a:ln w="140559" cap="rnd">
              <a:solidFill>
                <a:srgbClr val="BFBFB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57B2E2A8-D01E-8553-68E9-D347CB8321F0}"/>
                </a:ext>
              </a:extLst>
            </p:cNvPr>
            <p:cNvSpPr/>
            <p:nvPr/>
          </p:nvSpPr>
          <p:spPr>
            <a:xfrm flipV="1">
              <a:off x="5874632" y="5768253"/>
              <a:ext cx="247383" cy="203041"/>
            </a:xfrm>
            <a:custGeom>
              <a:avLst/>
              <a:gdLst>
                <a:gd name="connsiteX0" fmla="*/ 77861 w 371383"/>
                <a:gd name="connsiteY0" fmla="*/ -1007 h 304815"/>
                <a:gd name="connsiteX1" fmla="*/ 365912 w 371383"/>
                <a:gd name="connsiteY1" fmla="*/ 199582 h 304815"/>
                <a:gd name="connsiteX2" fmla="*/ 283982 w 371383"/>
                <a:gd name="connsiteY2" fmla="*/ 303809 h 304815"/>
                <a:gd name="connsiteX3" fmla="*/ -5471 w 371383"/>
                <a:gd name="connsiteY3" fmla="*/ 103029 h 304815"/>
                <a:gd name="connsiteX4" fmla="*/ 77861 w 371383"/>
                <a:gd name="connsiteY4" fmla="*/ -1007 h 30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383" h="304815">
                  <a:moveTo>
                    <a:pt x="77861" y="-1007"/>
                  </a:moveTo>
                  <a:lnTo>
                    <a:pt x="365912" y="199582"/>
                  </a:lnTo>
                  <a:lnTo>
                    <a:pt x="283982" y="303809"/>
                  </a:lnTo>
                  <a:lnTo>
                    <a:pt x="-5471" y="103029"/>
                  </a:lnTo>
                  <a:lnTo>
                    <a:pt x="77861" y="-1007"/>
                  </a:ln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D68471E6-A370-7676-C509-D980F32661D1}"/>
                </a:ext>
              </a:extLst>
            </p:cNvPr>
            <p:cNvSpPr/>
            <p:nvPr/>
          </p:nvSpPr>
          <p:spPr>
            <a:xfrm flipV="1">
              <a:off x="5820184" y="5769044"/>
              <a:ext cx="727556" cy="823783"/>
            </a:xfrm>
            <a:custGeom>
              <a:avLst/>
              <a:gdLst>
                <a:gd name="connsiteX0" fmla="*/ 1086447 w 1092235"/>
                <a:gd name="connsiteY0" fmla="*/ 314921 h 1236695"/>
                <a:gd name="connsiteX1" fmla="*/ 705188 w 1092235"/>
                <a:gd name="connsiteY1" fmla="*/ 52457 h 1236695"/>
                <a:gd name="connsiteX2" fmla="*/ 628600 w 1092235"/>
                <a:gd name="connsiteY2" fmla="*/ -312 h 1236695"/>
                <a:gd name="connsiteX3" fmla="*/ -5788 w 1092235"/>
                <a:gd name="connsiteY3" fmla="*/ 921182 h 1236695"/>
                <a:gd name="connsiteX4" fmla="*/ 70724 w 1092235"/>
                <a:gd name="connsiteY4" fmla="*/ 973920 h 1236695"/>
                <a:gd name="connsiteX5" fmla="*/ 451983 w 1092235"/>
                <a:gd name="connsiteY5" fmla="*/ 1236384 h 1236695"/>
                <a:gd name="connsiteX6" fmla="*/ 1086447 w 1092235"/>
                <a:gd name="connsiteY6" fmla="*/ 314921 h 123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2235" h="1236695">
                  <a:moveTo>
                    <a:pt x="1086447" y="314921"/>
                  </a:moveTo>
                  <a:lnTo>
                    <a:pt x="705188" y="52457"/>
                  </a:lnTo>
                  <a:lnTo>
                    <a:pt x="628600" y="-312"/>
                  </a:lnTo>
                  <a:lnTo>
                    <a:pt x="-5788" y="921182"/>
                  </a:lnTo>
                  <a:lnTo>
                    <a:pt x="70724" y="973920"/>
                  </a:lnTo>
                  <a:lnTo>
                    <a:pt x="451983" y="1236384"/>
                  </a:lnTo>
                  <a:lnTo>
                    <a:pt x="1086447" y="314921"/>
                  </a:lnTo>
                </a:path>
              </a:pathLst>
            </a:custGeom>
            <a:solidFill>
              <a:srgbClr val="CAD3E3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0A95CE48-D778-CD5F-C238-EE2C088A2A97}"/>
                </a:ext>
              </a:extLst>
            </p:cNvPr>
            <p:cNvSpPr/>
            <p:nvPr/>
          </p:nvSpPr>
          <p:spPr>
            <a:xfrm flipV="1">
              <a:off x="5871150" y="5760756"/>
              <a:ext cx="676589" cy="796922"/>
            </a:xfrm>
            <a:custGeom>
              <a:avLst/>
              <a:gdLst>
                <a:gd name="connsiteX0" fmla="*/ 1009891 w 1015722"/>
                <a:gd name="connsiteY0" fmla="*/ 262104 h 1196370"/>
                <a:gd name="connsiteX1" fmla="*/ 628632 w 1015722"/>
                <a:gd name="connsiteY1" fmla="*/ -360 h 1196370"/>
                <a:gd name="connsiteX2" fmla="*/ -5832 w 1015722"/>
                <a:gd name="connsiteY2" fmla="*/ 921103 h 1196370"/>
                <a:gd name="connsiteX3" fmla="*/ 393502 w 1015722"/>
                <a:gd name="connsiteY3" fmla="*/ 1196010 h 1196370"/>
                <a:gd name="connsiteX4" fmla="*/ 1009891 w 1015722"/>
                <a:gd name="connsiteY4" fmla="*/ 262104 h 1196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722" h="1196370">
                  <a:moveTo>
                    <a:pt x="1009891" y="262104"/>
                  </a:moveTo>
                  <a:lnTo>
                    <a:pt x="628632" y="-360"/>
                  </a:lnTo>
                  <a:lnTo>
                    <a:pt x="-5832" y="921103"/>
                  </a:lnTo>
                  <a:lnTo>
                    <a:pt x="393502" y="1196010"/>
                  </a:lnTo>
                  <a:lnTo>
                    <a:pt x="1009891" y="262104"/>
                  </a:ln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4BC66138-C884-80A6-B929-AB2EF820FED2}"/>
                </a:ext>
              </a:extLst>
            </p:cNvPr>
            <p:cNvSpPr/>
            <p:nvPr/>
          </p:nvSpPr>
          <p:spPr>
            <a:xfrm flipV="1">
              <a:off x="5884246" y="5871631"/>
              <a:ext cx="992366" cy="986382"/>
            </a:xfrm>
            <a:custGeom>
              <a:avLst/>
              <a:gdLst>
                <a:gd name="connsiteX0" fmla="*/ 1483655 w 1489778"/>
                <a:gd name="connsiteY0" fmla="*/ 59612 h 1480794"/>
                <a:gd name="connsiteX1" fmla="*/ 1481986 w 1489778"/>
                <a:gd name="connsiteY1" fmla="*/ 54879 h 1480794"/>
                <a:gd name="connsiteX2" fmla="*/ 1462632 w 1489778"/>
                <a:gd name="connsiteY2" fmla="*/ 99 h 1480794"/>
                <a:gd name="connsiteX3" fmla="*/ 789786 w 1489778"/>
                <a:gd name="connsiteY3" fmla="*/ 99 h 1480794"/>
                <a:gd name="connsiteX4" fmla="*/ -6124 w 1489778"/>
                <a:gd name="connsiteY4" fmla="*/ 1143708 h 1480794"/>
                <a:gd name="connsiteX5" fmla="*/ 122266 w 1489778"/>
                <a:gd name="connsiteY5" fmla="*/ 1232016 h 1480794"/>
                <a:gd name="connsiteX6" fmla="*/ 360475 w 1489778"/>
                <a:gd name="connsiteY6" fmla="*/ 1396082 h 1480794"/>
                <a:gd name="connsiteX7" fmla="*/ 483606 w 1489778"/>
                <a:gd name="connsiteY7" fmla="*/ 1480893 h 1480794"/>
                <a:gd name="connsiteX8" fmla="*/ 1483655 w 1489778"/>
                <a:gd name="connsiteY8" fmla="*/ 59612 h 148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9778" h="1480794">
                  <a:moveTo>
                    <a:pt x="1483655" y="59612"/>
                  </a:moveTo>
                  <a:lnTo>
                    <a:pt x="1481986" y="54879"/>
                  </a:lnTo>
                  <a:lnTo>
                    <a:pt x="1462632" y="99"/>
                  </a:lnTo>
                  <a:lnTo>
                    <a:pt x="789786" y="99"/>
                  </a:lnTo>
                  <a:lnTo>
                    <a:pt x="-6124" y="1143708"/>
                  </a:lnTo>
                  <a:lnTo>
                    <a:pt x="122266" y="1232016"/>
                  </a:lnTo>
                  <a:lnTo>
                    <a:pt x="360475" y="1396082"/>
                  </a:lnTo>
                  <a:lnTo>
                    <a:pt x="483606" y="1480893"/>
                  </a:lnTo>
                  <a:lnTo>
                    <a:pt x="1483655" y="59612"/>
                  </a:lnTo>
                </a:path>
              </a:pathLst>
            </a:custGeom>
            <a:solidFill>
              <a:srgbClr val="0E5578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BC22EFDA-1192-3270-77F9-BAA1EE460732}"/>
                </a:ext>
              </a:extLst>
            </p:cNvPr>
            <p:cNvSpPr/>
            <p:nvPr/>
          </p:nvSpPr>
          <p:spPr>
            <a:xfrm flipV="1">
              <a:off x="5969768" y="5871631"/>
              <a:ext cx="931314" cy="986382"/>
            </a:xfrm>
            <a:custGeom>
              <a:avLst/>
              <a:gdLst>
                <a:gd name="connsiteX0" fmla="*/ 1391908 w 1398125"/>
                <a:gd name="connsiteY0" fmla="*/ 99 h 1480794"/>
                <a:gd name="connsiteX1" fmla="*/ 854927 w 1398125"/>
                <a:gd name="connsiteY1" fmla="*/ 99 h 1480794"/>
                <a:gd name="connsiteX2" fmla="*/ -6217 w 1398125"/>
                <a:gd name="connsiteY2" fmla="*/ 1232016 h 1480794"/>
                <a:gd name="connsiteX3" fmla="*/ 231992 w 1398125"/>
                <a:gd name="connsiteY3" fmla="*/ 1396082 h 1480794"/>
                <a:gd name="connsiteX4" fmla="*/ 355123 w 1398125"/>
                <a:gd name="connsiteY4" fmla="*/ 1480893 h 1480794"/>
                <a:gd name="connsiteX5" fmla="*/ 1353503 w 1398125"/>
                <a:gd name="connsiteY5" fmla="*/ 54879 h 1480794"/>
                <a:gd name="connsiteX6" fmla="*/ 1391908 w 1398125"/>
                <a:gd name="connsiteY6" fmla="*/ 99 h 148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8125" h="1480794">
                  <a:moveTo>
                    <a:pt x="1391908" y="99"/>
                  </a:moveTo>
                  <a:lnTo>
                    <a:pt x="854927" y="99"/>
                  </a:lnTo>
                  <a:lnTo>
                    <a:pt x="-6217" y="1232016"/>
                  </a:lnTo>
                  <a:lnTo>
                    <a:pt x="231992" y="1396082"/>
                  </a:lnTo>
                  <a:lnTo>
                    <a:pt x="355123" y="1480893"/>
                  </a:lnTo>
                  <a:lnTo>
                    <a:pt x="1353503" y="54879"/>
                  </a:lnTo>
                  <a:lnTo>
                    <a:pt x="1391908" y="99"/>
                  </a:lnTo>
                </a:path>
              </a:pathLst>
            </a:custGeom>
            <a:solidFill>
              <a:srgbClr val="74B6D6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7089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5FFD05-DA13-4586-8689-F7C5A1E64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5FFD05-DA13-4586-8689-F7C5A1E64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3">
            <a:extLst>
              <a:ext uri="{FF2B5EF4-FFF2-40B4-BE49-F238E27FC236}">
                <a16:creationId xmlns:a16="http://schemas.microsoft.com/office/drawing/2014/main" id="{27C0868B-A5FC-4E71-9B18-BB6D27B302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440" y="336182"/>
            <a:ext cx="11705119" cy="1318998"/>
          </a:xfrm>
        </p:spPr>
        <p:txBody>
          <a:bodyPr vert="horz" tIns="0" bIns="0" anchor="t"/>
          <a:lstStyle/>
          <a:p>
            <a:pPr algn="l"/>
            <a:r>
              <a:rPr lang="en-GB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gend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CE9BFC-8864-4B3F-B888-5F528EA261BC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fld id="{00000000-1234-1234-1234-123412341234}" type="slidenum">
              <a:rPr kumimoji="0" lang="en-GB" sz="17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1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Ubuntu Ligh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  <a:tabLst/>
                <a:defRPr/>
              </a:pPr>
              <a:t>2</a:t>
            </a:fld>
            <a:endParaRPr kumimoji="0" lang="en-GB" sz="17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10000"/>
                </a:prst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Ubuntu Ligh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5BF686-6D1C-A61A-7DBA-41D00E337B87}"/>
              </a:ext>
            </a:extLst>
          </p:cNvPr>
          <p:cNvSpPr/>
          <p:nvPr/>
        </p:nvSpPr>
        <p:spPr>
          <a:xfrm>
            <a:off x="685801" y="1655182"/>
            <a:ext cx="11262758" cy="653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gression Project Introduction (Time Series Forecasting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30A6F9-E2BD-1CBA-E5B1-333737180653}"/>
              </a:ext>
            </a:extLst>
          </p:cNvPr>
          <p:cNvSpPr/>
          <p:nvPr/>
        </p:nvSpPr>
        <p:spPr>
          <a:xfrm>
            <a:off x="685801" y="2380719"/>
            <a:ext cx="11262758" cy="653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dirty="0">
                <a:solidFill>
                  <a:prstClr val="white">
                    <a:lumMod val="10000"/>
                  </a:prst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ject Rubric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10000"/>
                </a:prstClr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86B726B-F3BB-8784-BDEF-585FAB441439}"/>
              </a:ext>
            </a:extLst>
          </p:cNvPr>
          <p:cNvSpPr/>
          <p:nvPr/>
        </p:nvSpPr>
        <p:spPr>
          <a:xfrm>
            <a:off x="243444" y="1655182"/>
            <a:ext cx="342896" cy="653537"/>
          </a:xfrm>
          <a:prstGeom prst="rect">
            <a:avLst/>
          </a:prstGeom>
          <a:solidFill>
            <a:srgbClr val="1452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61943EC-3CD7-9197-6C8F-7BA1A20E3E03}"/>
              </a:ext>
            </a:extLst>
          </p:cNvPr>
          <p:cNvSpPr/>
          <p:nvPr/>
        </p:nvSpPr>
        <p:spPr>
          <a:xfrm>
            <a:off x="243444" y="2380719"/>
            <a:ext cx="342896" cy="653537"/>
          </a:xfrm>
          <a:prstGeom prst="rect">
            <a:avLst/>
          </a:prstGeom>
          <a:solidFill>
            <a:srgbClr val="1452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2</a:t>
            </a:r>
          </a:p>
        </p:txBody>
      </p:sp>
      <p:grpSp>
        <p:nvGrpSpPr>
          <p:cNvPr id="49" name="Graphic 369">
            <a:extLst>
              <a:ext uri="{FF2B5EF4-FFF2-40B4-BE49-F238E27FC236}">
                <a16:creationId xmlns:a16="http://schemas.microsoft.com/office/drawing/2014/main" id="{F5DF1EDF-5E77-2D16-4F5B-4115A8BB9274}"/>
              </a:ext>
            </a:extLst>
          </p:cNvPr>
          <p:cNvGrpSpPr/>
          <p:nvPr/>
        </p:nvGrpSpPr>
        <p:grpSpPr>
          <a:xfrm>
            <a:off x="11390625" y="1848180"/>
            <a:ext cx="283262" cy="283262"/>
            <a:chOff x="7141200" y="4474200"/>
            <a:chExt cx="609600" cy="609600"/>
          </a:xfrm>
          <a:solidFill>
            <a:schemeClr val="bg1">
              <a:lumMod val="75000"/>
            </a:schemeClr>
          </a:solidFill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7ECB642-9B18-6C5E-D30A-03A49B40511E}"/>
                </a:ext>
              </a:extLst>
            </p:cNvPr>
            <p:cNvSpPr/>
            <p:nvPr/>
          </p:nvSpPr>
          <p:spPr>
            <a:xfrm>
              <a:off x="7353569" y="4475000"/>
              <a:ext cx="180975" cy="114300"/>
            </a:xfrm>
            <a:custGeom>
              <a:avLst/>
              <a:gdLst>
                <a:gd name="connsiteX0" fmla="*/ 160449 w 180975"/>
                <a:gd name="connsiteY0" fmla="*/ 26299 h 114300"/>
                <a:gd name="connsiteX1" fmla="*/ 126387 w 180975"/>
                <a:gd name="connsiteY1" fmla="*/ 26299 h 114300"/>
                <a:gd name="connsiteX2" fmla="*/ 93374 w 180975"/>
                <a:gd name="connsiteY2" fmla="*/ 7144 h 114300"/>
                <a:gd name="connsiteX3" fmla="*/ 60369 w 180975"/>
                <a:gd name="connsiteY3" fmla="*/ 26299 h 114300"/>
                <a:gd name="connsiteX4" fmla="*/ 26308 w 180975"/>
                <a:gd name="connsiteY4" fmla="*/ 26299 h 114300"/>
                <a:gd name="connsiteX5" fmla="*/ 7144 w 180975"/>
                <a:gd name="connsiteY5" fmla="*/ 45463 h 114300"/>
                <a:gd name="connsiteX6" fmla="*/ 7144 w 180975"/>
                <a:gd name="connsiteY6" fmla="*/ 98288 h 114300"/>
                <a:gd name="connsiteX7" fmla="*/ 16726 w 180975"/>
                <a:gd name="connsiteY7" fmla="*/ 107871 h 114300"/>
                <a:gd name="connsiteX8" fmla="*/ 170021 w 180975"/>
                <a:gd name="connsiteY8" fmla="*/ 107871 h 114300"/>
                <a:gd name="connsiteX9" fmla="*/ 179603 w 180975"/>
                <a:gd name="connsiteY9" fmla="*/ 98288 h 114300"/>
                <a:gd name="connsiteX10" fmla="*/ 179603 w 180975"/>
                <a:gd name="connsiteY10" fmla="*/ 45463 h 114300"/>
                <a:gd name="connsiteX11" fmla="*/ 160449 w 180975"/>
                <a:gd name="connsiteY11" fmla="*/ 26299 h 114300"/>
                <a:gd name="connsiteX12" fmla="*/ 160449 w 180975"/>
                <a:gd name="connsiteY12" fmla="*/ 26299 h 114300"/>
                <a:gd name="connsiteX13" fmla="*/ 93383 w 180975"/>
                <a:gd name="connsiteY13" fmla="*/ 59836 h 114300"/>
                <a:gd name="connsiteX14" fmla="*/ 79019 w 180975"/>
                <a:gd name="connsiteY14" fmla="*/ 45463 h 114300"/>
                <a:gd name="connsiteX15" fmla="*/ 93383 w 180975"/>
                <a:gd name="connsiteY15" fmla="*/ 31090 h 114300"/>
                <a:gd name="connsiteX16" fmla="*/ 107756 w 180975"/>
                <a:gd name="connsiteY16" fmla="*/ 45463 h 114300"/>
                <a:gd name="connsiteX17" fmla="*/ 93383 w 180975"/>
                <a:gd name="connsiteY17" fmla="*/ 59836 h 114300"/>
                <a:gd name="connsiteX18" fmla="*/ 93383 w 180975"/>
                <a:gd name="connsiteY18" fmla="*/ 59836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0975" h="114300">
                  <a:moveTo>
                    <a:pt x="160449" y="26299"/>
                  </a:moveTo>
                  <a:lnTo>
                    <a:pt x="126387" y="26299"/>
                  </a:lnTo>
                  <a:cubicBezTo>
                    <a:pt x="119748" y="14897"/>
                    <a:pt x="107528" y="7144"/>
                    <a:pt x="93374" y="7144"/>
                  </a:cubicBezTo>
                  <a:cubicBezTo>
                    <a:pt x="79229" y="7144"/>
                    <a:pt x="67008" y="14897"/>
                    <a:pt x="60369" y="26299"/>
                  </a:cubicBezTo>
                  <a:lnTo>
                    <a:pt x="26308" y="26299"/>
                  </a:lnTo>
                  <a:cubicBezTo>
                    <a:pt x="15726" y="26299"/>
                    <a:pt x="7144" y="34881"/>
                    <a:pt x="7144" y="45463"/>
                  </a:cubicBezTo>
                  <a:lnTo>
                    <a:pt x="7144" y="98288"/>
                  </a:lnTo>
                  <a:cubicBezTo>
                    <a:pt x="7144" y="103584"/>
                    <a:pt x="11430" y="107871"/>
                    <a:pt x="16726" y="107871"/>
                  </a:cubicBezTo>
                  <a:lnTo>
                    <a:pt x="170021" y="107871"/>
                  </a:lnTo>
                  <a:cubicBezTo>
                    <a:pt x="175317" y="107871"/>
                    <a:pt x="179603" y="103584"/>
                    <a:pt x="179603" y="98288"/>
                  </a:cubicBezTo>
                  <a:lnTo>
                    <a:pt x="179603" y="45463"/>
                  </a:lnTo>
                  <a:cubicBezTo>
                    <a:pt x="179613" y="34881"/>
                    <a:pt x="171031" y="26299"/>
                    <a:pt x="160449" y="26299"/>
                  </a:cubicBezTo>
                  <a:lnTo>
                    <a:pt x="160449" y="26299"/>
                  </a:lnTo>
                  <a:close/>
                  <a:moveTo>
                    <a:pt x="93383" y="59836"/>
                  </a:moveTo>
                  <a:cubicBezTo>
                    <a:pt x="85449" y="59836"/>
                    <a:pt x="79019" y="53397"/>
                    <a:pt x="79019" y="45463"/>
                  </a:cubicBezTo>
                  <a:cubicBezTo>
                    <a:pt x="79019" y="37529"/>
                    <a:pt x="85449" y="31090"/>
                    <a:pt x="93383" y="31090"/>
                  </a:cubicBezTo>
                  <a:cubicBezTo>
                    <a:pt x="101317" y="31090"/>
                    <a:pt x="107756" y="37529"/>
                    <a:pt x="107756" y="45463"/>
                  </a:cubicBezTo>
                  <a:cubicBezTo>
                    <a:pt x="107756" y="53397"/>
                    <a:pt x="101327" y="59836"/>
                    <a:pt x="93383" y="59836"/>
                  </a:cubicBezTo>
                  <a:lnTo>
                    <a:pt x="93383" y="598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96378BB-866D-0D3F-0A3A-4A700E1E38AD}"/>
                </a:ext>
              </a:extLst>
            </p:cNvPr>
            <p:cNvSpPr/>
            <p:nvPr/>
          </p:nvSpPr>
          <p:spPr>
            <a:xfrm>
              <a:off x="7228068" y="4513024"/>
              <a:ext cx="428625" cy="561975"/>
            </a:xfrm>
            <a:custGeom>
              <a:avLst/>
              <a:gdLst>
                <a:gd name="connsiteX0" fmla="*/ 399964 w 428625"/>
                <a:gd name="connsiteY0" fmla="*/ 7144 h 561975"/>
                <a:gd name="connsiteX1" fmla="*/ 330489 w 428625"/>
                <a:gd name="connsiteY1" fmla="*/ 7144 h 561975"/>
                <a:gd name="connsiteX2" fmla="*/ 330498 w 428625"/>
                <a:gd name="connsiteY2" fmla="*/ 7429 h 561975"/>
                <a:gd name="connsiteX3" fmla="*/ 330498 w 428625"/>
                <a:gd name="connsiteY3" fmla="*/ 60255 h 561975"/>
                <a:gd name="connsiteX4" fmla="*/ 330479 w 428625"/>
                <a:gd name="connsiteY4" fmla="*/ 60827 h 561975"/>
                <a:gd name="connsiteX5" fmla="*/ 381762 w 428625"/>
                <a:gd name="connsiteY5" fmla="*/ 60827 h 561975"/>
                <a:gd name="connsiteX6" fmla="*/ 391344 w 428625"/>
                <a:gd name="connsiteY6" fmla="*/ 70409 h 561975"/>
                <a:gd name="connsiteX7" fmla="*/ 391344 w 428625"/>
                <a:gd name="connsiteY7" fmla="*/ 511131 h 561975"/>
                <a:gd name="connsiteX8" fmla="*/ 381762 w 428625"/>
                <a:gd name="connsiteY8" fmla="*/ 520713 h 561975"/>
                <a:gd name="connsiteX9" fmla="*/ 56007 w 428625"/>
                <a:gd name="connsiteY9" fmla="*/ 520713 h 561975"/>
                <a:gd name="connsiteX10" fmla="*/ 46425 w 428625"/>
                <a:gd name="connsiteY10" fmla="*/ 511131 h 561975"/>
                <a:gd name="connsiteX11" fmla="*/ 46425 w 428625"/>
                <a:gd name="connsiteY11" fmla="*/ 70409 h 561975"/>
                <a:gd name="connsiteX12" fmla="*/ 56007 w 428625"/>
                <a:gd name="connsiteY12" fmla="*/ 60827 h 561975"/>
                <a:gd name="connsiteX13" fmla="*/ 107290 w 428625"/>
                <a:gd name="connsiteY13" fmla="*/ 60827 h 561975"/>
                <a:gd name="connsiteX14" fmla="*/ 107271 w 428625"/>
                <a:gd name="connsiteY14" fmla="*/ 60255 h 561975"/>
                <a:gd name="connsiteX15" fmla="*/ 107271 w 428625"/>
                <a:gd name="connsiteY15" fmla="*/ 7439 h 561975"/>
                <a:gd name="connsiteX16" fmla="*/ 107280 w 428625"/>
                <a:gd name="connsiteY16" fmla="*/ 7153 h 561975"/>
                <a:gd name="connsiteX17" fmla="*/ 35890 w 428625"/>
                <a:gd name="connsiteY17" fmla="*/ 7153 h 561975"/>
                <a:gd name="connsiteX18" fmla="*/ 7144 w 428625"/>
                <a:gd name="connsiteY18" fmla="*/ 35900 h 561975"/>
                <a:gd name="connsiteX19" fmla="*/ 7144 w 428625"/>
                <a:gd name="connsiteY19" fmla="*/ 534105 h 561975"/>
                <a:gd name="connsiteX20" fmla="*/ 35890 w 428625"/>
                <a:gd name="connsiteY20" fmla="*/ 562842 h 561975"/>
                <a:gd name="connsiteX21" fmla="*/ 399964 w 428625"/>
                <a:gd name="connsiteY21" fmla="*/ 562842 h 561975"/>
                <a:gd name="connsiteX22" fmla="*/ 428711 w 428625"/>
                <a:gd name="connsiteY22" fmla="*/ 534105 h 561975"/>
                <a:gd name="connsiteX23" fmla="*/ 428711 w 428625"/>
                <a:gd name="connsiteY23" fmla="*/ 35890 h 561975"/>
                <a:gd name="connsiteX24" fmla="*/ 399964 w 428625"/>
                <a:gd name="connsiteY24" fmla="*/ 7144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8625" h="561975">
                  <a:moveTo>
                    <a:pt x="399964" y="7144"/>
                  </a:moveTo>
                  <a:lnTo>
                    <a:pt x="330489" y="7144"/>
                  </a:lnTo>
                  <a:cubicBezTo>
                    <a:pt x="330489" y="7239"/>
                    <a:pt x="330498" y="7334"/>
                    <a:pt x="330498" y="7429"/>
                  </a:cubicBezTo>
                  <a:lnTo>
                    <a:pt x="330498" y="60255"/>
                  </a:lnTo>
                  <a:cubicBezTo>
                    <a:pt x="330498" y="60446"/>
                    <a:pt x="330489" y="60636"/>
                    <a:pt x="330479" y="60827"/>
                  </a:cubicBezTo>
                  <a:lnTo>
                    <a:pt x="381762" y="60827"/>
                  </a:lnTo>
                  <a:cubicBezTo>
                    <a:pt x="387058" y="60827"/>
                    <a:pt x="391344" y="65113"/>
                    <a:pt x="391344" y="70409"/>
                  </a:cubicBezTo>
                  <a:lnTo>
                    <a:pt x="391344" y="511131"/>
                  </a:lnTo>
                  <a:cubicBezTo>
                    <a:pt x="391344" y="516426"/>
                    <a:pt x="387058" y="520713"/>
                    <a:pt x="381762" y="520713"/>
                  </a:cubicBezTo>
                  <a:lnTo>
                    <a:pt x="56007" y="520713"/>
                  </a:lnTo>
                  <a:cubicBezTo>
                    <a:pt x="50721" y="520713"/>
                    <a:pt x="46425" y="516426"/>
                    <a:pt x="46425" y="511131"/>
                  </a:cubicBezTo>
                  <a:lnTo>
                    <a:pt x="46425" y="70409"/>
                  </a:lnTo>
                  <a:cubicBezTo>
                    <a:pt x="46425" y="65113"/>
                    <a:pt x="50711" y="60827"/>
                    <a:pt x="56007" y="60827"/>
                  </a:cubicBezTo>
                  <a:lnTo>
                    <a:pt x="107290" y="60827"/>
                  </a:lnTo>
                  <a:cubicBezTo>
                    <a:pt x="107290" y="60636"/>
                    <a:pt x="107271" y="60446"/>
                    <a:pt x="107271" y="60255"/>
                  </a:cubicBezTo>
                  <a:lnTo>
                    <a:pt x="107271" y="7439"/>
                  </a:lnTo>
                  <a:cubicBezTo>
                    <a:pt x="107271" y="7344"/>
                    <a:pt x="107280" y="7249"/>
                    <a:pt x="107280" y="7153"/>
                  </a:cubicBezTo>
                  <a:lnTo>
                    <a:pt x="35890" y="7153"/>
                  </a:lnTo>
                  <a:cubicBezTo>
                    <a:pt x="20022" y="7153"/>
                    <a:pt x="7144" y="20022"/>
                    <a:pt x="7144" y="35900"/>
                  </a:cubicBezTo>
                  <a:lnTo>
                    <a:pt x="7144" y="534105"/>
                  </a:lnTo>
                  <a:cubicBezTo>
                    <a:pt x="7144" y="549974"/>
                    <a:pt x="20012" y="562842"/>
                    <a:pt x="35890" y="562842"/>
                  </a:cubicBezTo>
                  <a:lnTo>
                    <a:pt x="399964" y="562842"/>
                  </a:lnTo>
                  <a:cubicBezTo>
                    <a:pt x="415842" y="562842"/>
                    <a:pt x="428711" y="549974"/>
                    <a:pt x="428711" y="534105"/>
                  </a:cubicBezTo>
                  <a:lnTo>
                    <a:pt x="428711" y="35890"/>
                  </a:lnTo>
                  <a:cubicBezTo>
                    <a:pt x="428711" y="20022"/>
                    <a:pt x="415842" y="7144"/>
                    <a:pt x="399964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7AAF1729-F81C-448D-11C5-80DA78DABC63}"/>
                </a:ext>
              </a:extLst>
            </p:cNvPr>
            <p:cNvSpPr/>
            <p:nvPr/>
          </p:nvSpPr>
          <p:spPr>
            <a:xfrm>
              <a:off x="7383316" y="4650955"/>
              <a:ext cx="114300" cy="28575"/>
            </a:xfrm>
            <a:custGeom>
              <a:avLst/>
              <a:gdLst>
                <a:gd name="connsiteX0" fmla="*/ 104708 w 114300"/>
                <a:gd name="connsiteY0" fmla="*/ 23374 h 28575"/>
                <a:gd name="connsiteX1" fmla="*/ 15250 w 114300"/>
                <a:gd name="connsiteY1" fmla="*/ 23374 h 28575"/>
                <a:gd name="connsiteX2" fmla="*/ 7144 w 114300"/>
                <a:gd name="connsiteY2" fmla="*/ 15259 h 28575"/>
                <a:gd name="connsiteX3" fmla="*/ 15250 w 114300"/>
                <a:gd name="connsiteY3" fmla="*/ 7144 h 28575"/>
                <a:gd name="connsiteX4" fmla="*/ 104718 w 114300"/>
                <a:gd name="connsiteY4" fmla="*/ 7144 h 28575"/>
                <a:gd name="connsiteX5" fmla="*/ 112833 w 114300"/>
                <a:gd name="connsiteY5" fmla="*/ 15259 h 28575"/>
                <a:gd name="connsiteX6" fmla="*/ 104708 w 114300"/>
                <a:gd name="connsiteY6" fmla="*/ 23374 h 28575"/>
                <a:gd name="connsiteX7" fmla="*/ 104708 w 114300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00" h="28575">
                  <a:moveTo>
                    <a:pt x="104708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82"/>
                    <a:pt x="10773" y="7144"/>
                    <a:pt x="15250" y="7144"/>
                  </a:cubicBezTo>
                  <a:lnTo>
                    <a:pt x="104718" y="7144"/>
                  </a:lnTo>
                  <a:cubicBezTo>
                    <a:pt x="109195" y="7144"/>
                    <a:pt x="112833" y="10773"/>
                    <a:pt x="112833" y="15259"/>
                  </a:cubicBezTo>
                  <a:cubicBezTo>
                    <a:pt x="112824" y="19745"/>
                    <a:pt x="109195" y="23374"/>
                    <a:pt x="104708" y="23374"/>
                  </a:cubicBezTo>
                  <a:lnTo>
                    <a:pt x="104708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AE39779-3DB9-C473-9392-B867091989DC}"/>
                </a:ext>
              </a:extLst>
            </p:cNvPr>
            <p:cNvSpPr/>
            <p:nvPr/>
          </p:nvSpPr>
          <p:spPr>
            <a:xfrm>
              <a:off x="7383316" y="4686760"/>
              <a:ext cx="200025" cy="28575"/>
            </a:xfrm>
            <a:custGeom>
              <a:avLst/>
              <a:gdLst>
                <a:gd name="connsiteX0" fmla="*/ 194177 w 200025"/>
                <a:gd name="connsiteY0" fmla="*/ 23374 h 28575"/>
                <a:gd name="connsiteX1" fmla="*/ 15250 w 200025"/>
                <a:gd name="connsiteY1" fmla="*/ 23374 h 28575"/>
                <a:gd name="connsiteX2" fmla="*/ 7144 w 200025"/>
                <a:gd name="connsiteY2" fmla="*/ 15259 h 28575"/>
                <a:gd name="connsiteX3" fmla="*/ 15250 w 200025"/>
                <a:gd name="connsiteY3" fmla="*/ 7144 h 28575"/>
                <a:gd name="connsiteX4" fmla="*/ 194177 w 200025"/>
                <a:gd name="connsiteY4" fmla="*/ 7144 h 28575"/>
                <a:gd name="connsiteX5" fmla="*/ 202282 w 200025"/>
                <a:gd name="connsiteY5" fmla="*/ 15259 h 28575"/>
                <a:gd name="connsiteX6" fmla="*/ 194177 w 200025"/>
                <a:gd name="connsiteY6" fmla="*/ 23374 h 28575"/>
                <a:gd name="connsiteX7" fmla="*/ 194177 w 200025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025" h="28575">
                  <a:moveTo>
                    <a:pt x="194177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73"/>
                    <a:pt x="10773" y="7144"/>
                    <a:pt x="15250" y="7144"/>
                  </a:cubicBezTo>
                  <a:lnTo>
                    <a:pt x="194177" y="7144"/>
                  </a:lnTo>
                  <a:cubicBezTo>
                    <a:pt x="198663" y="7144"/>
                    <a:pt x="202282" y="10773"/>
                    <a:pt x="202282" y="15259"/>
                  </a:cubicBezTo>
                  <a:cubicBezTo>
                    <a:pt x="202292" y="19745"/>
                    <a:pt x="198653" y="23374"/>
                    <a:pt x="194177" y="23374"/>
                  </a:cubicBezTo>
                  <a:lnTo>
                    <a:pt x="194177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F6DA14A-B259-98D6-2F32-C695655C663F}"/>
                </a:ext>
              </a:extLst>
            </p:cNvPr>
            <p:cNvSpPr/>
            <p:nvPr/>
          </p:nvSpPr>
          <p:spPr>
            <a:xfrm>
              <a:off x="7383316" y="4774028"/>
              <a:ext cx="114300" cy="28575"/>
            </a:xfrm>
            <a:custGeom>
              <a:avLst/>
              <a:gdLst>
                <a:gd name="connsiteX0" fmla="*/ 104708 w 114300"/>
                <a:gd name="connsiteY0" fmla="*/ 23374 h 28575"/>
                <a:gd name="connsiteX1" fmla="*/ 15250 w 114300"/>
                <a:gd name="connsiteY1" fmla="*/ 23374 h 28575"/>
                <a:gd name="connsiteX2" fmla="*/ 7144 w 114300"/>
                <a:gd name="connsiteY2" fmla="*/ 15259 h 28575"/>
                <a:gd name="connsiteX3" fmla="*/ 15250 w 114300"/>
                <a:gd name="connsiteY3" fmla="*/ 7144 h 28575"/>
                <a:gd name="connsiteX4" fmla="*/ 104718 w 114300"/>
                <a:gd name="connsiteY4" fmla="*/ 7144 h 28575"/>
                <a:gd name="connsiteX5" fmla="*/ 112833 w 114300"/>
                <a:gd name="connsiteY5" fmla="*/ 15259 h 28575"/>
                <a:gd name="connsiteX6" fmla="*/ 104708 w 114300"/>
                <a:gd name="connsiteY6" fmla="*/ 23374 h 28575"/>
                <a:gd name="connsiteX7" fmla="*/ 104708 w 114300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00" h="28575">
                  <a:moveTo>
                    <a:pt x="104708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73"/>
                    <a:pt x="10773" y="7144"/>
                    <a:pt x="15250" y="7144"/>
                  </a:cubicBezTo>
                  <a:lnTo>
                    <a:pt x="104718" y="7144"/>
                  </a:lnTo>
                  <a:cubicBezTo>
                    <a:pt x="109195" y="7144"/>
                    <a:pt x="112833" y="10773"/>
                    <a:pt x="112833" y="15259"/>
                  </a:cubicBezTo>
                  <a:cubicBezTo>
                    <a:pt x="112824" y="19745"/>
                    <a:pt x="109195" y="23374"/>
                    <a:pt x="104708" y="23374"/>
                  </a:cubicBezTo>
                  <a:lnTo>
                    <a:pt x="104708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A99F847-0437-9834-4564-82EC17B51FCE}"/>
                </a:ext>
              </a:extLst>
            </p:cNvPr>
            <p:cNvSpPr/>
            <p:nvPr/>
          </p:nvSpPr>
          <p:spPr>
            <a:xfrm>
              <a:off x="7383316" y="4809832"/>
              <a:ext cx="200025" cy="28575"/>
            </a:xfrm>
            <a:custGeom>
              <a:avLst/>
              <a:gdLst>
                <a:gd name="connsiteX0" fmla="*/ 192214 w 200025"/>
                <a:gd name="connsiteY0" fmla="*/ 23374 h 28575"/>
                <a:gd name="connsiteX1" fmla="*/ 15250 w 200025"/>
                <a:gd name="connsiteY1" fmla="*/ 23374 h 28575"/>
                <a:gd name="connsiteX2" fmla="*/ 7144 w 200025"/>
                <a:gd name="connsiteY2" fmla="*/ 15259 h 28575"/>
                <a:gd name="connsiteX3" fmla="*/ 15250 w 200025"/>
                <a:gd name="connsiteY3" fmla="*/ 7144 h 28575"/>
                <a:gd name="connsiteX4" fmla="*/ 192214 w 200025"/>
                <a:gd name="connsiteY4" fmla="*/ 7144 h 28575"/>
                <a:gd name="connsiteX5" fmla="*/ 200320 w 200025"/>
                <a:gd name="connsiteY5" fmla="*/ 15259 h 28575"/>
                <a:gd name="connsiteX6" fmla="*/ 192214 w 200025"/>
                <a:gd name="connsiteY6" fmla="*/ 23374 h 28575"/>
                <a:gd name="connsiteX7" fmla="*/ 192214 w 200025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025" h="28575">
                  <a:moveTo>
                    <a:pt x="192214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73"/>
                    <a:pt x="10773" y="7144"/>
                    <a:pt x="15250" y="7144"/>
                  </a:cubicBezTo>
                  <a:lnTo>
                    <a:pt x="192214" y="7144"/>
                  </a:lnTo>
                  <a:cubicBezTo>
                    <a:pt x="196691" y="7144"/>
                    <a:pt x="200320" y="10773"/>
                    <a:pt x="200320" y="15259"/>
                  </a:cubicBezTo>
                  <a:cubicBezTo>
                    <a:pt x="200320" y="19745"/>
                    <a:pt x="196691" y="23374"/>
                    <a:pt x="192214" y="23374"/>
                  </a:cubicBezTo>
                  <a:lnTo>
                    <a:pt x="192214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69B7667-E5AF-E251-BF38-A5FBF73C7F0F}"/>
                </a:ext>
              </a:extLst>
            </p:cNvPr>
            <p:cNvSpPr/>
            <p:nvPr/>
          </p:nvSpPr>
          <p:spPr>
            <a:xfrm>
              <a:off x="7383316" y="4897100"/>
              <a:ext cx="114300" cy="28575"/>
            </a:xfrm>
            <a:custGeom>
              <a:avLst/>
              <a:gdLst>
                <a:gd name="connsiteX0" fmla="*/ 104708 w 114300"/>
                <a:gd name="connsiteY0" fmla="*/ 23374 h 28575"/>
                <a:gd name="connsiteX1" fmla="*/ 15250 w 114300"/>
                <a:gd name="connsiteY1" fmla="*/ 23374 h 28575"/>
                <a:gd name="connsiteX2" fmla="*/ 7144 w 114300"/>
                <a:gd name="connsiteY2" fmla="*/ 15259 h 28575"/>
                <a:gd name="connsiteX3" fmla="*/ 15250 w 114300"/>
                <a:gd name="connsiteY3" fmla="*/ 7144 h 28575"/>
                <a:gd name="connsiteX4" fmla="*/ 104718 w 114300"/>
                <a:gd name="connsiteY4" fmla="*/ 7144 h 28575"/>
                <a:gd name="connsiteX5" fmla="*/ 112833 w 114300"/>
                <a:gd name="connsiteY5" fmla="*/ 15259 h 28575"/>
                <a:gd name="connsiteX6" fmla="*/ 104708 w 114300"/>
                <a:gd name="connsiteY6" fmla="*/ 23374 h 28575"/>
                <a:gd name="connsiteX7" fmla="*/ 104708 w 114300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00" h="28575">
                  <a:moveTo>
                    <a:pt x="104708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73"/>
                    <a:pt x="10773" y="7144"/>
                    <a:pt x="15250" y="7144"/>
                  </a:cubicBezTo>
                  <a:lnTo>
                    <a:pt x="104718" y="7144"/>
                  </a:lnTo>
                  <a:cubicBezTo>
                    <a:pt x="109195" y="7144"/>
                    <a:pt x="112833" y="10773"/>
                    <a:pt x="112833" y="15259"/>
                  </a:cubicBezTo>
                  <a:cubicBezTo>
                    <a:pt x="112824" y="19736"/>
                    <a:pt x="109195" y="23374"/>
                    <a:pt x="104708" y="23374"/>
                  </a:cubicBezTo>
                  <a:lnTo>
                    <a:pt x="104708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C40A57B0-590E-F137-9446-5929806B177B}"/>
                </a:ext>
              </a:extLst>
            </p:cNvPr>
            <p:cNvSpPr/>
            <p:nvPr/>
          </p:nvSpPr>
          <p:spPr>
            <a:xfrm>
              <a:off x="7383316" y="4932905"/>
              <a:ext cx="200025" cy="28575"/>
            </a:xfrm>
            <a:custGeom>
              <a:avLst/>
              <a:gdLst>
                <a:gd name="connsiteX0" fmla="*/ 190938 w 200025"/>
                <a:gd name="connsiteY0" fmla="*/ 23374 h 28575"/>
                <a:gd name="connsiteX1" fmla="*/ 15250 w 200025"/>
                <a:gd name="connsiteY1" fmla="*/ 23374 h 28575"/>
                <a:gd name="connsiteX2" fmla="*/ 7144 w 200025"/>
                <a:gd name="connsiteY2" fmla="*/ 15259 h 28575"/>
                <a:gd name="connsiteX3" fmla="*/ 15250 w 200025"/>
                <a:gd name="connsiteY3" fmla="*/ 7144 h 28575"/>
                <a:gd name="connsiteX4" fmla="*/ 190938 w 200025"/>
                <a:gd name="connsiteY4" fmla="*/ 7144 h 28575"/>
                <a:gd name="connsiteX5" fmla="*/ 199044 w 200025"/>
                <a:gd name="connsiteY5" fmla="*/ 15259 h 28575"/>
                <a:gd name="connsiteX6" fmla="*/ 190938 w 200025"/>
                <a:gd name="connsiteY6" fmla="*/ 23374 h 28575"/>
                <a:gd name="connsiteX7" fmla="*/ 190938 w 200025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025" h="28575">
                  <a:moveTo>
                    <a:pt x="190938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73"/>
                    <a:pt x="10773" y="7144"/>
                    <a:pt x="15250" y="7144"/>
                  </a:cubicBezTo>
                  <a:lnTo>
                    <a:pt x="190938" y="7144"/>
                  </a:lnTo>
                  <a:cubicBezTo>
                    <a:pt x="195415" y="7144"/>
                    <a:pt x="199044" y="10773"/>
                    <a:pt x="199044" y="15259"/>
                  </a:cubicBezTo>
                  <a:cubicBezTo>
                    <a:pt x="199053" y="19736"/>
                    <a:pt x="195415" y="23374"/>
                    <a:pt x="190938" y="23374"/>
                  </a:cubicBezTo>
                  <a:lnTo>
                    <a:pt x="190938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5C6D1D70-810B-3624-9093-851A54A150AE}"/>
                </a:ext>
              </a:extLst>
            </p:cNvPr>
            <p:cNvSpPr/>
            <p:nvPr/>
          </p:nvSpPr>
          <p:spPr>
            <a:xfrm>
              <a:off x="7299256" y="4641976"/>
              <a:ext cx="76200" cy="57150"/>
            </a:xfrm>
            <a:custGeom>
              <a:avLst/>
              <a:gdLst>
                <a:gd name="connsiteX0" fmla="*/ 29481 w 76200"/>
                <a:gd name="connsiteY0" fmla="*/ 58310 h 57150"/>
                <a:gd name="connsiteX1" fmla="*/ 29434 w 76200"/>
                <a:gd name="connsiteY1" fmla="*/ 58310 h 57150"/>
                <a:gd name="connsiteX2" fmla="*/ 23509 w 76200"/>
                <a:gd name="connsiteY2" fmla="*/ 55681 h 57150"/>
                <a:gd name="connsiteX3" fmla="*/ 9279 w 76200"/>
                <a:gd name="connsiteY3" fmla="*/ 40184 h 57150"/>
                <a:gd name="connsiteX4" fmla="*/ 9774 w 76200"/>
                <a:gd name="connsiteY4" fmla="*/ 28725 h 57150"/>
                <a:gd name="connsiteX5" fmla="*/ 21233 w 76200"/>
                <a:gd name="connsiteY5" fmla="*/ 29211 h 57150"/>
                <a:gd name="connsiteX6" fmla="*/ 29558 w 76200"/>
                <a:gd name="connsiteY6" fmla="*/ 38279 h 57150"/>
                <a:gd name="connsiteX7" fmla="*/ 56504 w 76200"/>
                <a:gd name="connsiteY7" fmla="*/ 9694 h 57150"/>
                <a:gd name="connsiteX8" fmla="*/ 67972 w 76200"/>
                <a:gd name="connsiteY8" fmla="*/ 9351 h 57150"/>
                <a:gd name="connsiteX9" fmla="*/ 68315 w 76200"/>
                <a:gd name="connsiteY9" fmla="*/ 20819 h 57150"/>
                <a:gd name="connsiteX10" fmla="*/ 35387 w 76200"/>
                <a:gd name="connsiteY10" fmla="*/ 55757 h 57150"/>
                <a:gd name="connsiteX11" fmla="*/ 29481 w 76200"/>
                <a:gd name="connsiteY11" fmla="*/ 58310 h 57150"/>
                <a:gd name="connsiteX12" fmla="*/ 29481 w 76200"/>
                <a:gd name="connsiteY12" fmla="*/ 5831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200" h="57150">
                  <a:moveTo>
                    <a:pt x="29481" y="58310"/>
                  </a:moveTo>
                  <a:lnTo>
                    <a:pt x="29434" y="58310"/>
                  </a:lnTo>
                  <a:cubicBezTo>
                    <a:pt x="27176" y="58300"/>
                    <a:pt x="25033" y="57338"/>
                    <a:pt x="23509" y="55681"/>
                  </a:cubicBezTo>
                  <a:lnTo>
                    <a:pt x="9279" y="40184"/>
                  </a:lnTo>
                  <a:cubicBezTo>
                    <a:pt x="6250" y="36878"/>
                    <a:pt x="6469" y="31754"/>
                    <a:pt x="9774" y="28725"/>
                  </a:cubicBezTo>
                  <a:cubicBezTo>
                    <a:pt x="13070" y="25696"/>
                    <a:pt x="18204" y="25906"/>
                    <a:pt x="21233" y="29211"/>
                  </a:cubicBezTo>
                  <a:lnTo>
                    <a:pt x="29558" y="38279"/>
                  </a:lnTo>
                  <a:lnTo>
                    <a:pt x="56504" y="9694"/>
                  </a:lnTo>
                  <a:cubicBezTo>
                    <a:pt x="59571" y="6427"/>
                    <a:pt x="64714" y="6284"/>
                    <a:pt x="67972" y="9351"/>
                  </a:cubicBezTo>
                  <a:cubicBezTo>
                    <a:pt x="71230" y="12428"/>
                    <a:pt x="71382" y="17562"/>
                    <a:pt x="68315" y="20819"/>
                  </a:cubicBezTo>
                  <a:lnTo>
                    <a:pt x="35387" y="55757"/>
                  </a:lnTo>
                  <a:cubicBezTo>
                    <a:pt x="33853" y="57395"/>
                    <a:pt x="31710" y="58310"/>
                    <a:pt x="29481" y="58310"/>
                  </a:cubicBezTo>
                  <a:lnTo>
                    <a:pt x="29481" y="583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D2B3730-0C35-E7BE-6FCA-BB4611B5812E}"/>
                </a:ext>
              </a:extLst>
            </p:cNvPr>
            <p:cNvSpPr/>
            <p:nvPr/>
          </p:nvSpPr>
          <p:spPr>
            <a:xfrm>
              <a:off x="7299256" y="4765053"/>
              <a:ext cx="76200" cy="57150"/>
            </a:xfrm>
            <a:custGeom>
              <a:avLst/>
              <a:gdLst>
                <a:gd name="connsiteX0" fmla="*/ 29481 w 76200"/>
                <a:gd name="connsiteY0" fmla="*/ 58305 h 57150"/>
                <a:gd name="connsiteX1" fmla="*/ 29434 w 76200"/>
                <a:gd name="connsiteY1" fmla="*/ 58305 h 57150"/>
                <a:gd name="connsiteX2" fmla="*/ 23509 w 76200"/>
                <a:gd name="connsiteY2" fmla="*/ 55676 h 57150"/>
                <a:gd name="connsiteX3" fmla="*/ 9279 w 76200"/>
                <a:gd name="connsiteY3" fmla="*/ 40179 h 57150"/>
                <a:gd name="connsiteX4" fmla="*/ 9774 w 76200"/>
                <a:gd name="connsiteY4" fmla="*/ 28720 h 57150"/>
                <a:gd name="connsiteX5" fmla="*/ 21233 w 76200"/>
                <a:gd name="connsiteY5" fmla="*/ 29215 h 57150"/>
                <a:gd name="connsiteX6" fmla="*/ 29558 w 76200"/>
                <a:gd name="connsiteY6" fmla="*/ 38283 h 57150"/>
                <a:gd name="connsiteX7" fmla="*/ 56504 w 76200"/>
                <a:gd name="connsiteY7" fmla="*/ 9689 h 57150"/>
                <a:gd name="connsiteX8" fmla="*/ 67972 w 76200"/>
                <a:gd name="connsiteY8" fmla="*/ 9356 h 57150"/>
                <a:gd name="connsiteX9" fmla="*/ 68315 w 76200"/>
                <a:gd name="connsiteY9" fmla="*/ 20824 h 57150"/>
                <a:gd name="connsiteX10" fmla="*/ 35387 w 76200"/>
                <a:gd name="connsiteY10" fmla="*/ 55762 h 57150"/>
                <a:gd name="connsiteX11" fmla="*/ 29481 w 76200"/>
                <a:gd name="connsiteY11" fmla="*/ 58305 h 57150"/>
                <a:gd name="connsiteX12" fmla="*/ 29481 w 76200"/>
                <a:gd name="connsiteY12" fmla="*/ 5830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200" h="57150">
                  <a:moveTo>
                    <a:pt x="29481" y="58305"/>
                  </a:moveTo>
                  <a:lnTo>
                    <a:pt x="29434" y="58305"/>
                  </a:lnTo>
                  <a:cubicBezTo>
                    <a:pt x="27176" y="58295"/>
                    <a:pt x="25033" y="57333"/>
                    <a:pt x="23509" y="55676"/>
                  </a:cubicBezTo>
                  <a:lnTo>
                    <a:pt x="9279" y="40179"/>
                  </a:lnTo>
                  <a:cubicBezTo>
                    <a:pt x="6250" y="36883"/>
                    <a:pt x="6469" y="31749"/>
                    <a:pt x="9774" y="28720"/>
                  </a:cubicBezTo>
                  <a:cubicBezTo>
                    <a:pt x="13070" y="25691"/>
                    <a:pt x="18204" y="25910"/>
                    <a:pt x="21233" y="29215"/>
                  </a:cubicBezTo>
                  <a:lnTo>
                    <a:pt x="29558" y="38283"/>
                  </a:lnTo>
                  <a:lnTo>
                    <a:pt x="56504" y="9689"/>
                  </a:lnTo>
                  <a:cubicBezTo>
                    <a:pt x="59571" y="6432"/>
                    <a:pt x="64714" y="6279"/>
                    <a:pt x="67972" y="9356"/>
                  </a:cubicBezTo>
                  <a:cubicBezTo>
                    <a:pt x="71230" y="12432"/>
                    <a:pt x="71382" y="17566"/>
                    <a:pt x="68315" y="20824"/>
                  </a:cubicBezTo>
                  <a:lnTo>
                    <a:pt x="35387" y="55762"/>
                  </a:lnTo>
                  <a:cubicBezTo>
                    <a:pt x="33853" y="57390"/>
                    <a:pt x="31710" y="58305"/>
                    <a:pt x="29481" y="58305"/>
                  </a:cubicBezTo>
                  <a:lnTo>
                    <a:pt x="29481" y="583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87FB2E34-1E40-11F4-80CB-8A389FE00179}"/>
                </a:ext>
              </a:extLst>
            </p:cNvPr>
            <p:cNvSpPr/>
            <p:nvPr/>
          </p:nvSpPr>
          <p:spPr>
            <a:xfrm>
              <a:off x="7299248" y="4890176"/>
              <a:ext cx="76200" cy="76200"/>
            </a:xfrm>
            <a:custGeom>
              <a:avLst/>
              <a:gdLst>
                <a:gd name="connsiteX0" fmla="*/ 70523 w 76200"/>
                <a:gd name="connsiteY0" fmla="*/ 38833 h 76200"/>
                <a:gd name="connsiteX1" fmla="*/ 38833 w 76200"/>
                <a:gd name="connsiteY1" fmla="*/ 70523 h 76200"/>
                <a:gd name="connsiteX2" fmla="*/ 7144 w 76200"/>
                <a:gd name="connsiteY2" fmla="*/ 38833 h 76200"/>
                <a:gd name="connsiteX3" fmla="*/ 38833 w 76200"/>
                <a:gd name="connsiteY3" fmla="*/ 7144 h 76200"/>
                <a:gd name="connsiteX4" fmla="*/ 70523 w 76200"/>
                <a:gd name="connsiteY4" fmla="*/ 38833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0523" y="38833"/>
                  </a:moveTo>
                  <a:cubicBezTo>
                    <a:pt x="70523" y="56335"/>
                    <a:pt x="56335" y="70523"/>
                    <a:pt x="38833" y="70523"/>
                  </a:cubicBezTo>
                  <a:cubicBezTo>
                    <a:pt x="21332" y="70523"/>
                    <a:pt x="7144" y="56335"/>
                    <a:pt x="7144" y="38833"/>
                  </a:cubicBezTo>
                  <a:cubicBezTo>
                    <a:pt x="7144" y="21332"/>
                    <a:pt x="21332" y="7144"/>
                    <a:pt x="38833" y="7144"/>
                  </a:cubicBezTo>
                  <a:cubicBezTo>
                    <a:pt x="56335" y="7144"/>
                    <a:pt x="70523" y="21332"/>
                    <a:pt x="70523" y="388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</p:grpSp>
      <p:pic>
        <p:nvPicPr>
          <p:cNvPr id="61" name="Graphic 60">
            <a:extLst>
              <a:ext uri="{FF2B5EF4-FFF2-40B4-BE49-F238E27FC236}">
                <a16:creationId xmlns:a16="http://schemas.microsoft.com/office/drawing/2014/main" id="{E37E7737-93E0-5A27-CA51-8C032DB3AC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89922" y="2524137"/>
            <a:ext cx="366954" cy="366954"/>
          </a:xfrm>
          <a:prstGeom prst="rect">
            <a:avLst/>
          </a:prstGeom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1B2A171-8FA0-1EBE-1723-422DDC698E11}"/>
              </a:ext>
            </a:extLst>
          </p:cNvPr>
          <p:cNvCxnSpPr/>
          <p:nvPr/>
        </p:nvCxnSpPr>
        <p:spPr>
          <a:xfrm>
            <a:off x="685800" y="2344719"/>
            <a:ext cx="11262758" cy="0"/>
          </a:xfrm>
          <a:prstGeom prst="line">
            <a:avLst/>
          </a:prstGeom>
          <a:ln w="6350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725B769-B9DC-C0A3-9D81-F31E08EBF234}"/>
              </a:ext>
            </a:extLst>
          </p:cNvPr>
          <p:cNvCxnSpPr/>
          <p:nvPr/>
        </p:nvCxnSpPr>
        <p:spPr>
          <a:xfrm>
            <a:off x="685800" y="3070256"/>
            <a:ext cx="11262758" cy="0"/>
          </a:xfrm>
          <a:prstGeom prst="line">
            <a:avLst/>
          </a:prstGeom>
          <a:ln w="6350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D2756322-53FE-FF4E-B0D8-F5C388590C0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30" y="6146867"/>
            <a:ext cx="1279999" cy="5248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BB66E5C-005D-DDA5-F2B2-FBA03938D1C2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220" y="6441734"/>
            <a:ext cx="1905000" cy="207708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06AF0272-671A-0EFC-4222-C2BB241F96A4}"/>
              </a:ext>
            </a:extLst>
          </p:cNvPr>
          <p:cNvSpPr/>
          <p:nvPr/>
        </p:nvSpPr>
        <p:spPr>
          <a:xfrm>
            <a:off x="238733" y="3099728"/>
            <a:ext cx="342896" cy="653537"/>
          </a:xfrm>
          <a:prstGeom prst="rect">
            <a:avLst/>
          </a:prstGeom>
          <a:solidFill>
            <a:srgbClr val="1452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675EEA-BE43-8828-019B-D5BDFF3449DA}"/>
              </a:ext>
            </a:extLst>
          </p:cNvPr>
          <p:cNvSpPr/>
          <p:nvPr/>
        </p:nvSpPr>
        <p:spPr>
          <a:xfrm>
            <a:off x="685800" y="3099727"/>
            <a:ext cx="11262758" cy="653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imelines</a:t>
            </a:r>
          </a:p>
        </p:txBody>
      </p:sp>
      <p:grpSp>
        <p:nvGrpSpPr>
          <p:cNvPr id="38" name="Graphic 369">
            <a:extLst>
              <a:ext uri="{FF2B5EF4-FFF2-40B4-BE49-F238E27FC236}">
                <a16:creationId xmlns:a16="http://schemas.microsoft.com/office/drawing/2014/main" id="{375983BA-48DA-DD17-DCF4-9240CBFE4545}"/>
              </a:ext>
            </a:extLst>
          </p:cNvPr>
          <p:cNvGrpSpPr/>
          <p:nvPr/>
        </p:nvGrpSpPr>
        <p:grpSpPr>
          <a:xfrm>
            <a:off x="11407970" y="3280096"/>
            <a:ext cx="283262" cy="283262"/>
            <a:chOff x="7141200" y="4474200"/>
            <a:chExt cx="609600" cy="609600"/>
          </a:xfrm>
          <a:solidFill>
            <a:schemeClr val="bg1">
              <a:lumMod val="75000"/>
            </a:schemeClr>
          </a:solidFill>
        </p:grpSpPr>
        <p:sp>
          <p:nvSpPr>
            <p:cNvPr id="39" name="Freeform: Shape 49">
              <a:extLst>
                <a:ext uri="{FF2B5EF4-FFF2-40B4-BE49-F238E27FC236}">
                  <a16:creationId xmlns:a16="http://schemas.microsoft.com/office/drawing/2014/main" id="{564D8A08-C34A-FAC3-9449-1A4812E061B7}"/>
                </a:ext>
              </a:extLst>
            </p:cNvPr>
            <p:cNvSpPr/>
            <p:nvPr/>
          </p:nvSpPr>
          <p:spPr>
            <a:xfrm>
              <a:off x="7353569" y="4475000"/>
              <a:ext cx="180975" cy="114300"/>
            </a:xfrm>
            <a:custGeom>
              <a:avLst/>
              <a:gdLst>
                <a:gd name="connsiteX0" fmla="*/ 160449 w 180975"/>
                <a:gd name="connsiteY0" fmla="*/ 26299 h 114300"/>
                <a:gd name="connsiteX1" fmla="*/ 126387 w 180975"/>
                <a:gd name="connsiteY1" fmla="*/ 26299 h 114300"/>
                <a:gd name="connsiteX2" fmla="*/ 93374 w 180975"/>
                <a:gd name="connsiteY2" fmla="*/ 7144 h 114300"/>
                <a:gd name="connsiteX3" fmla="*/ 60369 w 180975"/>
                <a:gd name="connsiteY3" fmla="*/ 26299 h 114300"/>
                <a:gd name="connsiteX4" fmla="*/ 26308 w 180975"/>
                <a:gd name="connsiteY4" fmla="*/ 26299 h 114300"/>
                <a:gd name="connsiteX5" fmla="*/ 7144 w 180975"/>
                <a:gd name="connsiteY5" fmla="*/ 45463 h 114300"/>
                <a:gd name="connsiteX6" fmla="*/ 7144 w 180975"/>
                <a:gd name="connsiteY6" fmla="*/ 98288 h 114300"/>
                <a:gd name="connsiteX7" fmla="*/ 16726 w 180975"/>
                <a:gd name="connsiteY7" fmla="*/ 107871 h 114300"/>
                <a:gd name="connsiteX8" fmla="*/ 170021 w 180975"/>
                <a:gd name="connsiteY8" fmla="*/ 107871 h 114300"/>
                <a:gd name="connsiteX9" fmla="*/ 179603 w 180975"/>
                <a:gd name="connsiteY9" fmla="*/ 98288 h 114300"/>
                <a:gd name="connsiteX10" fmla="*/ 179603 w 180975"/>
                <a:gd name="connsiteY10" fmla="*/ 45463 h 114300"/>
                <a:gd name="connsiteX11" fmla="*/ 160449 w 180975"/>
                <a:gd name="connsiteY11" fmla="*/ 26299 h 114300"/>
                <a:gd name="connsiteX12" fmla="*/ 160449 w 180975"/>
                <a:gd name="connsiteY12" fmla="*/ 26299 h 114300"/>
                <a:gd name="connsiteX13" fmla="*/ 93383 w 180975"/>
                <a:gd name="connsiteY13" fmla="*/ 59836 h 114300"/>
                <a:gd name="connsiteX14" fmla="*/ 79019 w 180975"/>
                <a:gd name="connsiteY14" fmla="*/ 45463 h 114300"/>
                <a:gd name="connsiteX15" fmla="*/ 93383 w 180975"/>
                <a:gd name="connsiteY15" fmla="*/ 31090 h 114300"/>
                <a:gd name="connsiteX16" fmla="*/ 107756 w 180975"/>
                <a:gd name="connsiteY16" fmla="*/ 45463 h 114300"/>
                <a:gd name="connsiteX17" fmla="*/ 93383 w 180975"/>
                <a:gd name="connsiteY17" fmla="*/ 59836 h 114300"/>
                <a:gd name="connsiteX18" fmla="*/ 93383 w 180975"/>
                <a:gd name="connsiteY18" fmla="*/ 59836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0975" h="114300">
                  <a:moveTo>
                    <a:pt x="160449" y="26299"/>
                  </a:moveTo>
                  <a:lnTo>
                    <a:pt x="126387" y="26299"/>
                  </a:lnTo>
                  <a:cubicBezTo>
                    <a:pt x="119748" y="14897"/>
                    <a:pt x="107528" y="7144"/>
                    <a:pt x="93374" y="7144"/>
                  </a:cubicBezTo>
                  <a:cubicBezTo>
                    <a:pt x="79229" y="7144"/>
                    <a:pt x="67008" y="14897"/>
                    <a:pt x="60369" y="26299"/>
                  </a:cubicBezTo>
                  <a:lnTo>
                    <a:pt x="26308" y="26299"/>
                  </a:lnTo>
                  <a:cubicBezTo>
                    <a:pt x="15726" y="26299"/>
                    <a:pt x="7144" y="34881"/>
                    <a:pt x="7144" y="45463"/>
                  </a:cubicBezTo>
                  <a:lnTo>
                    <a:pt x="7144" y="98288"/>
                  </a:lnTo>
                  <a:cubicBezTo>
                    <a:pt x="7144" y="103584"/>
                    <a:pt x="11430" y="107871"/>
                    <a:pt x="16726" y="107871"/>
                  </a:cubicBezTo>
                  <a:lnTo>
                    <a:pt x="170021" y="107871"/>
                  </a:lnTo>
                  <a:cubicBezTo>
                    <a:pt x="175317" y="107871"/>
                    <a:pt x="179603" y="103584"/>
                    <a:pt x="179603" y="98288"/>
                  </a:cubicBezTo>
                  <a:lnTo>
                    <a:pt x="179603" y="45463"/>
                  </a:lnTo>
                  <a:cubicBezTo>
                    <a:pt x="179613" y="34881"/>
                    <a:pt x="171031" y="26299"/>
                    <a:pt x="160449" y="26299"/>
                  </a:cubicBezTo>
                  <a:lnTo>
                    <a:pt x="160449" y="26299"/>
                  </a:lnTo>
                  <a:close/>
                  <a:moveTo>
                    <a:pt x="93383" y="59836"/>
                  </a:moveTo>
                  <a:cubicBezTo>
                    <a:pt x="85449" y="59836"/>
                    <a:pt x="79019" y="53397"/>
                    <a:pt x="79019" y="45463"/>
                  </a:cubicBezTo>
                  <a:cubicBezTo>
                    <a:pt x="79019" y="37529"/>
                    <a:pt x="85449" y="31090"/>
                    <a:pt x="93383" y="31090"/>
                  </a:cubicBezTo>
                  <a:cubicBezTo>
                    <a:pt x="101317" y="31090"/>
                    <a:pt x="107756" y="37529"/>
                    <a:pt x="107756" y="45463"/>
                  </a:cubicBezTo>
                  <a:cubicBezTo>
                    <a:pt x="107756" y="53397"/>
                    <a:pt x="101327" y="59836"/>
                    <a:pt x="93383" y="59836"/>
                  </a:cubicBezTo>
                  <a:lnTo>
                    <a:pt x="93383" y="598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" name="Freeform: Shape 50">
              <a:extLst>
                <a:ext uri="{FF2B5EF4-FFF2-40B4-BE49-F238E27FC236}">
                  <a16:creationId xmlns:a16="http://schemas.microsoft.com/office/drawing/2014/main" id="{5C7C88B1-5B34-10D9-527B-417DB06BCBD2}"/>
                </a:ext>
              </a:extLst>
            </p:cNvPr>
            <p:cNvSpPr/>
            <p:nvPr/>
          </p:nvSpPr>
          <p:spPr>
            <a:xfrm>
              <a:off x="7228068" y="4513024"/>
              <a:ext cx="428625" cy="561975"/>
            </a:xfrm>
            <a:custGeom>
              <a:avLst/>
              <a:gdLst>
                <a:gd name="connsiteX0" fmla="*/ 399964 w 428625"/>
                <a:gd name="connsiteY0" fmla="*/ 7144 h 561975"/>
                <a:gd name="connsiteX1" fmla="*/ 330489 w 428625"/>
                <a:gd name="connsiteY1" fmla="*/ 7144 h 561975"/>
                <a:gd name="connsiteX2" fmla="*/ 330498 w 428625"/>
                <a:gd name="connsiteY2" fmla="*/ 7429 h 561975"/>
                <a:gd name="connsiteX3" fmla="*/ 330498 w 428625"/>
                <a:gd name="connsiteY3" fmla="*/ 60255 h 561975"/>
                <a:gd name="connsiteX4" fmla="*/ 330479 w 428625"/>
                <a:gd name="connsiteY4" fmla="*/ 60827 h 561975"/>
                <a:gd name="connsiteX5" fmla="*/ 381762 w 428625"/>
                <a:gd name="connsiteY5" fmla="*/ 60827 h 561975"/>
                <a:gd name="connsiteX6" fmla="*/ 391344 w 428625"/>
                <a:gd name="connsiteY6" fmla="*/ 70409 h 561975"/>
                <a:gd name="connsiteX7" fmla="*/ 391344 w 428625"/>
                <a:gd name="connsiteY7" fmla="*/ 511131 h 561975"/>
                <a:gd name="connsiteX8" fmla="*/ 381762 w 428625"/>
                <a:gd name="connsiteY8" fmla="*/ 520713 h 561975"/>
                <a:gd name="connsiteX9" fmla="*/ 56007 w 428625"/>
                <a:gd name="connsiteY9" fmla="*/ 520713 h 561975"/>
                <a:gd name="connsiteX10" fmla="*/ 46425 w 428625"/>
                <a:gd name="connsiteY10" fmla="*/ 511131 h 561975"/>
                <a:gd name="connsiteX11" fmla="*/ 46425 w 428625"/>
                <a:gd name="connsiteY11" fmla="*/ 70409 h 561975"/>
                <a:gd name="connsiteX12" fmla="*/ 56007 w 428625"/>
                <a:gd name="connsiteY12" fmla="*/ 60827 h 561975"/>
                <a:gd name="connsiteX13" fmla="*/ 107290 w 428625"/>
                <a:gd name="connsiteY13" fmla="*/ 60827 h 561975"/>
                <a:gd name="connsiteX14" fmla="*/ 107271 w 428625"/>
                <a:gd name="connsiteY14" fmla="*/ 60255 h 561975"/>
                <a:gd name="connsiteX15" fmla="*/ 107271 w 428625"/>
                <a:gd name="connsiteY15" fmla="*/ 7439 h 561975"/>
                <a:gd name="connsiteX16" fmla="*/ 107280 w 428625"/>
                <a:gd name="connsiteY16" fmla="*/ 7153 h 561975"/>
                <a:gd name="connsiteX17" fmla="*/ 35890 w 428625"/>
                <a:gd name="connsiteY17" fmla="*/ 7153 h 561975"/>
                <a:gd name="connsiteX18" fmla="*/ 7144 w 428625"/>
                <a:gd name="connsiteY18" fmla="*/ 35900 h 561975"/>
                <a:gd name="connsiteX19" fmla="*/ 7144 w 428625"/>
                <a:gd name="connsiteY19" fmla="*/ 534105 h 561975"/>
                <a:gd name="connsiteX20" fmla="*/ 35890 w 428625"/>
                <a:gd name="connsiteY20" fmla="*/ 562842 h 561975"/>
                <a:gd name="connsiteX21" fmla="*/ 399964 w 428625"/>
                <a:gd name="connsiteY21" fmla="*/ 562842 h 561975"/>
                <a:gd name="connsiteX22" fmla="*/ 428711 w 428625"/>
                <a:gd name="connsiteY22" fmla="*/ 534105 h 561975"/>
                <a:gd name="connsiteX23" fmla="*/ 428711 w 428625"/>
                <a:gd name="connsiteY23" fmla="*/ 35890 h 561975"/>
                <a:gd name="connsiteX24" fmla="*/ 399964 w 428625"/>
                <a:gd name="connsiteY24" fmla="*/ 7144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8625" h="561975">
                  <a:moveTo>
                    <a:pt x="399964" y="7144"/>
                  </a:moveTo>
                  <a:lnTo>
                    <a:pt x="330489" y="7144"/>
                  </a:lnTo>
                  <a:cubicBezTo>
                    <a:pt x="330489" y="7239"/>
                    <a:pt x="330498" y="7334"/>
                    <a:pt x="330498" y="7429"/>
                  </a:cubicBezTo>
                  <a:lnTo>
                    <a:pt x="330498" y="60255"/>
                  </a:lnTo>
                  <a:cubicBezTo>
                    <a:pt x="330498" y="60446"/>
                    <a:pt x="330489" y="60636"/>
                    <a:pt x="330479" y="60827"/>
                  </a:cubicBezTo>
                  <a:lnTo>
                    <a:pt x="381762" y="60827"/>
                  </a:lnTo>
                  <a:cubicBezTo>
                    <a:pt x="387058" y="60827"/>
                    <a:pt x="391344" y="65113"/>
                    <a:pt x="391344" y="70409"/>
                  </a:cubicBezTo>
                  <a:lnTo>
                    <a:pt x="391344" y="511131"/>
                  </a:lnTo>
                  <a:cubicBezTo>
                    <a:pt x="391344" y="516426"/>
                    <a:pt x="387058" y="520713"/>
                    <a:pt x="381762" y="520713"/>
                  </a:cubicBezTo>
                  <a:lnTo>
                    <a:pt x="56007" y="520713"/>
                  </a:lnTo>
                  <a:cubicBezTo>
                    <a:pt x="50721" y="520713"/>
                    <a:pt x="46425" y="516426"/>
                    <a:pt x="46425" y="511131"/>
                  </a:cubicBezTo>
                  <a:lnTo>
                    <a:pt x="46425" y="70409"/>
                  </a:lnTo>
                  <a:cubicBezTo>
                    <a:pt x="46425" y="65113"/>
                    <a:pt x="50711" y="60827"/>
                    <a:pt x="56007" y="60827"/>
                  </a:cubicBezTo>
                  <a:lnTo>
                    <a:pt x="107290" y="60827"/>
                  </a:lnTo>
                  <a:cubicBezTo>
                    <a:pt x="107290" y="60636"/>
                    <a:pt x="107271" y="60446"/>
                    <a:pt x="107271" y="60255"/>
                  </a:cubicBezTo>
                  <a:lnTo>
                    <a:pt x="107271" y="7439"/>
                  </a:lnTo>
                  <a:cubicBezTo>
                    <a:pt x="107271" y="7344"/>
                    <a:pt x="107280" y="7249"/>
                    <a:pt x="107280" y="7153"/>
                  </a:cubicBezTo>
                  <a:lnTo>
                    <a:pt x="35890" y="7153"/>
                  </a:lnTo>
                  <a:cubicBezTo>
                    <a:pt x="20022" y="7153"/>
                    <a:pt x="7144" y="20022"/>
                    <a:pt x="7144" y="35900"/>
                  </a:cubicBezTo>
                  <a:lnTo>
                    <a:pt x="7144" y="534105"/>
                  </a:lnTo>
                  <a:cubicBezTo>
                    <a:pt x="7144" y="549974"/>
                    <a:pt x="20012" y="562842"/>
                    <a:pt x="35890" y="562842"/>
                  </a:cubicBezTo>
                  <a:lnTo>
                    <a:pt x="399964" y="562842"/>
                  </a:lnTo>
                  <a:cubicBezTo>
                    <a:pt x="415842" y="562842"/>
                    <a:pt x="428711" y="549974"/>
                    <a:pt x="428711" y="534105"/>
                  </a:cubicBezTo>
                  <a:lnTo>
                    <a:pt x="428711" y="35890"/>
                  </a:lnTo>
                  <a:cubicBezTo>
                    <a:pt x="428711" y="20022"/>
                    <a:pt x="415842" y="7144"/>
                    <a:pt x="399964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" name="Freeform: Shape 51">
              <a:extLst>
                <a:ext uri="{FF2B5EF4-FFF2-40B4-BE49-F238E27FC236}">
                  <a16:creationId xmlns:a16="http://schemas.microsoft.com/office/drawing/2014/main" id="{37DB68AF-EBB5-D133-D78F-82145757DCC3}"/>
                </a:ext>
              </a:extLst>
            </p:cNvPr>
            <p:cNvSpPr/>
            <p:nvPr/>
          </p:nvSpPr>
          <p:spPr>
            <a:xfrm>
              <a:off x="7383316" y="4650955"/>
              <a:ext cx="114300" cy="28575"/>
            </a:xfrm>
            <a:custGeom>
              <a:avLst/>
              <a:gdLst>
                <a:gd name="connsiteX0" fmla="*/ 104708 w 114300"/>
                <a:gd name="connsiteY0" fmla="*/ 23374 h 28575"/>
                <a:gd name="connsiteX1" fmla="*/ 15250 w 114300"/>
                <a:gd name="connsiteY1" fmla="*/ 23374 h 28575"/>
                <a:gd name="connsiteX2" fmla="*/ 7144 w 114300"/>
                <a:gd name="connsiteY2" fmla="*/ 15259 h 28575"/>
                <a:gd name="connsiteX3" fmla="*/ 15250 w 114300"/>
                <a:gd name="connsiteY3" fmla="*/ 7144 h 28575"/>
                <a:gd name="connsiteX4" fmla="*/ 104718 w 114300"/>
                <a:gd name="connsiteY4" fmla="*/ 7144 h 28575"/>
                <a:gd name="connsiteX5" fmla="*/ 112833 w 114300"/>
                <a:gd name="connsiteY5" fmla="*/ 15259 h 28575"/>
                <a:gd name="connsiteX6" fmla="*/ 104708 w 114300"/>
                <a:gd name="connsiteY6" fmla="*/ 23374 h 28575"/>
                <a:gd name="connsiteX7" fmla="*/ 104708 w 114300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00" h="28575">
                  <a:moveTo>
                    <a:pt x="104708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82"/>
                    <a:pt x="10773" y="7144"/>
                    <a:pt x="15250" y="7144"/>
                  </a:cubicBezTo>
                  <a:lnTo>
                    <a:pt x="104718" y="7144"/>
                  </a:lnTo>
                  <a:cubicBezTo>
                    <a:pt x="109195" y="7144"/>
                    <a:pt x="112833" y="10773"/>
                    <a:pt x="112833" y="15259"/>
                  </a:cubicBezTo>
                  <a:cubicBezTo>
                    <a:pt x="112824" y="19745"/>
                    <a:pt x="109195" y="23374"/>
                    <a:pt x="104708" y="23374"/>
                  </a:cubicBezTo>
                  <a:lnTo>
                    <a:pt x="104708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" name="Freeform: Shape 52">
              <a:extLst>
                <a:ext uri="{FF2B5EF4-FFF2-40B4-BE49-F238E27FC236}">
                  <a16:creationId xmlns:a16="http://schemas.microsoft.com/office/drawing/2014/main" id="{D368E66C-E396-1D9F-7E69-D55D59F2C8CC}"/>
                </a:ext>
              </a:extLst>
            </p:cNvPr>
            <p:cNvSpPr/>
            <p:nvPr/>
          </p:nvSpPr>
          <p:spPr>
            <a:xfrm>
              <a:off x="7383316" y="4686760"/>
              <a:ext cx="200025" cy="28575"/>
            </a:xfrm>
            <a:custGeom>
              <a:avLst/>
              <a:gdLst>
                <a:gd name="connsiteX0" fmla="*/ 194177 w 200025"/>
                <a:gd name="connsiteY0" fmla="*/ 23374 h 28575"/>
                <a:gd name="connsiteX1" fmla="*/ 15250 w 200025"/>
                <a:gd name="connsiteY1" fmla="*/ 23374 h 28575"/>
                <a:gd name="connsiteX2" fmla="*/ 7144 w 200025"/>
                <a:gd name="connsiteY2" fmla="*/ 15259 h 28575"/>
                <a:gd name="connsiteX3" fmla="*/ 15250 w 200025"/>
                <a:gd name="connsiteY3" fmla="*/ 7144 h 28575"/>
                <a:gd name="connsiteX4" fmla="*/ 194177 w 200025"/>
                <a:gd name="connsiteY4" fmla="*/ 7144 h 28575"/>
                <a:gd name="connsiteX5" fmla="*/ 202282 w 200025"/>
                <a:gd name="connsiteY5" fmla="*/ 15259 h 28575"/>
                <a:gd name="connsiteX6" fmla="*/ 194177 w 200025"/>
                <a:gd name="connsiteY6" fmla="*/ 23374 h 28575"/>
                <a:gd name="connsiteX7" fmla="*/ 194177 w 200025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025" h="28575">
                  <a:moveTo>
                    <a:pt x="194177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73"/>
                    <a:pt x="10773" y="7144"/>
                    <a:pt x="15250" y="7144"/>
                  </a:cubicBezTo>
                  <a:lnTo>
                    <a:pt x="194177" y="7144"/>
                  </a:lnTo>
                  <a:cubicBezTo>
                    <a:pt x="198663" y="7144"/>
                    <a:pt x="202282" y="10773"/>
                    <a:pt x="202282" y="15259"/>
                  </a:cubicBezTo>
                  <a:cubicBezTo>
                    <a:pt x="202292" y="19745"/>
                    <a:pt x="198653" y="23374"/>
                    <a:pt x="194177" y="23374"/>
                  </a:cubicBezTo>
                  <a:lnTo>
                    <a:pt x="194177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63" name="Freeform: Shape 53">
              <a:extLst>
                <a:ext uri="{FF2B5EF4-FFF2-40B4-BE49-F238E27FC236}">
                  <a16:creationId xmlns:a16="http://schemas.microsoft.com/office/drawing/2014/main" id="{2DDFDD48-4394-5441-308C-20CCEB2AE9CD}"/>
                </a:ext>
              </a:extLst>
            </p:cNvPr>
            <p:cNvSpPr/>
            <p:nvPr/>
          </p:nvSpPr>
          <p:spPr>
            <a:xfrm>
              <a:off x="7383316" y="4774028"/>
              <a:ext cx="114300" cy="28575"/>
            </a:xfrm>
            <a:custGeom>
              <a:avLst/>
              <a:gdLst>
                <a:gd name="connsiteX0" fmla="*/ 104708 w 114300"/>
                <a:gd name="connsiteY0" fmla="*/ 23374 h 28575"/>
                <a:gd name="connsiteX1" fmla="*/ 15250 w 114300"/>
                <a:gd name="connsiteY1" fmla="*/ 23374 h 28575"/>
                <a:gd name="connsiteX2" fmla="*/ 7144 w 114300"/>
                <a:gd name="connsiteY2" fmla="*/ 15259 h 28575"/>
                <a:gd name="connsiteX3" fmla="*/ 15250 w 114300"/>
                <a:gd name="connsiteY3" fmla="*/ 7144 h 28575"/>
                <a:gd name="connsiteX4" fmla="*/ 104718 w 114300"/>
                <a:gd name="connsiteY4" fmla="*/ 7144 h 28575"/>
                <a:gd name="connsiteX5" fmla="*/ 112833 w 114300"/>
                <a:gd name="connsiteY5" fmla="*/ 15259 h 28575"/>
                <a:gd name="connsiteX6" fmla="*/ 104708 w 114300"/>
                <a:gd name="connsiteY6" fmla="*/ 23374 h 28575"/>
                <a:gd name="connsiteX7" fmla="*/ 104708 w 114300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00" h="28575">
                  <a:moveTo>
                    <a:pt x="104708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73"/>
                    <a:pt x="10773" y="7144"/>
                    <a:pt x="15250" y="7144"/>
                  </a:cubicBezTo>
                  <a:lnTo>
                    <a:pt x="104718" y="7144"/>
                  </a:lnTo>
                  <a:cubicBezTo>
                    <a:pt x="109195" y="7144"/>
                    <a:pt x="112833" y="10773"/>
                    <a:pt x="112833" y="15259"/>
                  </a:cubicBezTo>
                  <a:cubicBezTo>
                    <a:pt x="112824" y="19745"/>
                    <a:pt x="109195" y="23374"/>
                    <a:pt x="104708" y="23374"/>
                  </a:cubicBezTo>
                  <a:lnTo>
                    <a:pt x="104708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64" name="Freeform: Shape 54">
              <a:extLst>
                <a:ext uri="{FF2B5EF4-FFF2-40B4-BE49-F238E27FC236}">
                  <a16:creationId xmlns:a16="http://schemas.microsoft.com/office/drawing/2014/main" id="{4A8E3C28-3413-31E2-BCB3-FC192EC4190A}"/>
                </a:ext>
              </a:extLst>
            </p:cNvPr>
            <p:cNvSpPr/>
            <p:nvPr/>
          </p:nvSpPr>
          <p:spPr>
            <a:xfrm>
              <a:off x="7383316" y="4809832"/>
              <a:ext cx="200025" cy="28575"/>
            </a:xfrm>
            <a:custGeom>
              <a:avLst/>
              <a:gdLst>
                <a:gd name="connsiteX0" fmla="*/ 192214 w 200025"/>
                <a:gd name="connsiteY0" fmla="*/ 23374 h 28575"/>
                <a:gd name="connsiteX1" fmla="*/ 15250 w 200025"/>
                <a:gd name="connsiteY1" fmla="*/ 23374 h 28575"/>
                <a:gd name="connsiteX2" fmla="*/ 7144 w 200025"/>
                <a:gd name="connsiteY2" fmla="*/ 15259 h 28575"/>
                <a:gd name="connsiteX3" fmla="*/ 15250 w 200025"/>
                <a:gd name="connsiteY3" fmla="*/ 7144 h 28575"/>
                <a:gd name="connsiteX4" fmla="*/ 192214 w 200025"/>
                <a:gd name="connsiteY4" fmla="*/ 7144 h 28575"/>
                <a:gd name="connsiteX5" fmla="*/ 200320 w 200025"/>
                <a:gd name="connsiteY5" fmla="*/ 15259 h 28575"/>
                <a:gd name="connsiteX6" fmla="*/ 192214 w 200025"/>
                <a:gd name="connsiteY6" fmla="*/ 23374 h 28575"/>
                <a:gd name="connsiteX7" fmla="*/ 192214 w 200025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025" h="28575">
                  <a:moveTo>
                    <a:pt x="192214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73"/>
                    <a:pt x="10773" y="7144"/>
                    <a:pt x="15250" y="7144"/>
                  </a:cubicBezTo>
                  <a:lnTo>
                    <a:pt x="192214" y="7144"/>
                  </a:lnTo>
                  <a:cubicBezTo>
                    <a:pt x="196691" y="7144"/>
                    <a:pt x="200320" y="10773"/>
                    <a:pt x="200320" y="15259"/>
                  </a:cubicBezTo>
                  <a:cubicBezTo>
                    <a:pt x="200320" y="19745"/>
                    <a:pt x="196691" y="23374"/>
                    <a:pt x="192214" y="23374"/>
                  </a:cubicBezTo>
                  <a:lnTo>
                    <a:pt x="192214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65" name="Freeform: Shape 55">
              <a:extLst>
                <a:ext uri="{FF2B5EF4-FFF2-40B4-BE49-F238E27FC236}">
                  <a16:creationId xmlns:a16="http://schemas.microsoft.com/office/drawing/2014/main" id="{EC144A1A-652B-D4D8-2B39-B222B151B1A3}"/>
                </a:ext>
              </a:extLst>
            </p:cNvPr>
            <p:cNvSpPr/>
            <p:nvPr/>
          </p:nvSpPr>
          <p:spPr>
            <a:xfrm>
              <a:off x="7383316" y="4897100"/>
              <a:ext cx="114300" cy="28575"/>
            </a:xfrm>
            <a:custGeom>
              <a:avLst/>
              <a:gdLst>
                <a:gd name="connsiteX0" fmla="*/ 104708 w 114300"/>
                <a:gd name="connsiteY0" fmla="*/ 23374 h 28575"/>
                <a:gd name="connsiteX1" fmla="*/ 15250 w 114300"/>
                <a:gd name="connsiteY1" fmla="*/ 23374 h 28575"/>
                <a:gd name="connsiteX2" fmla="*/ 7144 w 114300"/>
                <a:gd name="connsiteY2" fmla="*/ 15259 h 28575"/>
                <a:gd name="connsiteX3" fmla="*/ 15250 w 114300"/>
                <a:gd name="connsiteY3" fmla="*/ 7144 h 28575"/>
                <a:gd name="connsiteX4" fmla="*/ 104718 w 114300"/>
                <a:gd name="connsiteY4" fmla="*/ 7144 h 28575"/>
                <a:gd name="connsiteX5" fmla="*/ 112833 w 114300"/>
                <a:gd name="connsiteY5" fmla="*/ 15259 h 28575"/>
                <a:gd name="connsiteX6" fmla="*/ 104708 w 114300"/>
                <a:gd name="connsiteY6" fmla="*/ 23374 h 28575"/>
                <a:gd name="connsiteX7" fmla="*/ 104708 w 114300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300" h="28575">
                  <a:moveTo>
                    <a:pt x="104708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73"/>
                    <a:pt x="10773" y="7144"/>
                    <a:pt x="15250" y="7144"/>
                  </a:cubicBezTo>
                  <a:lnTo>
                    <a:pt x="104718" y="7144"/>
                  </a:lnTo>
                  <a:cubicBezTo>
                    <a:pt x="109195" y="7144"/>
                    <a:pt x="112833" y="10773"/>
                    <a:pt x="112833" y="15259"/>
                  </a:cubicBezTo>
                  <a:cubicBezTo>
                    <a:pt x="112824" y="19736"/>
                    <a:pt x="109195" y="23374"/>
                    <a:pt x="104708" y="23374"/>
                  </a:cubicBezTo>
                  <a:lnTo>
                    <a:pt x="104708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66" name="Freeform: Shape 56">
              <a:extLst>
                <a:ext uri="{FF2B5EF4-FFF2-40B4-BE49-F238E27FC236}">
                  <a16:creationId xmlns:a16="http://schemas.microsoft.com/office/drawing/2014/main" id="{4E37DFCC-8FFE-DD5C-841E-990D7C95FAA8}"/>
                </a:ext>
              </a:extLst>
            </p:cNvPr>
            <p:cNvSpPr/>
            <p:nvPr/>
          </p:nvSpPr>
          <p:spPr>
            <a:xfrm>
              <a:off x="7383316" y="4932905"/>
              <a:ext cx="200025" cy="28575"/>
            </a:xfrm>
            <a:custGeom>
              <a:avLst/>
              <a:gdLst>
                <a:gd name="connsiteX0" fmla="*/ 190938 w 200025"/>
                <a:gd name="connsiteY0" fmla="*/ 23374 h 28575"/>
                <a:gd name="connsiteX1" fmla="*/ 15250 w 200025"/>
                <a:gd name="connsiteY1" fmla="*/ 23374 h 28575"/>
                <a:gd name="connsiteX2" fmla="*/ 7144 w 200025"/>
                <a:gd name="connsiteY2" fmla="*/ 15259 h 28575"/>
                <a:gd name="connsiteX3" fmla="*/ 15250 w 200025"/>
                <a:gd name="connsiteY3" fmla="*/ 7144 h 28575"/>
                <a:gd name="connsiteX4" fmla="*/ 190938 w 200025"/>
                <a:gd name="connsiteY4" fmla="*/ 7144 h 28575"/>
                <a:gd name="connsiteX5" fmla="*/ 199044 w 200025"/>
                <a:gd name="connsiteY5" fmla="*/ 15259 h 28575"/>
                <a:gd name="connsiteX6" fmla="*/ 190938 w 200025"/>
                <a:gd name="connsiteY6" fmla="*/ 23374 h 28575"/>
                <a:gd name="connsiteX7" fmla="*/ 190938 w 200025"/>
                <a:gd name="connsiteY7" fmla="*/ 2337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025" h="28575">
                  <a:moveTo>
                    <a:pt x="190938" y="23374"/>
                  </a:moveTo>
                  <a:lnTo>
                    <a:pt x="15250" y="23374"/>
                  </a:lnTo>
                  <a:cubicBezTo>
                    <a:pt x="10773" y="23374"/>
                    <a:pt x="7144" y="19745"/>
                    <a:pt x="7144" y="15259"/>
                  </a:cubicBezTo>
                  <a:cubicBezTo>
                    <a:pt x="7144" y="10773"/>
                    <a:pt x="10773" y="7144"/>
                    <a:pt x="15250" y="7144"/>
                  </a:cubicBezTo>
                  <a:lnTo>
                    <a:pt x="190938" y="7144"/>
                  </a:lnTo>
                  <a:cubicBezTo>
                    <a:pt x="195415" y="7144"/>
                    <a:pt x="199044" y="10773"/>
                    <a:pt x="199044" y="15259"/>
                  </a:cubicBezTo>
                  <a:cubicBezTo>
                    <a:pt x="199053" y="19736"/>
                    <a:pt x="195415" y="23374"/>
                    <a:pt x="190938" y="23374"/>
                  </a:cubicBezTo>
                  <a:lnTo>
                    <a:pt x="190938" y="233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67" name="Freeform: Shape 57">
              <a:extLst>
                <a:ext uri="{FF2B5EF4-FFF2-40B4-BE49-F238E27FC236}">
                  <a16:creationId xmlns:a16="http://schemas.microsoft.com/office/drawing/2014/main" id="{EED2AA99-4E86-2F9B-D97B-24F2439F24F5}"/>
                </a:ext>
              </a:extLst>
            </p:cNvPr>
            <p:cNvSpPr/>
            <p:nvPr/>
          </p:nvSpPr>
          <p:spPr>
            <a:xfrm>
              <a:off x="7299256" y="4641976"/>
              <a:ext cx="76200" cy="57150"/>
            </a:xfrm>
            <a:custGeom>
              <a:avLst/>
              <a:gdLst>
                <a:gd name="connsiteX0" fmla="*/ 29481 w 76200"/>
                <a:gd name="connsiteY0" fmla="*/ 58310 h 57150"/>
                <a:gd name="connsiteX1" fmla="*/ 29434 w 76200"/>
                <a:gd name="connsiteY1" fmla="*/ 58310 h 57150"/>
                <a:gd name="connsiteX2" fmla="*/ 23509 w 76200"/>
                <a:gd name="connsiteY2" fmla="*/ 55681 h 57150"/>
                <a:gd name="connsiteX3" fmla="*/ 9279 w 76200"/>
                <a:gd name="connsiteY3" fmla="*/ 40184 h 57150"/>
                <a:gd name="connsiteX4" fmla="*/ 9774 w 76200"/>
                <a:gd name="connsiteY4" fmla="*/ 28725 h 57150"/>
                <a:gd name="connsiteX5" fmla="*/ 21233 w 76200"/>
                <a:gd name="connsiteY5" fmla="*/ 29211 h 57150"/>
                <a:gd name="connsiteX6" fmla="*/ 29558 w 76200"/>
                <a:gd name="connsiteY6" fmla="*/ 38279 h 57150"/>
                <a:gd name="connsiteX7" fmla="*/ 56504 w 76200"/>
                <a:gd name="connsiteY7" fmla="*/ 9694 h 57150"/>
                <a:gd name="connsiteX8" fmla="*/ 67972 w 76200"/>
                <a:gd name="connsiteY8" fmla="*/ 9351 h 57150"/>
                <a:gd name="connsiteX9" fmla="*/ 68315 w 76200"/>
                <a:gd name="connsiteY9" fmla="*/ 20819 h 57150"/>
                <a:gd name="connsiteX10" fmla="*/ 35387 w 76200"/>
                <a:gd name="connsiteY10" fmla="*/ 55757 h 57150"/>
                <a:gd name="connsiteX11" fmla="*/ 29481 w 76200"/>
                <a:gd name="connsiteY11" fmla="*/ 58310 h 57150"/>
                <a:gd name="connsiteX12" fmla="*/ 29481 w 76200"/>
                <a:gd name="connsiteY12" fmla="*/ 5831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200" h="57150">
                  <a:moveTo>
                    <a:pt x="29481" y="58310"/>
                  </a:moveTo>
                  <a:lnTo>
                    <a:pt x="29434" y="58310"/>
                  </a:lnTo>
                  <a:cubicBezTo>
                    <a:pt x="27176" y="58300"/>
                    <a:pt x="25033" y="57338"/>
                    <a:pt x="23509" y="55681"/>
                  </a:cubicBezTo>
                  <a:lnTo>
                    <a:pt x="9279" y="40184"/>
                  </a:lnTo>
                  <a:cubicBezTo>
                    <a:pt x="6250" y="36878"/>
                    <a:pt x="6469" y="31754"/>
                    <a:pt x="9774" y="28725"/>
                  </a:cubicBezTo>
                  <a:cubicBezTo>
                    <a:pt x="13070" y="25696"/>
                    <a:pt x="18204" y="25906"/>
                    <a:pt x="21233" y="29211"/>
                  </a:cubicBezTo>
                  <a:lnTo>
                    <a:pt x="29558" y="38279"/>
                  </a:lnTo>
                  <a:lnTo>
                    <a:pt x="56504" y="9694"/>
                  </a:lnTo>
                  <a:cubicBezTo>
                    <a:pt x="59571" y="6427"/>
                    <a:pt x="64714" y="6284"/>
                    <a:pt x="67972" y="9351"/>
                  </a:cubicBezTo>
                  <a:cubicBezTo>
                    <a:pt x="71230" y="12428"/>
                    <a:pt x="71382" y="17562"/>
                    <a:pt x="68315" y="20819"/>
                  </a:cubicBezTo>
                  <a:lnTo>
                    <a:pt x="35387" y="55757"/>
                  </a:lnTo>
                  <a:cubicBezTo>
                    <a:pt x="33853" y="57395"/>
                    <a:pt x="31710" y="58310"/>
                    <a:pt x="29481" y="58310"/>
                  </a:cubicBezTo>
                  <a:lnTo>
                    <a:pt x="29481" y="583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68" name="Freeform: Shape 58">
              <a:extLst>
                <a:ext uri="{FF2B5EF4-FFF2-40B4-BE49-F238E27FC236}">
                  <a16:creationId xmlns:a16="http://schemas.microsoft.com/office/drawing/2014/main" id="{20343788-7280-60F6-B817-56CB639EC3F5}"/>
                </a:ext>
              </a:extLst>
            </p:cNvPr>
            <p:cNvSpPr/>
            <p:nvPr/>
          </p:nvSpPr>
          <p:spPr>
            <a:xfrm>
              <a:off x="7299256" y="4765053"/>
              <a:ext cx="76200" cy="57150"/>
            </a:xfrm>
            <a:custGeom>
              <a:avLst/>
              <a:gdLst>
                <a:gd name="connsiteX0" fmla="*/ 29481 w 76200"/>
                <a:gd name="connsiteY0" fmla="*/ 58305 h 57150"/>
                <a:gd name="connsiteX1" fmla="*/ 29434 w 76200"/>
                <a:gd name="connsiteY1" fmla="*/ 58305 h 57150"/>
                <a:gd name="connsiteX2" fmla="*/ 23509 w 76200"/>
                <a:gd name="connsiteY2" fmla="*/ 55676 h 57150"/>
                <a:gd name="connsiteX3" fmla="*/ 9279 w 76200"/>
                <a:gd name="connsiteY3" fmla="*/ 40179 h 57150"/>
                <a:gd name="connsiteX4" fmla="*/ 9774 w 76200"/>
                <a:gd name="connsiteY4" fmla="*/ 28720 h 57150"/>
                <a:gd name="connsiteX5" fmla="*/ 21233 w 76200"/>
                <a:gd name="connsiteY5" fmla="*/ 29215 h 57150"/>
                <a:gd name="connsiteX6" fmla="*/ 29558 w 76200"/>
                <a:gd name="connsiteY6" fmla="*/ 38283 h 57150"/>
                <a:gd name="connsiteX7" fmla="*/ 56504 w 76200"/>
                <a:gd name="connsiteY7" fmla="*/ 9689 h 57150"/>
                <a:gd name="connsiteX8" fmla="*/ 67972 w 76200"/>
                <a:gd name="connsiteY8" fmla="*/ 9356 h 57150"/>
                <a:gd name="connsiteX9" fmla="*/ 68315 w 76200"/>
                <a:gd name="connsiteY9" fmla="*/ 20824 h 57150"/>
                <a:gd name="connsiteX10" fmla="*/ 35387 w 76200"/>
                <a:gd name="connsiteY10" fmla="*/ 55762 h 57150"/>
                <a:gd name="connsiteX11" fmla="*/ 29481 w 76200"/>
                <a:gd name="connsiteY11" fmla="*/ 58305 h 57150"/>
                <a:gd name="connsiteX12" fmla="*/ 29481 w 76200"/>
                <a:gd name="connsiteY12" fmla="*/ 5830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200" h="57150">
                  <a:moveTo>
                    <a:pt x="29481" y="58305"/>
                  </a:moveTo>
                  <a:lnTo>
                    <a:pt x="29434" y="58305"/>
                  </a:lnTo>
                  <a:cubicBezTo>
                    <a:pt x="27176" y="58295"/>
                    <a:pt x="25033" y="57333"/>
                    <a:pt x="23509" y="55676"/>
                  </a:cubicBezTo>
                  <a:lnTo>
                    <a:pt x="9279" y="40179"/>
                  </a:lnTo>
                  <a:cubicBezTo>
                    <a:pt x="6250" y="36883"/>
                    <a:pt x="6469" y="31749"/>
                    <a:pt x="9774" y="28720"/>
                  </a:cubicBezTo>
                  <a:cubicBezTo>
                    <a:pt x="13070" y="25691"/>
                    <a:pt x="18204" y="25910"/>
                    <a:pt x="21233" y="29215"/>
                  </a:cubicBezTo>
                  <a:lnTo>
                    <a:pt x="29558" y="38283"/>
                  </a:lnTo>
                  <a:lnTo>
                    <a:pt x="56504" y="9689"/>
                  </a:lnTo>
                  <a:cubicBezTo>
                    <a:pt x="59571" y="6432"/>
                    <a:pt x="64714" y="6279"/>
                    <a:pt x="67972" y="9356"/>
                  </a:cubicBezTo>
                  <a:cubicBezTo>
                    <a:pt x="71230" y="12432"/>
                    <a:pt x="71382" y="17566"/>
                    <a:pt x="68315" y="20824"/>
                  </a:cubicBezTo>
                  <a:lnTo>
                    <a:pt x="35387" y="55762"/>
                  </a:lnTo>
                  <a:cubicBezTo>
                    <a:pt x="33853" y="57390"/>
                    <a:pt x="31710" y="58305"/>
                    <a:pt x="29481" y="58305"/>
                  </a:cubicBezTo>
                  <a:lnTo>
                    <a:pt x="29481" y="583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69" name="Freeform: Shape 59">
              <a:extLst>
                <a:ext uri="{FF2B5EF4-FFF2-40B4-BE49-F238E27FC236}">
                  <a16:creationId xmlns:a16="http://schemas.microsoft.com/office/drawing/2014/main" id="{04819A42-0945-02C1-211D-B6E1226688A5}"/>
                </a:ext>
              </a:extLst>
            </p:cNvPr>
            <p:cNvSpPr/>
            <p:nvPr/>
          </p:nvSpPr>
          <p:spPr>
            <a:xfrm>
              <a:off x="7299248" y="4890176"/>
              <a:ext cx="76200" cy="76200"/>
            </a:xfrm>
            <a:custGeom>
              <a:avLst/>
              <a:gdLst>
                <a:gd name="connsiteX0" fmla="*/ 70523 w 76200"/>
                <a:gd name="connsiteY0" fmla="*/ 38833 h 76200"/>
                <a:gd name="connsiteX1" fmla="*/ 38833 w 76200"/>
                <a:gd name="connsiteY1" fmla="*/ 70523 h 76200"/>
                <a:gd name="connsiteX2" fmla="*/ 7144 w 76200"/>
                <a:gd name="connsiteY2" fmla="*/ 38833 h 76200"/>
                <a:gd name="connsiteX3" fmla="*/ 38833 w 76200"/>
                <a:gd name="connsiteY3" fmla="*/ 7144 h 76200"/>
                <a:gd name="connsiteX4" fmla="*/ 70523 w 76200"/>
                <a:gd name="connsiteY4" fmla="*/ 38833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0523" y="38833"/>
                  </a:moveTo>
                  <a:cubicBezTo>
                    <a:pt x="70523" y="56335"/>
                    <a:pt x="56335" y="70523"/>
                    <a:pt x="38833" y="70523"/>
                  </a:cubicBezTo>
                  <a:cubicBezTo>
                    <a:pt x="21332" y="70523"/>
                    <a:pt x="7144" y="56335"/>
                    <a:pt x="7144" y="38833"/>
                  </a:cubicBezTo>
                  <a:cubicBezTo>
                    <a:pt x="7144" y="21332"/>
                    <a:pt x="21332" y="7144"/>
                    <a:pt x="38833" y="7144"/>
                  </a:cubicBezTo>
                  <a:cubicBezTo>
                    <a:pt x="56335" y="7144"/>
                    <a:pt x="70523" y="21332"/>
                    <a:pt x="70523" y="388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72931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5FFD05-DA13-4586-8689-F7C5A1E64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5FFD05-DA13-4586-8689-F7C5A1E64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CE9BFC-8864-4B3F-B888-5F528EA261BC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fld id="{00000000-1234-1234-1234-123412341234}" type="slidenum">
              <a:rPr kumimoji="0" lang="nl-NL" sz="1733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Ubuntu Ligh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  <a:tabLst/>
                <a:defRPr/>
              </a:pPr>
              <a:t>3</a:t>
            </a:fld>
            <a:endParaRPr kumimoji="0" lang="nl-NL" sz="1733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Ubuntu Light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27C0868B-A5FC-4E71-9B18-BB6D27B302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440" y="336182"/>
            <a:ext cx="11705119" cy="1318998"/>
          </a:xfrm>
        </p:spPr>
        <p:txBody>
          <a:bodyPr vert="horz" tIns="0" bIns="0" anchor="t"/>
          <a:lstStyle/>
          <a:p>
            <a:pPr algn="l"/>
            <a:r>
              <a:rPr lang="en-US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me Series Forecasting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EE3682B-36DD-8122-AD41-A50E944C57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30" y="6146867"/>
            <a:ext cx="1279999" cy="5248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6445B68-8578-CEF1-BEC4-5F4CFBBB43EB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220" y="6441734"/>
            <a:ext cx="1905000" cy="207708"/>
          </a:xfrm>
          <a:prstGeom prst="rect">
            <a:avLst/>
          </a:prstGeom>
        </p:spPr>
      </p:pic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F6C6FDA-A230-2EDD-8BC8-9249877DE41B}"/>
              </a:ext>
            </a:extLst>
          </p:cNvPr>
          <p:cNvSpPr txBox="1">
            <a:spLocks/>
          </p:cNvSpPr>
          <p:nvPr/>
        </p:nvSpPr>
        <p:spPr>
          <a:xfrm>
            <a:off x="243444" y="1339027"/>
            <a:ext cx="11705115" cy="4281224"/>
          </a:xfrm>
          <a:prstGeom prst="rect">
            <a:avLst/>
          </a:prstGeom>
        </p:spPr>
        <p:txBody>
          <a:bodyPr vert="horz" lIns="0" tIns="0" rIns="0" bIns="0" rtlCol="0" anchor="t">
            <a:normAutofit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30400" indent="-230400" defTabSz="914400">
              <a:spcAft>
                <a:spcPts val="1200"/>
              </a:spcAft>
              <a:buClr>
                <a:srgbClr val="145275"/>
              </a:buClr>
              <a:buFont typeface="Arial" panose="020B0604020202020204" pitchFamily="34" charset="0"/>
              <a:buChar char="•"/>
              <a:defRPr/>
            </a:pPr>
            <a:r>
              <a:rPr lang="en-US" sz="2400" b="1" kern="0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cenario:</a:t>
            </a:r>
            <a:r>
              <a:rPr lang="en-US" sz="2400" kern="0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You are a data scientist in Corporation </a:t>
            </a:r>
            <a:r>
              <a:rPr lang="en-US" sz="2400" kern="0" dirty="0" err="1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avorita</a:t>
            </a:r>
            <a:r>
              <a:rPr lang="en-US" sz="2400" kern="0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a large Ecuadorian-based grocery retailer.</a:t>
            </a:r>
          </a:p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1452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kern="0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rporation </a:t>
            </a:r>
            <a:r>
              <a:rPr lang="en-US" sz="2400" kern="0" dirty="0" err="1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avorita</a:t>
            </a:r>
            <a:r>
              <a:rPr lang="en-US" sz="2400" kern="0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want to ensure that they always have the right quantity of products in stock.</a:t>
            </a:r>
          </a:p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1452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kern="0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o do this you have decided to build a series of machine learning models to forecast the demand of products in various locations.</a:t>
            </a:r>
          </a:p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1452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kern="0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e marketing and sales team have provided you with some data to aid this endeavor.</a:t>
            </a:r>
          </a:p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14527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kern="0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Your team uses CRISP-DM Framework for Data Science </a:t>
            </a:r>
          </a:p>
          <a:p>
            <a:pPr marL="2714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145275"/>
              </a:buClr>
              <a:buSzTx/>
              <a:defRPr/>
            </a:pPr>
            <a:r>
              <a:rPr lang="en-US" sz="2400" kern="0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ject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25F22E3-CB0F-30F6-70F5-BD003C3A1A23}"/>
              </a:ext>
            </a:extLst>
          </p:cNvPr>
          <p:cNvGrpSpPr>
            <a:grpSpLocks/>
          </p:cNvGrpSpPr>
          <p:nvPr/>
        </p:nvGrpSpPr>
        <p:grpSpPr>
          <a:xfrm>
            <a:off x="8920770" y="4606609"/>
            <a:ext cx="2434667" cy="1540258"/>
            <a:chOff x="6916929" y="2128635"/>
            <a:chExt cx="3478095" cy="2200368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A57B9B0-EA82-3F10-06C1-F5C4E9F853A9}"/>
                </a:ext>
              </a:extLst>
            </p:cNvPr>
            <p:cNvSpPr/>
            <p:nvPr/>
          </p:nvSpPr>
          <p:spPr>
            <a:xfrm flipV="1">
              <a:off x="9865239" y="2924737"/>
              <a:ext cx="188228" cy="83839"/>
            </a:xfrm>
            <a:custGeom>
              <a:avLst/>
              <a:gdLst>
                <a:gd name="connsiteX0" fmla="*/ 181883 w 188228"/>
                <a:gd name="connsiteY0" fmla="*/ 719 h 83839"/>
                <a:gd name="connsiteX1" fmla="*/ 180896 w 188228"/>
                <a:gd name="connsiteY1" fmla="*/ 39763 h 83839"/>
                <a:gd name="connsiteX2" fmla="*/ 179992 w 188228"/>
                <a:gd name="connsiteY2" fmla="*/ 77991 h 83839"/>
                <a:gd name="connsiteX3" fmla="*/ 181883 w 188228"/>
                <a:gd name="connsiteY3" fmla="*/ 76106 h 83839"/>
                <a:gd name="connsiteX4" fmla="*/ 90455 w 188228"/>
                <a:gd name="connsiteY4" fmla="*/ 74974 h 83839"/>
                <a:gd name="connsiteX5" fmla="*/ -980 w 188228"/>
                <a:gd name="connsiteY5" fmla="*/ 74546 h 83839"/>
                <a:gd name="connsiteX6" fmla="*/ 2466 w 188228"/>
                <a:gd name="connsiteY6" fmla="*/ 77991 h 83839"/>
                <a:gd name="connsiteX7" fmla="*/ 2100 w 188228"/>
                <a:gd name="connsiteY7" fmla="*/ 719 h 83839"/>
                <a:gd name="connsiteX8" fmla="*/ -980 w 188228"/>
                <a:gd name="connsiteY8" fmla="*/ 3799 h 83839"/>
                <a:gd name="connsiteX9" fmla="*/ 44223 w 188228"/>
                <a:gd name="connsiteY9" fmla="*/ 3419 h 83839"/>
                <a:gd name="connsiteX10" fmla="*/ 89654 w 188228"/>
                <a:gd name="connsiteY10" fmla="*/ 2646 h 83839"/>
                <a:gd name="connsiteX11" fmla="*/ 181883 w 188228"/>
                <a:gd name="connsiteY11" fmla="*/ 719 h 83839"/>
                <a:gd name="connsiteX12" fmla="*/ 91249 w 188228"/>
                <a:gd name="connsiteY12" fmla="*/ -1207 h 83839"/>
                <a:gd name="connsiteX13" fmla="*/ 45252 w 188228"/>
                <a:gd name="connsiteY13" fmla="*/ -1974 h 83839"/>
                <a:gd name="connsiteX14" fmla="*/ -980 w 188228"/>
                <a:gd name="connsiteY14" fmla="*/ -2360 h 83839"/>
                <a:gd name="connsiteX15" fmla="*/ -4039 w 188228"/>
                <a:gd name="connsiteY15" fmla="*/ -2381 h 83839"/>
                <a:gd name="connsiteX16" fmla="*/ -4060 w 188228"/>
                <a:gd name="connsiteY16" fmla="*/ 719 h 83839"/>
                <a:gd name="connsiteX17" fmla="*/ -4432 w 188228"/>
                <a:gd name="connsiteY17" fmla="*/ 77991 h 83839"/>
                <a:gd name="connsiteX18" fmla="*/ -4446 w 188228"/>
                <a:gd name="connsiteY18" fmla="*/ 81458 h 83839"/>
                <a:gd name="connsiteX19" fmla="*/ -980 w 188228"/>
                <a:gd name="connsiteY19" fmla="*/ 81437 h 83839"/>
                <a:gd name="connsiteX20" fmla="*/ 90455 w 188228"/>
                <a:gd name="connsiteY20" fmla="*/ 81009 h 83839"/>
                <a:gd name="connsiteX21" fmla="*/ 181883 w 188228"/>
                <a:gd name="connsiteY21" fmla="*/ 79877 h 83839"/>
                <a:gd name="connsiteX22" fmla="*/ 183782 w 188228"/>
                <a:gd name="connsiteY22" fmla="*/ 79856 h 83839"/>
                <a:gd name="connsiteX23" fmla="*/ 183762 w 188228"/>
                <a:gd name="connsiteY23" fmla="*/ 77991 h 83839"/>
                <a:gd name="connsiteX24" fmla="*/ 182857 w 188228"/>
                <a:gd name="connsiteY24" fmla="*/ 38948 h 83839"/>
                <a:gd name="connsiteX25" fmla="*/ 181883 w 188228"/>
                <a:gd name="connsiteY25" fmla="*/ 719 h 8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8228" h="83839">
                  <a:moveTo>
                    <a:pt x="181883" y="719"/>
                  </a:moveTo>
                  <a:lnTo>
                    <a:pt x="180896" y="39763"/>
                  </a:lnTo>
                  <a:cubicBezTo>
                    <a:pt x="180585" y="52628"/>
                    <a:pt x="180129" y="65348"/>
                    <a:pt x="179992" y="77991"/>
                  </a:cubicBezTo>
                  <a:lnTo>
                    <a:pt x="181883" y="76106"/>
                  </a:lnTo>
                  <a:cubicBezTo>
                    <a:pt x="151403" y="75754"/>
                    <a:pt x="120929" y="75015"/>
                    <a:pt x="90455" y="74974"/>
                  </a:cubicBezTo>
                  <a:lnTo>
                    <a:pt x="-980" y="74546"/>
                  </a:lnTo>
                  <a:lnTo>
                    <a:pt x="2466" y="77991"/>
                  </a:lnTo>
                  <a:lnTo>
                    <a:pt x="2100" y="719"/>
                  </a:lnTo>
                  <a:lnTo>
                    <a:pt x="-980" y="3799"/>
                  </a:lnTo>
                  <a:cubicBezTo>
                    <a:pt x="14088" y="3675"/>
                    <a:pt x="29114" y="3744"/>
                    <a:pt x="44223" y="3419"/>
                  </a:cubicBezTo>
                  <a:lnTo>
                    <a:pt x="89654" y="2646"/>
                  </a:lnTo>
                  <a:close/>
                  <a:moveTo>
                    <a:pt x="181883" y="719"/>
                  </a:moveTo>
                  <a:lnTo>
                    <a:pt x="91249" y="-1207"/>
                  </a:lnTo>
                  <a:lnTo>
                    <a:pt x="45252" y="-1974"/>
                  </a:lnTo>
                  <a:cubicBezTo>
                    <a:pt x="29881" y="-2305"/>
                    <a:pt x="14433" y="-2236"/>
                    <a:pt x="-980" y="-2360"/>
                  </a:cubicBezTo>
                  <a:lnTo>
                    <a:pt x="-4039" y="-2381"/>
                  </a:lnTo>
                  <a:lnTo>
                    <a:pt x="-4060" y="719"/>
                  </a:lnTo>
                  <a:lnTo>
                    <a:pt x="-4432" y="77991"/>
                  </a:lnTo>
                  <a:lnTo>
                    <a:pt x="-4446" y="81458"/>
                  </a:lnTo>
                  <a:lnTo>
                    <a:pt x="-980" y="81437"/>
                  </a:lnTo>
                  <a:lnTo>
                    <a:pt x="90455" y="81009"/>
                  </a:lnTo>
                  <a:cubicBezTo>
                    <a:pt x="120929" y="80968"/>
                    <a:pt x="151403" y="80229"/>
                    <a:pt x="181883" y="79877"/>
                  </a:cubicBezTo>
                  <a:lnTo>
                    <a:pt x="183782" y="79856"/>
                  </a:lnTo>
                  <a:lnTo>
                    <a:pt x="183762" y="77991"/>
                  </a:lnTo>
                  <a:cubicBezTo>
                    <a:pt x="183637" y="64878"/>
                    <a:pt x="183168" y="51840"/>
                    <a:pt x="182857" y="38948"/>
                  </a:cubicBezTo>
                  <a:lnTo>
                    <a:pt x="181883" y="719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14950E5-BCCA-A92A-E451-1197ADB97589}"/>
                </a:ext>
              </a:extLst>
            </p:cNvPr>
            <p:cNvSpPr/>
            <p:nvPr/>
          </p:nvSpPr>
          <p:spPr>
            <a:xfrm flipV="1">
              <a:off x="8195693" y="3022173"/>
              <a:ext cx="188235" cy="83839"/>
            </a:xfrm>
            <a:custGeom>
              <a:avLst/>
              <a:gdLst>
                <a:gd name="connsiteX0" fmla="*/ 183979 w 188235"/>
                <a:gd name="connsiteY0" fmla="*/ 879 h 83839"/>
                <a:gd name="connsiteX1" fmla="*/ 182998 w 188235"/>
                <a:gd name="connsiteY1" fmla="*/ 39923 h 83839"/>
                <a:gd name="connsiteX2" fmla="*/ 182094 w 188235"/>
                <a:gd name="connsiteY2" fmla="*/ 78151 h 83839"/>
                <a:gd name="connsiteX3" fmla="*/ 183979 w 188235"/>
                <a:gd name="connsiteY3" fmla="*/ 76266 h 83839"/>
                <a:gd name="connsiteX4" fmla="*/ 92551 w 188235"/>
                <a:gd name="connsiteY4" fmla="*/ 75134 h 83839"/>
                <a:gd name="connsiteX5" fmla="*/ 1116 w 188235"/>
                <a:gd name="connsiteY5" fmla="*/ 74706 h 83839"/>
                <a:gd name="connsiteX6" fmla="*/ 4568 w 188235"/>
                <a:gd name="connsiteY6" fmla="*/ 78151 h 83839"/>
                <a:gd name="connsiteX7" fmla="*/ 4195 w 188235"/>
                <a:gd name="connsiteY7" fmla="*/ 879 h 83839"/>
                <a:gd name="connsiteX8" fmla="*/ 1116 w 188235"/>
                <a:gd name="connsiteY8" fmla="*/ 3959 h 83839"/>
                <a:gd name="connsiteX9" fmla="*/ 46319 w 188235"/>
                <a:gd name="connsiteY9" fmla="*/ 3579 h 83839"/>
                <a:gd name="connsiteX10" fmla="*/ 91750 w 188235"/>
                <a:gd name="connsiteY10" fmla="*/ 2806 h 83839"/>
                <a:gd name="connsiteX11" fmla="*/ 183979 w 188235"/>
                <a:gd name="connsiteY11" fmla="*/ 879 h 83839"/>
                <a:gd name="connsiteX12" fmla="*/ 93345 w 188235"/>
                <a:gd name="connsiteY12" fmla="*/ -1040 h 83839"/>
                <a:gd name="connsiteX13" fmla="*/ 47348 w 188235"/>
                <a:gd name="connsiteY13" fmla="*/ -1814 h 83839"/>
                <a:gd name="connsiteX14" fmla="*/ 1116 w 188235"/>
                <a:gd name="connsiteY14" fmla="*/ -2194 h 83839"/>
                <a:gd name="connsiteX15" fmla="*/ -1943 w 188235"/>
                <a:gd name="connsiteY15" fmla="*/ -2221 h 83839"/>
                <a:gd name="connsiteX16" fmla="*/ -1957 w 188235"/>
                <a:gd name="connsiteY16" fmla="*/ 879 h 83839"/>
                <a:gd name="connsiteX17" fmla="*/ -2330 w 188235"/>
                <a:gd name="connsiteY17" fmla="*/ 78151 h 83839"/>
                <a:gd name="connsiteX18" fmla="*/ -2351 w 188235"/>
                <a:gd name="connsiteY18" fmla="*/ 81618 h 83839"/>
                <a:gd name="connsiteX19" fmla="*/ 1116 w 188235"/>
                <a:gd name="connsiteY19" fmla="*/ 81597 h 83839"/>
                <a:gd name="connsiteX20" fmla="*/ 92551 w 188235"/>
                <a:gd name="connsiteY20" fmla="*/ 81169 h 83839"/>
                <a:gd name="connsiteX21" fmla="*/ 183979 w 188235"/>
                <a:gd name="connsiteY21" fmla="*/ 80037 h 83839"/>
                <a:gd name="connsiteX22" fmla="*/ 185885 w 188235"/>
                <a:gd name="connsiteY22" fmla="*/ 80016 h 83839"/>
                <a:gd name="connsiteX23" fmla="*/ 185864 w 188235"/>
                <a:gd name="connsiteY23" fmla="*/ 78151 h 83839"/>
                <a:gd name="connsiteX24" fmla="*/ 184960 w 188235"/>
                <a:gd name="connsiteY24" fmla="*/ 39108 h 83839"/>
                <a:gd name="connsiteX25" fmla="*/ 183979 w 188235"/>
                <a:gd name="connsiteY25" fmla="*/ 879 h 8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8235" h="83839">
                  <a:moveTo>
                    <a:pt x="183979" y="879"/>
                  </a:moveTo>
                  <a:lnTo>
                    <a:pt x="182998" y="39923"/>
                  </a:lnTo>
                  <a:cubicBezTo>
                    <a:pt x="182688" y="52788"/>
                    <a:pt x="182225" y="65508"/>
                    <a:pt x="182094" y="78151"/>
                  </a:cubicBezTo>
                  <a:lnTo>
                    <a:pt x="183979" y="76266"/>
                  </a:lnTo>
                  <a:cubicBezTo>
                    <a:pt x="153498" y="75914"/>
                    <a:pt x="123025" y="75175"/>
                    <a:pt x="92551" y="75134"/>
                  </a:cubicBezTo>
                  <a:lnTo>
                    <a:pt x="1116" y="74706"/>
                  </a:lnTo>
                  <a:lnTo>
                    <a:pt x="4568" y="78151"/>
                  </a:lnTo>
                  <a:lnTo>
                    <a:pt x="4195" y="879"/>
                  </a:lnTo>
                  <a:lnTo>
                    <a:pt x="1116" y="3959"/>
                  </a:lnTo>
                  <a:cubicBezTo>
                    <a:pt x="16190" y="3842"/>
                    <a:pt x="31210" y="3904"/>
                    <a:pt x="46319" y="3579"/>
                  </a:cubicBezTo>
                  <a:lnTo>
                    <a:pt x="91750" y="2806"/>
                  </a:lnTo>
                  <a:close/>
                  <a:moveTo>
                    <a:pt x="183979" y="879"/>
                  </a:moveTo>
                  <a:lnTo>
                    <a:pt x="93345" y="-1040"/>
                  </a:lnTo>
                  <a:lnTo>
                    <a:pt x="47348" y="-1814"/>
                  </a:lnTo>
                  <a:cubicBezTo>
                    <a:pt x="31983" y="-2145"/>
                    <a:pt x="16529" y="-2076"/>
                    <a:pt x="1116" y="-2194"/>
                  </a:cubicBezTo>
                  <a:lnTo>
                    <a:pt x="-1943" y="-2221"/>
                  </a:lnTo>
                  <a:lnTo>
                    <a:pt x="-1957" y="879"/>
                  </a:lnTo>
                  <a:lnTo>
                    <a:pt x="-2330" y="78151"/>
                  </a:lnTo>
                  <a:lnTo>
                    <a:pt x="-2351" y="81618"/>
                  </a:lnTo>
                  <a:lnTo>
                    <a:pt x="1116" y="81597"/>
                  </a:lnTo>
                  <a:lnTo>
                    <a:pt x="92551" y="81169"/>
                  </a:lnTo>
                  <a:cubicBezTo>
                    <a:pt x="123025" y="81135"/>
                    <a:pt x="153498" y="80389"/>
                    <a:pt x="183979" y="80037"/>
                  </a:cubicBezTo>
                  <a:lnTo>
                    <a:pt x="185885" y="80016"/>
                  </a:lnTo>
                  <a:lnTo>
                    <a:pt x="185864" y="78151"/>
                  </a:lnTo>
                  <a:cubicBezTo>
                    <a:pt x="185733" y="65038"/>
                    <a:pt x="185270" y="52000"/>
                    <a:pt x="184960" y="39108"/>
                  </a:cubicBezTo>
                  <a:lnTo>
                    <a:pt x="183979" y="879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B230793-0150-E799-332A-15DE247FE39E}"/>
                </a:ext>
              </a:extLst>
            </p:cNvPr>
            <p:cNvSpPr/>
            <p:nvPr/>
          </p:nvSpPr>
          <p:spPr>
            <a:xfrm flipV="1">
              <a:off x="8094093" y="2924737"/>
              <a:ext cx="188228" cy="83839"/>
            </a:xfrm>
            <a:custGeom>
              <a:avLst/>
              <a:gdLst>
                <a:gd name="connsiteX0" fmla="*/ 184100 w 188228"/>
                <a:gd name="connsiteY0" fmla="*/ 719 h 83839"/>
                <a:gd name="connsiteX1" fmla="*/ 183119 w 188228"/>
                <a:gd name="connsiteY1" fmla="*/ 39763 h 83839"/>
                <a:gd name="connsiteX2" fmla="*/ 182221 w 188228"/>
                <a:gd name="connsiteY2" fmla="*/ 77991 h 83839"/>
                <a:gd name="connsiteX3" fmla="*/ 184100 w 188228"/>
                <a:gd name="connsiteY3" fmla="*/ 76106 h 83839"/>
                <a:gd name="connsiteX4" fmla="*/ 92671 w 188228"/>
                <a:gd name="connsiteY4" fmla="*/ 74974 h 83839"/>
                <a:gd name="connsiteX5" fmla="*/ 1243 w 188228"/>
                <a:gd name="connsiteY5" fmla="*/ 74546 h 83839"/>
                <a:gd name="connsiteX6" fmla="*/ 4689 w 188228"/>
                <a:gd name="connsiteY6" fmla="*/ 77991 h 83839"/>
                <a:gd name="connsiteX7" fmla="*/ 4316 w 188228"/>
                <a:gd name="connsiteY7" fmla="*/ 719 h 83839"/>
                <a:gd name="connsiteX8" fmla="*/ 1243 w 188228"/>
                <a:gd name="connsiteY8" fmla="*/ 3799 h 83839"/>
                <a:gd name="connsiteX9" fmla="*/ 46439 w 188228"/>
                <a:gd name="connsiteY9" fmla="*/ 3419 h 83839"/>
                <a:gd name="connsiteX10" fmla="*/ 91870 w 188228"/>
                <a:gd name="connsiteY10" fmla="*/ 2646 h 83839"/>
                <a:gd name="connsiteX11" fmla="*/ 184100 w 188228"/>
                <a:gd name="connsiteY11" fmla="*/ 719 h 83839"/>
                <a:gd name="connsiteX12" fmla="*/ 93465 w 188228"/>
                <a:gd name="connsiteY12" fmla="*/ -1207 h 83839"/>
                <a:gd name="connsiteX13" fmla="*/ 47468 w 188228"/>
                <a:gd name="connsiteY13" fmla="*/ -1974 h 83839"/>
                <a:gd name="connsiteX14" fmla="*/ 1243 w 188228"/>
                <a:gd name="connsiteY14" fmla="*/ -2360 h 83839"/>
                <a:gd name="connsiteX15" fmla="*/ -1823 w 188228"/>
                <a:gd name="connsiteY15" fmla="*/ -2381 h 83839"/>
                <a:gd name="connsiteX16" fmla="*/ -1837 w 188228"/>
                <a:gd name="connsiteY16" fmla="*/ 719 h 83839"/>
                <a:gd name="connsiteX17" fmla="*/ -2210 w 188228"/>
                <a:gd name="connsiteY17" fmla="*/ 77991 h 83839"/>
                <a:gd name="connsiteX18" fmla="*/ -2223 w 188228"/>
                <a:gd name="connsiteY18" fmla="*/ 81458 h 83839"/>
                <a:gd name="connsiteX19" fmla="*/ 1243 w 188228"/>
                <a:gd name="connsiteY19" fmla="*/ 81437 h 83839"/>
                <a:gd name="connsiteX20" fmla="*/ 92671 w 188228"/>
                <a:gd name="connsiteY20" fmla="*/ 81009 h 83839"/>
                <a:gd name="connsiteX21" fmla="*/ 184100 w 188228"/>
                <a:gd name="connsiteY21" fmla="*/ 79877 h 83839"/>
                <a:gd name="connsiteX22" fmla="*/ 186005 w 188228"/>
                <a:gd name="connsiteY22" fmla="*/ 79856 h 83839"/>
                <a:gd name="connsiteX23" fmla="*/ 185985 w 188228"/>
                <a:gd name="connsiteY23" fmla="*/ 77991 h 83839"/>
                <a:gd name="connsiteX24" fmla="*/ 185087 w 188228"/>
                <a:gd name="connsiteY24" fmla="*/ 38948 h 83839"/>
                <a:gd name="connsiteX25" fmla="*/ 184100 w 188228"/>
                <a:gd name="connsiteY25" fmla="*/ 719 h 8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8228" h="83839">
                  <a:moveTo>
                    <a:pt x="184100" y="719"/>
                  </a:moveTo>
                  <a:lnTo>
                    <a:pt x="183119" y="39763"/>
                  </a:lnTo>
                  <a:cubicBezTo>
                    <a:pt x="182808" y="52628"/>
                    <a:pt x="182346" y="65348"/>
                    <a:pt x="182221" y="77991"/>
                  </a:cubicBezTo>
                  <a:lnTo>
                    <a:pt x="184100" y="76106"/>
                  </a:lnTo>
                  <a:cubicBezTo>
                    <a:pt x="153626" y="75754"/>
                    <a:pt x="123145" y="75015"/>
                    <a:pt x="92671" y="74974"/>
                  </a:cubicBezTo>
                  <a:lnTo>
                    <a:pt x="1243" y="74546"/>
                  </a:lnTo>
                  <a:lnTo>
                    <a:pt x="4689" y="77991"/>
                  </a:lnTo>
                  <a:lnTo>
                    <a:pt x="4316" y="719"/>
                  </a:lnTo>
                  <a:lnTo>
                    <a:pt x="1243" y="3799"/>
                  </a:lnTo>
                  <a:cubicBezTo>
                    <a:pt x="16311" y="3675"/>
                    <a:pt x="31337" y="3744"/>
                    <a:pt x="46439" y="3419"/>
                  </a:cubicBezTo>
                  <a:lnTo>
                    <a:pt x="91870" y="2646"/>
                  </a:lnTo>
                  <a:close/>
                  <a:moveTo>
                    <a:pt x="184100" y="719"/>
                  </a:moveTo>
                  <a:lnTo>
                    <a:pt x="93465" y="-1207"/>
                  </a:lnTo>
                  <a:lnTo>
                    <a:pt x="47468" y="-1974"/>
                  </a:lnTo>
                  <a:cubicBezTo>
                    <a:pt x="32104" y="-2305"/>
                    <a:pt x="16649" y="-2236"/>
                    <a:pt x="1243" y="-2360"/>
                  </a:cubicBezTo>
                  <a:lnTo>
                    <a:pt x="-1823" y="-2381"/>
                  </a:lnTo>
                  <a:lnTo>
                    <a:pt x="-1837" y="719"/>
                  </a:lnTo>
                  <a:lnTo>
                    <a:pt x="-2210" y="77991"/>
                  </a:lnTo>
                  <a:lnTo>
                    <a:pt x="-2223" y="81458"/>
                  </a:lnTo>
                  <a:lnTo>
                    <a:pt x="1243" y="81437"/>
                  </a:lnTo>
                  <a:lnTo>
                    <a:pt x="92671" y="81009"/>
                  </a:lnTo>
                  <a:cubicBezTo>
                    <a:pt x="123145" y="80968"/>
                    <a:pt x="153626" y="80229"/>
                    <a:pt x="184100" y="79877"/>
                  </a:cubicBezTo>
                  <a:lnTo>
                    <a:pt x="186005" y="79856"/>
                  </a:lnTo>
                  <a:lnTo>
                    <a:pt x="185985" y="77991"/>
                  </a:lnTo>
                  <a:cubicBezTo>
                    <a:pt x="185854" y="64878"/>
                    <a:pt x="185391" y="51840"/>
                    <a:pt x="185087" y="38948"/>
                  </a:cubicBezTo>
                  <a:lnTo>
                    <a:pt x="184100" y="719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3C249F8-C3DC-856E-898D-D0EF14B07EA7}"/>
                </a:ext>
              </a:extLst>
            </p:cNvPr>
            <p:cNvSpPr/>
            <p:nvPr/>
          </p:nvSpPr>
          <p:spPr>
            <a:xfrm flipV="1">
              <a:off x="6959932" y="3087277"/>
              <a:ext cx="30791" cy="30791"/>
            </a:xfrm>
            <a:custGeom>
              <a:avLst/>
              <a:gdLst>
                <a:gd name="connsiteX0" fmla="*/ 14696 w 30791"/>
                <a:gd name="connsiteY0" fmla="*/ 1295 h 30791"/>
                <a:gd name="connsiteX1" fmla="*/ 14696 w 30791"/>
                <a:gd name="connsiteY1" fmla="*/ 4748 h 30791"/>
                <a:gd name="connsiteX2" fmla="*/ 6204 w 30791"/>
                <a:gd name="connsiteY2" fmla="*/ 13234 h 30791"/>
                <a:gd name="connsiteX3" fmla="*/ 14696 w 30791"/>
                <a:gd name="connsiteY3" fmla="*/ 21728 h 30791"/>
                <a:gd name="connsiteX4" fmla="*/ 23185 w 30791"/>
                <a:gd name="connsiteY4" fmla="*/ 13234 h 30791"/>
                <a:gd name="connsiteX5" fmla="*/ 14696 w 30791"/>
                <a:gd name="connsiteY5" fmla="*/ 4748 h 30791"/>
                <a:gd name="connsiteX6" fmla="*/ 14696 w 30791"/>
                <a:gd name="connsiteY6" fmla="*/ 1295 h 30791"/>
                <a:gd name="connsiteX7" fmla="*/ 14696 w 30791"/>
                <a:gd name="connsiteY7" fmla="*/ -2158 h 30791"/>
                <a:gd name="connsiteX8" fmla="*/ 30090 w 30791"/>
                <a:gd name="connsiteY8" fmla="*/ 13234 h 30791"/>
                <a:gd name="connsiteX9" fmla="*/ 14696 w 30791"/>
                <a:gd name="connsiteY9" fmla="*/ 28634 h 30791"/>
                <a:gd name="connsiteX10" fmla="*/ -701 w 30791"/>
                <a:gd name="connsiteY10" fmla="*/ 13234 h 30791"/>
                <a:gd name="connsiteX11" fmla="*/ 14696 w 30791"/>
                <a:gd name="connsiteY11" fmla="*/ -2158 h 30791"/>
                <a:gd name="connsiteX12" fmla="*/ 14696 w 30791"/>
                <a:gd name="connsiteY12" fmla="*/ 1295 h 30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791" h="30791">
                  <a:moveTo>
                    <a:pt x="14696" y="1295"/>
                  </a:moveTo>
                  <a:lnTo>
                    <a:pt x="14696" y="4748"/>
                  </a:lnTo>
                  <a:cubicBezTo>
                    <a:pt x="10008" y="4754"/>
                    <a:pt x="6215" y="8546"/>
                    <a:pt x="6204" y="13234"/>
                  </a:cubicBezTo>
                  <a:cubicBezTo>
                    <a:pt x="6215" y="17923"/>
                    <a:pt x="10008" y="21714"/>
                    <a:pt x="14696" y="21728"/>
                  </a:cubicBezTo>
                  <a:cubicBezTo>
                    <a:pt x="19381" y="21714"/>
                    <a:pt x="23177" y="17923"/>
                    <a:pt x="23185" y="13234"/>
                  </a:cubicBezTo>
                  <a:cubicBezTo>
                    <a:pt x="23177" y="8546"/>
                    <a:pt x="19381" y="4754"/>
                    <a:pt x="14696" y="4748"/>
                  </a:cubicBezTo>
                  <a:lnTo>
                    <a:pt x="14696" y="1295"/>
                  </a:lnTo>
                  <a:lnTo>
                    <a:pt x="14696" y="-2158"/>
                  </a:lnTo>
                  <a:cubicBezTo>
                    <a:pt x="23198" y="-2158"/>
                    <a:pt x="30088" y="4734"/>
                    <a:pt x="30090" y="13234"/>
                  </a:cubicBezTo>
                  <a:cubicBezTo>
                    <a:pt x="30088" y="21742"/>
                    <a:pt x="23198" y="28627"/>
                    <a:pt x="14696" y="28634"/>
                  </a:cubicBezTo>
                  <a:cubicBezTo>
                    <a:pt x="6191" y="28627"/>
                    <a:pt x="-698" y="21742"/>
                    <a:pt x="-701" y="13234"/>
                  </a:cubicBezTo>
                  <a:cubicBezTo>
                    <a:pt x="-698" y="4734"/>
                    <a:pt x="6191" y="-2158"/>
                    <a:pt x="14696" y="-2158"/>
                  </a:cubicBezTo>
                  <a:lnTo>
                    <a:pt x="14696" y="1295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03FCE86-AA24-F20B-47DF-7723280907D3}"/>
                </a:ext>
              </a:extLst>
            </p:cNvPr>
            <p:cNvSpPr/>
            <p:nvPr/>
          </p:nvSpPr>
          <p:spPr>
            <a:xfrm flipV="1">
              <a:off x="7018634" y="3093720"/>
              <a:ext cx="132353" cy="5966"/>
            </a:xfrm>
            <a:custGeom>
              <a:avLst/>
              <a:gdLst>
                <a:gd name="connsiteX0" fmla="*/ 131515 w 132353"/>
                <a:gd name="connsiteY0" fmla="*/ -2168 h 5966"/>
                <a:gd name="connsiteX1" fmla="*/ -839 w 132353"/>
                <a:gd name="connsiteY1" fmla="*/ -2168 h 5966"/>
                <a:gd name="connsiteX2" fmla="*/ -839 w 132353"/>
                <a:gd name="connsiteY2" fmla="*/ 3799 h 5966"/>
                <a:gd name="connsiteX3" fmla="*/ 131515 w 132353"/>
                <a:gd name="connsiteY3" fmla="*/ 3799 h 5966"/>
                <a:gd name="connsiteX4" fmla="*/ 131515 w 132353"/>
                <a:gd name="connsiteY4" fmla="*/ -2168 h 5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353" h="5966">
                  <a:moveTo>
                    <a:pt x="131515" y="-2168"/>
                  </a:moveTo>
                  <a:lnTo>
                    <a:pt x="-839" y="-2168"/>
                  </a:lnTo>
                  <a:lnTo>
                    <a:pt x="-839" y="3799"/>
                  </a:lnTo>
                  <a:lnTo>
                    <a:pt x="131515" y="3799"/>
                  </a:lnTo>
                  <a:lnTo>
                    <a:pt x="131515" y="-2168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37402FB-7AFE-F24E-A912-F431A33CB9F7}"/>
                </a:ext>
              </a:extLst>
            </p:cNvPr>
            <p:cNvSpPr/>
            <p:nvPr/>
          </p:nvSpPr>
          <p:spPr>
            <a:xfrm flipV="1">
              <a:off x="7018634" y="3105667"/>
              <a:ext cx="74926" cy="5966"/>
            </a:xfrm>
            <a:custGeom>
              <a:avLst/>
              <a:gdLst>
                <a:gd name="connsiteX0" fmla="*/ 74124 w 74926"/>
                <a:gd name="connsiteY0" fmla="*/ -2148 h 5966"/>
                <a:gd name="connsiteX1" fmla="*/ -803 w 74926"/>
                <a:gd name="connsiteY1" fmla="*/ -2148 h 5966"/>
                <a:gd name="connsiteX2" fmla="*/ -803 w 74926"/>
                <a:gd name="connsiteY2" fmla="*/ 3818 h 5966"/>
                <a:gd name="connsiteX3" fmla="*/ 74124 w 74926"/>
                <a:gd name="connsiteY3" fmla="*/ 3818 h 5966"/>
                <a:gd name="connsiteX4" fmla="*/ 74124 w 74926"/>
                <a:gd name="connsiteY4" fmla="*/ -2148 h 5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26" h="5966">
                  <a:moveTo>
                    <a:pt x="74124" y="-2148"/>
                  </a:moveTo>
                  <a:lnTo>
                    <a:pt x="-803" y="-2148"/>
                  </a:lnTo>
                  <a:lnTo>
                    <a:pt x="-803" y="3818"/>
                  </a:lnTo>
                  <a:lnTo>
                    <a:pt x="74124" y="3818"/>
                  </a:lnTo>
                  <a:lnTo>
                    <a:pt x="74124" y="-2148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7C6216A-4283-A2AD-D3A9-A0E1F7B7CF65}"/>
                </a:ext>
              </a:extLst>
            </p:cNvPr>
            <p:cNvSpPr/>
            <p:nvPr/>
          </p:nvSpPr>
          <p:spPr>
            <a:xfrm flipV="1">
              <a:off x="6916929" y="2128635"/>
              <a:ext cx="3478095" cy="2200368"/>
            </a:xfrm>
            <a:custGeom>
              <a:avLst/>
              <a:gdLst>
                <a:gd name="connsiteX0" fmla="*/ -2810 w 3478095"/>
                <a:gd name="connsiteY0" fmla="*/ -1951 h 2200368"/>
                <a:gd name="connsiteX1" fmla="*/ 3475286 w 3478095"/>
                <a:gd name="connsiteY1" fmla="*/ -1951 h 2200368"/>
                <a:gd name="connsiteX2" fmla="*/ 3475286 w 3478095"/>
                <a:gd name="connsiteY2" fmla="*/ 2198418 h 2200368"/>
                <a:gd name="connsiteX3" fmla="*/ -2810 w 3478095"/>
                <a:gd name="connsiteY3" fmla="*/ 2198418 h 2200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78095" h="2200368">
                  <a:moveTo>
                    <a:pt x="-2810" y="-1951"/>
                  </a:moveTo>
                  <a:lnTo>
                    <a:pt x="3475286" y="-1951"/>
                  </a:lnTo>
                  <a:lnTo>
                    <a:pt x="3475286" y="2198418"/>
                  </a:lnTo>
                  <a:lnTo>
                    <a:pt x="-2810" y="2198418"/>
                  </a:lnTo>
                  <a:close/>
                </a:path>
              </a:pathLst>
            </a:custGeom>
            <a:solidFill>
              <a:schemeClr val="bg1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DE763D4-BFDE-9D94-17F0-5351AFBEE908}"/>
                </a:ext>
              </a:extLst>
            </p:cNvPr>
            <p:cNvSpPr/>
            <p:nvPr/>
          </p:nvSpPr>
          <p:spPr>
            <a:xfrm flipV="1">
              <a:off x="6916929" y="2128635"/>
              <a:ext cx="190725" cy="2200368"/>
            </a:xfrm>
            <a:custGeom>
              <a:avLst/>
              <a:gdLst>
                <a:gd name="connsiteX0" fmla="*/ -748 w 190725"/>
                <a:gd name="connsiteY0" fmla="*/ -1951 h 2200368"/>
                <a:gd name="connsiteX1" fmla="*/ 189978 w 190725"/>
                <a:gd name="connsiteY1" fmla="*/ -1951 h 2200368"/>
                <a:gd name="connsiteX2" fmla="*/ 189978 w 190725"/>
                <a:gd name="connsiteY2" fmla="*/ 2198418 h 2200368"/>
                <a:gd name="connsiteX3" fmla="*/ -748 w 190725"/>
                <a:gd name="connsiteY3" fmla="*/ 2198418 h 2200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725" h="2200368">
                  <a:moveTo>
                    <a:pt x="-748" y="-1951"/>
                  </a:moveTo>
                  <a:lnTo>
                    <a:pt x="189978" y="-1951"/>
                  </a:lnTo>
                  <a:lnTo>
                    <a:pt x="189978" y="2198418"/>
                  </a:lnTo>
                  <a:lnTo>
                    <a:pt x="-748" y="2198418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1595E31-1EAB-A8DD-DD98-9D808166A251}"/>
                </a:ext>
              </a:extLst>
            </p:cNvPr>
            <p:cNvSpPr/>
            <p:nvPr/>
          </p:nvSpPr>
          <p:spPr>
            <a:xfrm flipV="1">
              <a:off x="6916929" y="2213302"/>
              <a:ext cx="190725" cy="190728"/>
            </a:xfrm>
            <a:custGeom>
              <a:avLst/>
              <a:gdLst>
                <a:gd name="connsiteX0" fmla="*/ -748 w 190725"/>
                <a:gd name="connsiteY0" fmla="*/ -3461 h 190728"/>
                <a:gd name="connsiteX1" fmla="*/ 189978 w 190725"/>
                <a:gd name="connsiteY1" fmla="*/ -3461 h 190728"/>
                <a:gd name="connsiteX2" fmla="*/ 189978 w 190725"/>
                <a:gd name="connsiteY2" fmla="*/ 187268 h 190728"/>
                <a:gd name="connsiteX3" fmla="*/ -748 w 190725"/>
                <a:gd name="connsiteY3" fmla="*/ 187268 h 19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725" h="190728">
                  <a:moveTo>
                    <a:pt x="-748" y="-3461"/>
                  </a:moveTo>
                  <a:lnTo>
                    <a:pt x="189978" y="-3461"/>
                  </a:lnTo>
                  <a:lnTo>
                    <a:pt x="189978" y="187268"/>
                  </a:lnTo>
                  <a:lnTo>
                    <a:pt x="-748" y="187268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6465D73-BD06-1F3F-EA59-EC84F4E96BD9}"/>
                </a:ext>
              </a:extLst>
            </p:cNvPr>
            <p:cNvSpPr/>
            <p:nvPr/>
          </p:nvSpPr>
          <p:spPr>
            <a:xfrm flipV="1">
              <a:off x="6982952" y="2455629"/>
              <a:ext cx="47275" cy="47274"/>
            </a:xfrm>
            <a:custGeom>
              <a:avLst/>
              <a:gdLst>
                <a:gd name="connsiteX0" fmla="*/ 22900 w 47275"/>
                <a:gd name="connsiteY0" fmla="*/ 35110 h 47274"/>
                <a:gd name="connsiteX1" fmla="*/ 8242 w 47275"/>
                <a:gd name="connsiteY1" fmla="*/ 20456 h 47274"/>
                <a:gd name="connsiteX2" fmla="*/ 22900 w 47275"/>
                <a:gd name="connsiteY2" fmla="*/ 5796 h 47274"/>
                <a:gd name="connsiteX3" fmla="*/ 37552 w 47275"/>
                <a:gd name="connsiteY3" fmla="*/ 20456 h 47274"/>
                <a:gd name="connsiteX4" fmla="*/ 22900 w 47275"/>
                <a:gd name="connsiteY4" fmla="*/ 35110 h 47274"/>
                <a:gd name="connsiteX5" fmla="*/ 22900 w 47275"/>
                <a:gd name="connsiteY5" fmla="*/ -3181 h 47274"/>
                <a:gd name="connsiteX6" fmla="*/ -740 w 47275"/>
                <a:gd name="connsiteY6" fmla="*/ 20456 h 47274"/>
                <a:gd name="connsiteX7" fmla="*/ 22900 w 47275"/>
                <a:gd name="connsiteY7" fmla="*/ 44094 h 47274"/>
                <a:gd name="connsiteX8" fmla="*/ 46535 w 47275"/>
                <a:gd name="connsiteY8" fmla="*/ 20456 h 47274"/>
                <a:gd name="connsiteX9" fmla="*/ 22900 w 47275"/>
                <a:gd name="connsiteY9" fmla="*/ -3181 h 47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275" h="47274">
                  <a:moveTo>
                    <a:pt x="22900" y="35110"/>
                  </a:moveTo>
                  <a:cubicBezTo>
                    <a:pt x="14816" y="35110"/>
                    <a:pt x="8242" y="28536"/>
                    <a:pt x="8242" y="20456"/>
                  </a:cubicBezTo>
                  <a:cubicBezTo>
                    <a:pt x="8242" y="12370"/>
                    <a:pt x="14816" y="5796"/>
                    <a:pt x="22900" y="5796"/>
                  </a:cubicBezTo>
                  <a:cubicBezTo>
                    <a:pt x="30979" y="5796"/>
                    <a:pt x="37552" y="12370"/>
                    <a:pt x="37552" y="20456"/>
                  </a:cubicBezTo>
                  <a:cubicBezTo>
                    <a:pt x="37552" y="28536"/>
                    <a:pt x="30979" y="35110"/>
                    <a:pt x="22900" y="35110"/>
                  </a:cubicBezTo>
                  <a:close/>
                  <a:moveTo>
                    <a:pt x="22900" y="-3181"/>
                  </a:moveTo>
                  <a:cubicBezTo>
                    <a:pt x="9863" y="-3181"/>
                    <a:pt x="-740" y="7419"/>
                    <a:pt x="-740" y="20456"/>
                  </a:cubicBezTo>
                  <a:cubicBezTo>
                    <a:pt x="-740" y="33487"/>
                    <a:pt x="9863" y="44094"/>
                    <a:pt x="22900" y="44094"/>
                  </a:cubicBezTo>
                  <a:cubicBezTo>
                    <a:pt x="35934" y="44094"/>
                    <a:pt x="46535" y="33487"/>
                    <a:pt x="46535" y="20456"/>
                  </a:cubicBezTo>
                  <a:cubicBezTo>
                    <a:pt x="46535" y="7419"/>
                    <a:pt x="35934" y="-3181"/>
                    <a:pt x="22900" y="-3181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62059F3-50E6-4113-4DD9-84C5981923E3}"/>
                </a:ext>
              </a:extLst>
            </p:cNvPr>
            <p:cNvSpPr/>
            <p:nvPr/>
          </p:nvSpPr>
          <p:spPr>
            <a:xfrm flipV="1">
              <a:off x="7016829" y="2489755"/>
              <a:ext cx="24803" cy="24804"/>
            </a:xfrm>
            <a:custGeom>
              <a:avLst/>
              <a:gdLst>
                <a:gd name="connsiteX0" fmla="*/ 17681 w 24803"/>
                <a:gd name="connsiteY0" fmla="*/ -3144 h 24804"/>
                <a:gd name="connsiteX1" fmla="*/ -769 w 24803"/>
                <a:gd name="connsiteY1" fmla="*/ 15308 h 24804"/>
                <a:gd name="connsiteX2" fmla="*/ 5581 w 24803"/>
                <a:gd name="connsiteY2" fmla="*/ 21661 h 24804"/>
                <a:gd name="connsiteX3" fmla="*/ 24034 w 24803"/>
                <a:gd name="connsiteY3" fmla="*/ 3210 h 24804"/>
                <a:gd name="connsiteX4" fmla="*/ 17681 w 24803"/>
                <a:gd name="connsiteY4" fmla="*/ -3144 h 2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03" h="24804">
                  <a:moveTo>
                    <a:pt x="17681" y="-3144"/>
                  </a:moveTo>
                  <a:lnTo>
                    <a:pt x="-769" y="15308"/>
                  </a:lnTo>
                  <a:lnTo>
                    <a:pt x="5581" y="21661"/>
                  </a:lnTo>
                  <a:lnTo>
                    <a:pt x="24034" y="3210"/>
                  </a:lnTo>
                  <a:lnTo>
                    <a:pt x="17681" y="-3144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A4031AC-67C5-32C6-77C9-A35C78D32037}"/>
                </a:ext>
              </a:extLst>
            </p:cNvPr>
            <p:cNvSpPr/>
            <p:nvPr/>
          </p:nvSpPr>
          <p:spPr>
            <a:xfrm flipV="1">
              <a:off x="6994589" y="3008873"/>
              <a:ext cx="30413" cy="30411"/>
            </a:xfrm>
            <a:custGeom>
              <a:avLst/>
              <a:gdLst>
                <a:gd name="connsiteX0" fmla="*/ 14461 w 30413"/>
                <a:gd name="connsiteY0" fmla="*/ 19148 h 30411"/>
                <a:gd name="connsiteX1" fmla="*/ 8235 w 30413"/>
                <a:gd name="connsiteY1" fmla="*/ 12919 h 30411"/>
                <a:gd name="connsiteX2" fmla="*/ 14461 w 30413"/>
                <a:gd name="connsiteY2" fmla="*/ 6690 h 30411"/>
                <a:gd name="connsiteX3" fmla="*/ 20689 w 30413"/>
                <a:gd name="connsiteY3" fmla="*/ 12919 h 30411"/>
                <a:gd name="connsiteX4" fmla="*/ 14461 w 30413"/>
                <a:gd name="connsiteY4" fmla="*/ 19148 h 30411"/>
                <a:gd name="connsiteX5" fmla="*/ 14461 w 30413"/>
                <a:gd name="connsiteY5" fmla="*/ -2287 h 30411"/>
                <a:gd name="connsiteX6" fmla="*/ -744 w 30413"/>
                <a:gd name="connsiteY6" fmla="*/ 12919 h 30411"/>
                <a:gd name="connsiteX7" fmla="*/ 14461 w 30413"/>
                <a:gd name="connsiteY7" fmla="*/ 28125 h 30411"/>
                <a:gd name="connsiteX8" fmla="*/ 29669 w 30413"/>
                <a:gd name="connsiteY8" fmla="*/ 12919 h 30411"/>
                <a:gd name="connsiteX9" fmla="*/ 14461 w 30413"/>
                <a:gd name="connsiteY9" fmla="*/ -2287 h 30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413" h="30411">
                  <a:moveTo>
                    <a:pt x="14461" y="19148"/>
                  </a:moveTo>
                  <a:cubicBezTo>
                    <a:pt x="11029" y="19148"/>
                    <a:pt x="8235" y="16351"/>
                    <a:pt x="8235" y="12919"/>
                  </a:cubicBezTo>
                  <a:cubicBezTo>
                    <a:pt x="8235" y="9487"/>
                    <a:pt x="11029" y="6690"/>
                    <a:pt x="14461" y="6690"/>
                  </a:cubicBezTo>
                  <a:cubicBezTo>
                    <a:pt x="17895" y="6690"/>
                    <a:pt x="20689" y="9487"/>
                    <a:pt x="20689" y="12919"/>
                  </a:cubicBezTo>
                  <a:cubicBezTo>
                    <a:pt x="20689" y="16351"/>
                    <a:pt x="17895" y="19148"/>
                    <a:pt x="14461" y="19148"/>
                  </a:cubicBezTo>
                  <a:close/>
                  <a:moveTo>
                    <a:pt x="14461" y="-2287"/>
                  </a:moveTo>
                  <a:cubicBezTo>
                    <a:pt x="6077" y="-2287"/>
                    <a:pt x="-744" y="4536"/>
                    <a:pt x="-744" y="12919"/>
                  </a:cubicBezTo>
                  <a:cubicBezTo>
                    <a:pt x="-744" y="21302"/>
                    <a:pt x="6077" y="28125"/>
                    <a:pt x="14461" y="28125"/>
                  </a:cubicBezTo>
                  <a:cubicBezTo>
                    <a:pt x="22847" y="28125"/>
                    <a:pt x="29669" y="21302"/>
                    <a:pt x="29669" y="12919"/>
                  </a:cubicBezTo>
                  <a:cubicBezTo>
                    <a:pt x="29669" y="4536"/>
                    <a:pt x="22847" y="-2287"/>
                    <a:pt x="14461" y="-2287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CCD4692-326A-DFD6-D53C-EF753E0E97B6}"/>
                </a:ext>
              </a:extLst>
            </p:cNvPr>
            <p:cNvSpPr/>
            <p:nvPr/>
          </p:nvSpPr>
          <p:spPr>
            <a:xfrm flipV="1">
              <a:off x="6981419" y="2995704"/>
              <a:ext cx="56749" cy="56748"/>
            </a:xfrm>
            <a:custGeom>
              <a:avLst/>
              <a:gdLst>
                <a:gd name="connsiteX0" fmla="*/ 27630 w 56749"/>
                <a:gd name="connsiteY0" fmla="*/ 45478 h 56748"/>
                <a:gd name="connsiteX1" fmla="*/ 8235 w 56749"/>
                <a:gd name="connsiteY1" fmla="*/ 26088 h 56748"/>
                <a:gd name="connsiteX2" fmla="*/ 27630 w 56749"/>
                <a:gd name="connsiteY2" fmla="*/ 6697 h 56748"/>
                <a:gd name="connsiteX3" fmla="*/ 47022 w 56749"/>
                <a:gd name="connsiteY3" fmla="*/ 26088 h 56748"/>
                <a:gd name="connsiteX4" fmla="*/ 27630 w 56749"/>
                <a:gd name="connsiteY4" fmla="*/ 45478 h 56748"/>
                <a:gd name="connsiteX5" fmla="*/ 27630 w 56749"/>
                <a:gd name="connsiteY5" fmla="*/ -2287 h 56748"/>
                <a:gd name="connsiteX6" fmla="*/ -744 w 56749"/>
                <a:gd name="connsiteY6" fmla="*/ 26088 h 56748"/>
                <a:gd name="connsiteX7" fmla="*/ 27630 w 56749"/>
                <a:gd name="connsiteY7" fmla="*/ 54462 h 56748"/>
                <a:gd name="connsiteX8" fmla="*/ 56005 w 56749"/>
                <a:gd name="connsiteY8" fmla="*/ 26088 h 56748"/>
                <a:gd name="connsiteX9" fmla="*/ 27630 w 56749"/>
                <a:gd name="connsiteY9" fmla="*/ -2287 h 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749" h="56748">
                  <a:moveTo>
                    <a:pt x="27630" y="45478"/>
                  </a:moveTo>
                  <a:cubicBezTo>
                    <a:pt x="16935" y="45478"/>
                    <a:pt x="8235" y="36784"/>
                    <a:pt x="8235" y="26088"/>
                  </a:cubicBezTo>
                  <a:cubicBezTo>
                    <a:pt x="8235" y="15398"/>
                    <a:pt x="16935" y="6697"/>
                    <a:pt x="27630" y="6697"/>
                  </a:cubicBezTo>
                  <a:cubicBezTo>
                    <a:pt x="38323" y="6697"/>
                    <a:pt x="47022" y="15398"/>
                    <a:pt x="47022" y="26088"/>
                  </a:cubicBezTo>
                  <a:cubicBezTo>
                    <a:pt x="47022" y="36784"/>
                    <a:pt x="38323" y="45478"/>
                    <a:pt x="27630" y="45478"/>
                  </a:cubicBezTo>
                  <a:close/>
                  <a:moveTo>
                    <a:pt x="27630" y="-2287"/>
                  </a:moveTo>
                  <a:cubicBezTo>
                    <a:pt x="11985" y="-2287"/>
                    <a:pt x="-744" y="10440"/>
                    <a:pt x="-744" y="26088"/>
                  </a:cubicBezTo>
                  <a:cubicBezTo>
                    <a:pt x="-744" y="41728"/>
                    <a:pt x="11985" y="54462"/>
                    <a:pt x="27630" y="54462"/>
                  </a:cubicBezTo>
                  <a:cubicBezTo>
                    <a:pt x="43275" y="54462"/>
                    <a:pt x="56005" y="41728"/>
                    <a:pt x="56005" y="26088"/>
                  </a:cubicBezTo>
                  <a:cubicBezTo>
                    <a:pt x="56005" y="10440"/>
                    <a:pt x="43275" y="-2287"/>
                    <a:pt x="27630" y="-2287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C3A848A-DBAF-E04D-0BF0-43504EDE15AC}"/>
                </a:ext>
              </a:extLst>
            </p:cNvPr>
            <p:cNvSpPr/>
            <p:nvPr/>
          </p:nvSpPr>
          <p:spPr>
            <a:xfrm flipV="1">
              <a:off x="7011162" y="3026938"/>
              <a:ext cx="32001" cy="29893"/>
            </a:xfrm>
            <a:custGeom>
              <a:avLst/>
              <a:gdLst>
                <a:gd name="connsiteX0" fmla="*/ 18013 w 32001"/>
                <a:gd name="connsiteY0" fmla="*/ -2258 h 29893"/>
                <a:gd name="connsiteX1" fmla="*/ -766 w 32001"/>
                <a:gd name="connsiteY1" fmla="*/ 27636 h 29893"/>
                <a:gd name="connsiteX2" fmla="*/ 31236 w 32001"/>
                <a:gd name="connsiteY2" fmla="*/ 15945 h 29893"/>
                <a:gd name="connsiteX3" fmla="*/ 18660 w 32001"/>
                <a:gd name="connsiteY3" fmla="*/ 12686 h 29893"/>
                <a:gd name="connsiteX4" fmla="*/ 18013 w 32001"/>
                <a:gd name="connsiteY4" fmla="*/ -2258 h 29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01" h="29893">
                  <a:moveTo>
                    <a:pt x="18013" y="-2258"/>
                  </a:moveTo>
                  <a:lnTo>
                    <a:pt x="-766" y="27636"/>
                  </a:lnTo>
                  <a:lnTo>
                    <a:pt x="31236" y="15945"/>
                  </a:lnTo>
                  <a:lnTo>
                    <a:pt x="18660" y="12686"/>
                  </a:lnTo>
                  <a:lnTo>
                    <a:pt x="18013" y="-2258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2BA1016-AED7-235A-4D14-EC1362E4D4DA}"/>
                </a:ext>
              </a:extLst>
            </p:cNvPr>
            <p:cNvSpPr/>
            <p:nvPr/>
          </p:nvSpPr>
          <p:spPr>
            <a:xfrm flipV="1">
              <a:off x="6989731" y="3180592"/>
              <a:ext cx="45120" cy="43975"/>
            </a:xfrm>
            <a:custGeom>
              <a:avLst/>
              <a:gdLst>
                <a:gd name="connsiteX0" fmla="*/ 15279 w 45120"/>
                <a:gd name="connsiteY0" fmla="*/ 30961 h 43975"/>
                <a:gd name="connsiteX1" fmla="*/ 11876 w 45120"/>
                <a:gd name="connsiteY1" fmla="*/ 26390 h 43975"/>
                <a:gd name="connsiteX2" fmla="*/ 9631 w 45120"/>
                <a:gd name="connsiteY2" fmla="*/ 25361 h 43975"/>
                <a:gd name="connsiteX3" fmla="*/ 16399 w 45120"/>
                <a:gd name="connsiteY3" fmla="*/ 14816 h 43975"/>
                <a:gd name="connsiteX4" fmla="*/ 26992 w 45120"/>
                <a:gd name="connsiteY4" fmla="*/ 8608 h 43975"/>
                <a:gd name="connsiteX5" fmla="*/ 28160 w 45120"/>
                <a:gd name="connsiteY5" fmla="*/ 10942 h 43975"/>
                <a:gd name="connsiteX6" fmla="*/ 31988 w 45120"/>
                <a:gd name="connsiteY6" fmla="*/ 14209 h 43975"/>
                <a:gd name="connsiteX7" fmla="*/ 44261 w 45120"/>
                <a:gd name="connsiteY7" fmla="*/ 7117 h 43975"/>
                <a:gd name="connsiteX8" fmla="*/ 34040 w 45120"/>
                <a:gd name="connsiteY8" fmla="*/ -1985 h 43975"/>
                <a:gd name="connsiteX9" fmla="*/ 9865 w 45120"/>
                <a:gd name="connsiteY9" fmla="*/ 10756 h 43975"/>
                <a:gd name="connsiteX10" fmla="*/ -541 w 45120"/>
                <a:gd name="connsiteY10" fmla="*/ 33157 h 43975"/>
                <a:gd name="connsiteX11" fmla="*/ 7486 w 45120"/>
                <a:gd name="connsiteY11" fmla="*/ 41975 h 43975"/>
                <a:gd name="connsiteX12" fmla="*/ 15279 w 45120"/>
                <a:gd name="connsiteY12" fmla="*/ 30961 h 4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120" h="43975">
                  <a:moveTo>
                    <a:pt x="15279" y="30961"/>
                  </a:moveTo>
                  <a:cubicBezTo>
                    <a:pt x="15118" y="28696"/>
                    <a:pt x="12340" y="26576"/>
                    <a:pt x="11876" y="26390"/>
                  </a:cubicBezTo>
                  <a:cubicBezTo>
                    <a:pt x="11406" y="26203"/>
                    <a:pt x="10006" y="26341"/>
                    <a:pt x="9631" y="25361"/>
                  </a:cubicBezTo>
                  <a:cubicBezTo>
                    <a:pt x="9261" y="24380"/>
                    <a:pt x="9680" y="21162"/>
                    <a:pt x="16399" y="14816"/>
                  </a:cubicBezTo>
                  <a:cubicBezTo>
                    <a:pt x="23118" y="8470"/>
                    <a:pt x="25640" y="8277"/>
                    <a:pt x="26992" y="8608"/>
                  </a:cubicBezTo>
                  <a:cubicBezTo>
                    <a:pt x="28346" y="8933"/>
                    <a:pt x="28020" y="10286"/>
                    <a:pt x="28160" y="10942"/>
                  </a:cubicBezTo>
                  <a:cubicBezTo>
                    <a:pt x="28303" y="11591"/>
                    <a:pt x="30868" y="14209"/>
                    <a:pt x="31988" y="14209"/>
                  </a:cubicBezTo>
                  <a:cubicBezTo>
                    <a:pt x="33107" y="14209"/>
                    <a:pt x="43328" y="9727"/>
                    <a:pt x="44261" y="7117"/>
                  </a:cubicBezTo>
                  <a:cubicBezTo>
                    <a:pt x="45194" y="4499"/>
                    <a:pt x="40153" y="-1750"/>
                    <a:pt x="34040" y="-1985"/>
                  </a:cubicBezTo>
                  <a:cubicBezTo>
                    <a:pt x="27928" y="-2220"/>
                    <a:pt x="18595" y="2027"/>
                    <a:pt x="9865" y="10756"/>
                  </a:cubicBezTo>
                  <a:cubicBezTo>
                    <a:pt x="1140" y="19484"/>
                    <a:pt x="-1569" y="28537"/>
                    <a:pt x="-541" y="33157"/>
                  </a:cubicBezTo>
                  <a:cubicBezTo>
                    <a:pt x="484" y="37777"/>
                    <a:pt x="5572" y="42162"/>
                    <a:pt x="7486" y="41975"/>
                  </a:cubicBezTo>
                  <a:cubicBezTo>
                    <a:pt x="9399" y="41789"/>
                    <a:pt x="15422" y="32922"/>
                    <a:pt x="15279" y="30961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1040D05-E3A5-1288-C4B7-E87774905B0C}"/>
                </a:ext>
              </a:extLst>
            </p:cNvPr>
            <p:cNvSpPr/>
            <p:nvPr/>
          </p:nvSpPr>
          <p:spPr>
            <a:xfrm flipV="1">
              <a:off x="6984759" y="3366900"/>
              <a:ext cx="55068" cy="36792"/>
            </a:xfrm>
            <a:custGeom>
              <a:avLst/>
              <a:gdLst>
                <a:gd name="connsiteX0" fmla="*/ 54321 w 55068"/>
                <a:gd name="connsiteY0" fmla="*/ -1694 h 36792"/>
                <a:gd name="connsiteX1" fmla="*/ -748 w 55068"/>
                <a:gd name="connsiteY1" fmla="*/ -1694 h 36792"/>
                <a:gd name="connsiteX2" fmla="*/ -748 w 55068"/>
                <a:gd name="connsiteY2" fmla="*/ 35098 h 36792"/>
                <a:gd name="connsiteX3" fmla="*/ 54321 w 55068"/>
                <a:gd name="connsiteY3" fmla="*/ 35098 h 36792"/>
                <a:gd name="connsiteX4" fmla="*/ 54321 w 55068"/>
                <a:gd name="connsiteY4" fmla="*/ -1694 h 36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68" h="36792">
                  <a:moveTo>
                    <a:pt x="54321" y="-1694"/>
                  </a:moveTo>
                  <a:lnTo>
                    <a:pt x="-748" y="-1694"/>
                  </a:lnTo>
                  <a:lnTo>
                    <a:pt x="-748" y="35098"/>
                  </a:lnTo>
                  <a:lnTo>
                    <a:pt x="54321" y="35098"/>
                  </a:lnTo>
                  <a:lnTo>
                    <a:pt x="54321" y="-1694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3AD641A-ED9C-7EFD-0FD4-D084FC700704}"/>
                </a:ext>
              </a:extLst>
            </p:cNvPr>
            <p:cNvSpPr/>
            <p:nvPr/>
          </p:nvSpPr>
          <p:spPr>
            <a:xfrm flipV="1">
              <a:off x="6984759" y="3366900"/>
              <a:ext cx="55068" cy="22953"/>
            </a:xfrm>
            <a:custGeom>
              <a:avLst/>
              <a:gdLst>
                <a:gd name="connsiteX0" fmla="*/ -748 w 55068"/>
                <a:gd name="connsiteY0" fmla="*/ 21248 h 22953"/>
                <a:gd name="connsiteX1" fmla="*/ 28112 w 55068"/>
                <a:gd name="connsiteY1" fmla="*/ 2901 h 22953"/>
                <a:gd name="connsiteX2" fmla="*/ 25458 w 55068"/>
                <a:gd name="connsiteY2" fmla="*/ 2901 h 22953"/>
                <a:gd name="connsiteX3" fmla="*/ 54321 w 55068"/>
                <a:gd name="connsiteY3" fmla="*/ 21248 h 22953"/>
                <a:gd name="connsiteX4" fmla="*/ 28112 w 55068"/>
                <a:gd name="connsiteY4" fmla="*/ -718 h 22953"/>
                <a:gd name="connsiteX5" fmla="*/ 26782 w 55068"/>
                <a:gd name="connsiteY5" fmla="*/ -1705 h 22953"/>
                <a:gd name="connsiteX6" fmla="*/ 25458 w 55068"/>
                <a:gd name="connsiteY6" fmla="*/ -718 h 22953"/>
                <a:gd name="connsiteX7" fmla="*/ -748 w 55068"/>
                <a:gd name="connsiteY7" fmla="*/ 21248 h 2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068" h="22953">
                  <a:moveTo>
                    <a:pt x="-748" y="21248"/>
                  </a:moveTo>
                  <a:cubicBezTo>
                    <a:pt x="9473" y="15959"/>
                    <a:pt x="18890" y="9564"/>
                    <a:pt x="28112" y="2901"/>
                  </a:cubicBezTo>
                  <a:lnTo>
                    <a:pt x="25458" y="2901"/>
                  </a:lnTo>
                  <a:cubicBezTo>
                    <a:pt x="34673" y="9571"/>
                    <a:pt x="44092" y="15966"/>
                    <a:pt x="54321" y="21248"/>
                  </a:cubicBezTo>
                  <a:cubicBezTo>
                    <a:pt x="46191" y="13100"/>
                    <a:pt x="37254" y="6049"/>
                    <a:pt x="28112" y="-718"/>
                  </a:cubicBezTo>
                  <a:lnTo>
                    <a:pt x="26782" y="-1705"/>
                  </a:lnTo>
                  <a:lnTo>
                    <a:pt x="25458" y="-718"/>
                  </a:lnTo>
                  <a:cubicBezTo>
                    <a:pt x="16325" y="6056"/>
                    <a:pt x="7386" y="13107"/>
                    <a:pt x="-748" y="21248"/>
                  </a:cubicBez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CCEFBD45-03B7-BF77-6DDE-826CF58AB982}"/>
                </a:ext>
              </a:extLst>
            </p:cNvPr>
            <p:cNvSpPr/>
            <p:nvPr/>
          </p:nvSpPr>
          <p:spPr>
            <a:xfrm flipV="1">
              <a:off x="6987330" y="2654789"/>
              <a:ext cx="11628" cy="35839"/>
            </a:xfrm>
            <a:custGeom>
              <a:avLst/>
              <a:gdLst>
                <a:gd name="connsiteX0" fmla="*/ 10905 w 11628"/>
                <a:gd name="connsiteY0" fmla="*/ -2864 h 35839"/>
                <a:gd name="connsiteX1" fmla="*/ -723 w 11628"/>
                <a:gd name="connsiteY1" fmla="*/ -2864 h 35839"/>
                <a:gd name="connsiteX2" fmla="*/ -723 w 11628"/>
                <a:gd name="connsiteY2" fmla="*/ 32976 h 35839"/>
                <a:gd name="connsiteX3" fmla="*/ 10905 w 11628"/>
                <a:gd name="connsiteY3" fmla="*/ 32976 h 35839"/>
                <a:gd name="connsiteX4" fmla="*/ 10905 w 11628"/>
                <a:gd name="connsiteY4" fmla="*/ -2864 h 3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28" h="35839">
                  <a:moveTo>
                    <a:pt x="10905" y="-2864"/>
                  </a:moveTo>
                  <a:lnTo>
                    <a:pt x="-723" y="-2864"/>
                  </a:lnTo>
                  <a:lnTo>
                    <a:pt x="-723" y="32976"/>
                  </a:lnTo>
                  <a:lnTo>
                    <a:pt x="10905" y="32976"/>
                  </a:lnTo>
                  <a:lnTo>
                    <a:pt x="10905" y="-2864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C22B660-F826-F12B-1073-53F967D96E56}"/>
                </a:ext>
              </a:extLst>
            </p:cNvPr>
            <p:cNvSpPr/>
            <p:nvPr/>
          </p:nvSpPr>
          <p:spPr>
            <a:xfrm flipV="1">
              <a:off x="7025625" y="2642532"/>
              <a:ext cx="11628" cy="48096"/>
            </a:xfrm>
            <a:custGeom>
              <a:avLst/>
              <a:gdLst>
                <a:gd name="connsiteX0" fmla="*/ 10857 w 11628"/>
                <a:gd name="connsiteY0" fmla="*/ -2874 h 48096"/>
                <a:gd name="connsiteX1" fmla="*/ -772 w 11628"/>
                <a:gd name="connsiteY1" fmla="*/ -2874 h 48096"/>
                <a:gd name="connsiteX2" fmla="*/ -772 w 11628"/>
                <a:gd name="connsiteY2" fmla="*/ 45223 h 48096"/>
                <a:gd name="connsiteX3" fmla="*/ 10857 w 11628"/>
                <a:gd name="connsiteY3" fmla="*/ 45223 h 48096"/>
                <a:gd name="connsiteX4" fmla="*/ 10857 w 11628"/>
                <a:gd name="connsiteY4" fmla="*/ -2874 h 48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28" h="48096">
                  <a:moveTo>
                    <a:pt x="10857" y="-2874"/>
                  </a:moveTo>
                  <a:lnTo>
                    <a:pt x="-772" y="-2874"/>
                  </a:lnTo>
                  <a:lnTo>
                    <a:pt x="-772" y="45223"/>
                  </a:lnTo>
                  <a:lnTo>
                    <a:pt x="10857" y="45223"/>
                  </a:lnTo>
                  <a:lnTo>
                    <a:pt x="10857" y="-2874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E1A5371-FB82-3032-1953-232E942AB1D1}"/>
                </a:ext>
              </a:extLst>
            </p:cNvPr>
            <p:cNvSpPr/>
            <p:nvPr/>
          </p:nvSpPr>
          <p:spPr>
            <a:xfrm flipV="1">
              <a:off x="7006525" y="2663027"/>
              <a:ext cx="11628" cy="27559"/>
            </a:xfrm>
            <a:custGeom>
              <a:avLst/>
              <a:gdLst>
                <a:gd name="connsiteX0" fmla="*/ 10881 w 11628"/>
                <a:gd name="connsiteY0" fmla="*/ -2857 h 27559"/>
                <a:gd name="connsiteX1" fmla="*/ -748 w 11628"/>
                <a:gd name="connsiteY1" fmla="*/ -2857 h 27559"/>
                <a:gd name="connsiteX2" fmla="*/ -748 w 11628"/>
                <a:gd name="connsiteY2" fmla="*/ 24703 h 27559"/>
                <a:gd name="connsiteX3" fmla="*/ 10881 w 11628"/>
                <a:gd name="connsiteY3" fmla="*/ 24703 h 27559"/>
                <a:gd name="connsiteX4" fmla="*/ 10881 w 11628"/>
                <a:gd name="connsiteY4" fmla="*/ -2857 h 2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28" h="27559">
                  <a:moveTo>
                    <a:pt x="10881" y="-2857"/>
                  </a:moveTo>
                  <a:lnTo>
                    <a:pt x="-748" y="-2857"/>
                  </a:lnTo>
                  <a:lnTo>
                    <a:pt x="-748" y="24703"/>
                  </a:lnTo>
                  <a:lnTo>
                    <a:pt x="10881" y="24703"/>
                  </a:lnTo>
                  <a:lnTo>
                    <a:pt x="10881" y="-2857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87FC5E2-89F7-BDF5-FE7B-1480CB40730C}"/>
                </a:ext>
              </a:extLst>
            </p:cNvPr>
            <p:cNvSpPr/>
            <p:nvPr/>
          </p:nvSpPr>
          <p:spPr>
            <a:xfrm flipV="1">
              <a:off x="6984237" y="2825796"/>
              <a:ext cx="56109" cy="45163"/>
            </a:xfrm>
            <a:custGeom>
              <a:avLst/>
              <a:gdLst>
                <a:gd name="connsiteX0" fmla="*/ 10540 w 56109"/>
                <a:gd name="connsiteY0" fmla="*/ 7308 h 45163"/>
                <a:gd name="connsiteX1" fmla="*/ 2326 w 56109"/>
                <a:gd name="connsiteY1" fmla="*/ -2463 h 45163"/>
                <a:gd name="connsiteX2" fmla="*/ 21303 w 56109"/>
                <a:gd name="connsiteY2" fmla="*/ 3945 h 45163"/>
                <a:gd name="connsiteX3" fmla="*/ 55342 w 56109"/>
                <a:gd name="connsiteY3" fmla="*/ 21734 h 45163"/>
                <a:gd name="connsiteX4" fmla="*/ 26655 w 56109"/>
                <a:gd name="connsiteY4" fmla="*/ 42588 h 45163"/>
                <a:gd name="connsiteX5" fmla="*/ -724 w 56109"/>
                <a:gd name="connsiteY5" fmla="*/ 23418 h 45163"/>
                <a:gd name="connsiteX6" fmla="*/ 10540 w 56109"/>
                <a:gd name="connsiteY6" fmla="*/ 7308 h 45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109" h="45163">
                  <a:moveTo>
                    <a:pt x="10540" y="7308"/>
                  </a:moveTo>
                  <a:cubicBezTo>
                    <a:pt x="10540" y="7308"/>
                    <a:pt x="9049" y="2081"/>
                    <a:pt x="2326" y="-2463"/>
                  </a:cubicBezTo>
                  <a:cubicBezTo>
                    <a:pt x="2326" y="-2463"/>
                    <a:pt x="13650" y="-3955"/>
                    <a:pt x="21303" y="3945"/>
                  </a:cubicBezTo>
                  <a:cubicBezTo>
                    <a:pt x="21303" y="3945"/>
                    <a:pt x="54503" y="1397"/>
                    <a:pt x="55342" y="21734"/>
                  </a:cubicBezTo>
                  <a:cubicBezTo>
                    <a:pt x="56122" y="40641"/>
                    <a:pt x="33563" y="42588"/>
                    <a:pt x="26655" y="42588"/>
                  </a:cubicBezTo>
                  <a:cubicBezTo>
                    <a:pt x="16887" y="42588"/>
                    <a:pt x="85" y="38024"/>
                    <a:pt x="-724" y="23418"/>
                  </a:cubicBezTo>
                  <a:cubicBezTo>
                    <a:pt x="-1345" y="12156"/>
                    <a:pt x="10540" y="7308"/>
                    <a:pt x="10540" y="7308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D77ED75-8AC9-4331-C47E-178C0622C97B}"/>
                </a:ext>
              </a:extLst>
            </p:cNvPr>
            <p:cNvSpPr/>
            <p:nvPr/>
          </p:nvSpPr>
          <p:spPr>
            <a:xfrm flipV="1">
              <a:off x="6984829" y="2286044"/>
              <a:ext cx="54925" cy="44049"/>
            </a:xfrm>
            <a:custGeom>
              <a:avLst/>
              <a:gdLst>
                <a:gd name="connsiteX0" fmla="*/ 47887 w 54925"/>
                <a:gd name="connsiteY0" fmla="*/ 9202 h 44049"/>
                <a:gd name="connsiteX1" fmla="*/ 44880 w 54925"/>
                <a:gd name="connsiteY1" fmla="*/ 12206 h 44049"/>
                <a:gd name="connsiteX2" fmla="*/ 47887 w 54925"/>
                <a:gd name="connsiteY2" fmla="*/ 15169 h 44049"/>
                <a:gd name="connsiteX3" fmla="*/ 50851 w 54925"/>
                <a:gd name="connsiteY3" fmla="*/ 12206 h 44049"/>
                <a:gd name="connsiteX4" fmla="*/ 47887 w 54925"/>
                <a:gd name="connsiteY4" fmla="*/ 9202 h 44049"/>
                <a:gd name="connsiteX5" fmla="*/ 43757 w 54925"/>
                <a:gd name="connsiteY5" fmla="*/ 25051 h 44049"/>
                <a:gd name="connsiteX6" fmla="*/ 39536 w 54925"/>
                <a:gd name="connsiteY6" fmla="*/ 25051 h 44049"/>
                <a:gd name="connsiteX7" fmla="*/ 39536 w 54925"/>
                <a:gd name="connsiteY7" fmla="*/ 29270 h 44049"/>
                <a:gd name="connsiteX8" fmla="*/ 43757 w 54925"/>
                <a:gd name="connsiteY8" fmla="*/ 29270 h 44049"/>
                <a:gd name="connsiteX9" fmla="*/ 43757 w 54925"/>
                <a:gd name="connsiteY9" fmla="*/ 25051 h 44049"/>
                <a:gd name="connsiteX10" fmla="*/ 26737 w 54925"/>
                <a:gd name="connsiteY10" fmla="*/ 1475 h 44049"/>
                <a:gd name="connsiteX11" fmla="*/ 21393 w 54925"/>
                <a:gd name="connsiteY11" fmla="*/ 6772 h 44049"/>
                <a:gd name="connsiteX12" fmla="*/ 23637 w 54925"/>
                <a:gd name="connsiteY12" fmla="*/ 11129 h 44049"/>
                <a:gd name="connsiteX13" fmla="*/ 18698 w 54925"/>
                <a:gd name="connsiteY13" fmla="*/ 22896 h 44049"/>
                <a:gd name="connsiteX14" fmla="*/ 25479 w 54925"/>
                <a:gd name="connsiteY14" fmla="*/ 11978 h 44049"/>
                <a:gd name="connsiteX15" fmla="*/ 26737 w 54925"/>
                <a:gd name="connsiteY15" fmla="*/ 12117 h 44049"/>
                <a:gd name="connsiteX16" fmla="*/ 32037 w 54925"/>
                <a:gd name="connsiteY16" fmla="*/ 6772 h 44049"/>
                <a:gd name="connsiteX17" fmla="*/ 26737 w 54925"/>
                <a:gd name="connsiteY17" fmla="*/ 1475 h 44049"/>
                <a:gd name="connsiteX18" fmla="*/ 13802 w 54925"/>
                <a:gd name="connsiteY18" fmla="*/ 24961 h 44049"/>
                <a:gd name="connsiteX19" fmla="*/ 9581 w 54925"/>
                <a:gd name="connsiteY19" fmla="*/ 24961 h 44049"/>
                <a:gd name="connsiteX20" fmla="*/ 9581 w 54925"/>
                <a:gd name="connsiteY20" fmla="*/ 29180 h 44049"/>
                <a:gd name="connsiteX21" fmla="*/ 13802 w 54925"/>
                <a:gd name="connsiteY21" fmla="*/ 29180 h 44049"/>
                <a:gd name="connsiteX22" fmla="*/ 13802 w 54925"/>
                <a:gd name="connsiteY22" fmla="*/ 24961 h 44049"/>
                <a:gd name="connsiteX23" fmla="*/ 5540 w 54925"/>
                <a:gd name="connsiteY23" fmla="*/ 9106 h 44049"/>
                <a:gd name="connsiteX24" fmla="*/ 2578 w 54925"/>
                <a:gd name="connsiteY24" fmla="*/ 12075 h 44049"/>
                <a:gd name="connsiteX25" fmla="*/ 5540 w 54925"/>
                <a:gd name="connsiteY25" fmla="*/ 15079 h 44049"/>
                <a:gd name="connsiteX26" fmla="*/ 8551 w 54925"/>
                <a:gd name="connsiteY26" fmla="*/ 12075 h 44049"/>
                <a:gd name="connsiteX27" fmla="*/ 5540 w 54925"/>
                <a:gd name="connsiteY27" fmla="*/ 9106 h 44049"/>
                <a:gd name="connsiteX28" fmla="*/ 26651 w 54925"/>
                <a:gd name="connsiteY28" fmla="*/ 36279 h 44049"/>
                <a:gd name="connsiteX29" fmla="*/ 29658 w 54925"/>
                <a:gd name="connsiteY29" fmla="*/ 33316 h 44049"/>
                <a:gd name="connsiteX30" fmla="*/ 26651 w 54925"/>
                <a:gd name="connsiteY30" fmla="*/ 30306 h 44049"/>
                <a:gd name="connsiteX31" fmla="*/ 23686 w 54925"/>
                <a:gd name="connsiteY31" fmla="*/ 33316 h 44049"/>
                <a:gd name="connsiteX32" fmla="*/ 26651 w 54925"/>
                <a:gd name="connsiteY32" fmla="*/ 36279 h 44049"/>
                <a:gd name="connsiteX33" fmla="*/ 26693 w 54925"/>
                <a:gd name="connsiteY33" fmla="*/ 40588 h 44049"/>
                <a:gd name="connsiteX34" fmla="*/ -748 w 54925"/>
                <a:gd name="connsiteY34" fmla="*/ 13153 h 44049"/>
                <a:gd name="connsiteX35" fmla="*/ 4911 w 54925"/>
                <a:gd name="connsiteY35" fmla="*/ -3462 h 44049"/>
                <a:gd name="connsiteX36" fmla="*/ 48562 w 54925"/>
                <a:gd name="connsiteY36" fmla="*/ -3462 h 44049"/>
                <a:gd name="connsiteX37" fmla="*/ 54178 w 54925"/>
                <a:gd name="connsiteY37" fmla="*/ 13153 h 44049"/>
                <a:gd name="connsiteX38" fmla="*/ 26693 w 54925"/>
                <a:gd name="connsiteY38" fmla="*/ 40588 h 4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4925" h="44049">
                  <a:moveTo>
                    <a:pt x="47887" y="9202"/>
                  </a:moveTo>
                  <a:cubicBezTo>
                    <a:pt x="46225" y="9202"/>
                    <a:pt x="44880" y="10542"/>
                    <a:pt x="44880" y="12206"/>
                  </a:cubicBezTo>
                  <a:cubicBezTo>
                    <a:pt x="44880" y="13871"/>
                    <a:pt x="46225" y="15169"/>
                    <a:pt x="47887" y="15169"/>
                  </a:cubicBezTo>
                  <a:cubicBezTo>
                    <a:pt x="49506" y="15169"/>
                    <a:pt x="50851" y="13871"/>
                    <a:pt x="50851" y="12206"/>
                  </a:cubicBezTo>
                  <a:cubicBezTo>
                    <a:pt x="50851" y="10542"/>
                    <a:pt x="49506" y="9202"/>
                    <a:pt x="47887" y="9202"/>
                  </a:cubicBezTo>
                  <a:close/>
                  <a:moveTo>
                    <a:pt x="43757" y="25051"/>
                  </a:moveTo>
                  <a:cubicBezTo>
                    <a:pt x="42592" y="23883"/>
                    <a:pt x="40701" y="23883"/>
                    <a:pt x="39536" y="25051"/>
                  </a:cubicBezTo>
                  <a:cubicBezTo>
                    <a:pt x="38368" y="26218"/>
                    <a:pt x="38368" y="28103"/>
                    <a:pt x="39536" y="29270"/>
                  </a:cubicBezTo>
                  <a:cubicBezTo>
                    <a:pt x="40701" y="30437"/>
                    <a:pt x="42592" y="30437"/>
                    <a:pt x="43757" y="29270"/>
                  </a:cubicBezTo>
                  <a:cubicBezTo>
                    <a:pt x="44925" y="28103"/>
                    <a:pt x="44925" y="26218"/>
                    <a:pt x="43757" y="25051"/>
                  </a:cubicBezTo>
                  <a:close/>
                  <a:moveTo>
                    <a:pt x="26737" y="1475"/>
                  </a:moveTo>
                  <a:cubicBezTo>
                    <a:pt x="23772" y="1475"/>
                    <a:pt x="21393" y="3858"/>
                    <a:pt x="21393" y="6772"/>
                  </a:cubicBezTo>
                  <a:cubicBezTo>
                    <a:pt x="21393" y="8567"/>
                    <a:pt x="22294" y="10183"/>
                    <a:pt x="23637" y="11129"/>
                  </a:cubicBezTo>
                  <a:lnTo>
                    <a:pt x="18698" y="22896"/>
                  </a:lnTo>
                  <a:lnTo>
                    <a:pt x="25479" y="11978"/>
                  </a:lnTo>
                  <a:lnTo>
                    <a:pt x="26737" y="12117"/>
                  </a:lnTo>
                  <a:cubicBezTo>
                    <a:pt x="29658" y="12117"/>
                    <a:pt x="32037" y="9734"/>
                    <a:pt x="32037" y="6772"/>
                  </a:cubicBezTo>
                  <a:cubicBezTo>
                    <a:pt x="32037" y="3858"/>
                    <a:pt x="29658" y="1475"/>
                    <a:pt x="26737" y="1475"/>
                  </a:cubicBezTo>
                  <a:close/>
                  <a:moveTo>
                    <a:pt x="13802" y="24961"/>
                  </a:moveTo>
                  <a:cubicBezTo>
                    <a:pt x="12637" y="23794"/>
                    <a:pt x="10751" y="23794"/>
                    <a:pt x="9581" y="24961"/>
                  </a:cubicBezTo>
                  <a:cubicBezTo>
                    <a:pt x="8415" y="26128"/>
                    <a:pt x="8415" y="28013"/>
                    <a:pt x="9581" y="29180"/>
                  </a:cubicBezTo>
                  <a:cubicBezTo>
                    <a:pt x="10751" y="30347"/>
                    <a:pt x="12637" y="30347"/>
                    <a:pt x="13802" y="29180"/>
                  </a:cubicBezTo>
                  <a:cubicBezTo>
                    <a:pt x="14973" y="28013"/>
                    <a:pt x="14973" y="26128"/>
                    <a:pt x="13802" y="24961"/>
                  </a:cubicBezTo>
                  <a:close/>
                  <a:moveTo>
                    <a:pt x="5540" y="9106"/>
                  </a:moveTo>
                  <a:cubicBezTo>
                    <a:pt x="3924" y="9106"/>
                    <a:pt x="2578" y="10459"/>
                    <a:pt x="2578" y="12075"/>
                  </a:cubicBezTo>
                  <a:cubicBezTo>
                    <a:pt x="2578" y="13732"/>
                    <a:pt x="3924" y="15079"/>
                    <a:pt x="5540" y="15079"/>
                  </a:cubicBezTo>
                  <a:cubicBezTo>
                    <a:pt x="7204" y="15079"/>
                    <a:pt x="8551" y="13732"/>
                    <a:pt x="8551" y="12075"/>
                  </a:cubicBezTo>
                  <a:cubicBezTo>
                    <a:pt x="8551" y="10459"/>
                    <a:pt x="7204" y="9106"/>
                    <a:pt x="5540" y="9106"/>
                  </a:cubicBezTo>
                  <a:close/>
                  <a:moveTo>
                    <a:pt x="26651" y="36279"/>
                  </a:moveTo>
                  <a:cubicBezTo>
                    <a:pt x="28309" y="36279"/>
                    <a:pt x="29658" y="34932"/>
                    <a:pt x="29658" y="33316"/>
                  </a:cubicBezTo>
                  <a:cubicBezTo>
                    <a:pt x="29658" y="31652"/>
                    <a:pt x="28309" y="30306"/>
                    <a:pt x="26651" y="30306"/>
                  </a:cubicBezTo>
                  <a:cubicBezTo>
                    <a:pt x="24986" y="30306"/>
                    <a:pt x="23686" y="31652"/>
                    <a:pt x="23686" y="33316"/>
                  </a:cubicBezTo>
                  <a:cubicBezTo>
                    <a:pt x="23686" y="34932"/>
                    <a:pt x="24986" y="36279"/>
                    <a:pt x="26651" y="36279"/>
                  </a:cubicBezTo>
                  <a:close/>
                  <a:moveTo>
                    <a:pt x="26693" y="40588"/>
                  </a:moveTo>
                  <a:cubicBezTo>
                    <a:pt x="11555" y="40588"/>
                    <a:pt x="-748" y="28282"/>
                    <a:pt x="-748" y="13153"/>
                  </a:cubicBezTo>
                  <a:cubicBezTo>
                    <a:pt x="-748" y="6903"/>
                    <a:pt x="1364" y="1158"/>
                    <a:pt x="4911" y="-3462"/>
                  </a:cubicBezTo>
                  <a:lnTo>
                    <a:pt x="48562" y="-3462"/>
                  </a:lnTo>
                  <a:cubicBezTo>
                    <a:pt x="52109" y="1158"/>
                    <a:pt x="54178" y="6903"/>
                    <a:pt x="54178" y="13153"/>
                  </a:cubicBezTo>
                  <a:cubicBezTo>
                    <a:pt x="54178" y="28282"/>
                    <a:pt x="41872" y="40588"/>
                    <a:pt x="26693" y="40588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744E50E-0A19-400A-7D9E-1D0A5F6EE523}"/>
                </a:ext>
              </a:extLst>
            </p:cNvPr>
            <p:cNvSpPr/>
            <p:nvPr/>
          </p:nvSpPr>
          <p:spPr>
            <a:xfrm flipV="1">
              <a:off x="6916929" y="2128635"/>
              <a:ext cx="3478095" cy="84667"/>
            </a:xfrm>
            <a:custGeom>
              <a:avLst/>
              <a:gdLst>
                <a:gd name="connsiteX0" fmla="*/ 3475286 w 3478095"/>
                <a:gd name="connsiteY0" fmla="*/ -3687 h 84667"/>
                <a:gd name="connsiteX1" fmla="*/ -2810 w 3478095"/>
                <a:gd name="connsiteY1" fmla="*/ -3687 h 84667"/>
                <a:gd name="connsiteX2" fmla="*/ -2810 w 3478095"/>
                <a:gd name="connsiteY2" fmla="*/ 80981 h 84667"/>
                <a:gd name="connsiteX3" fmla="*/ 3475286 w 3478095"/>
                <a:gd name="connsiteY3" fmla="*/ 80981 h 84667"/>
                <a:gd name="connsiteX4" fmla="*/ 3475286 w 3478095"/>
                <a:gd name="connsiteY4" fmla="*/ -3687 h 84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8095" h="84667">
                  <a:moveTo>
                    <a:pt x="3475286" y="-3687"/>
                  </a:moveTo>
                  <a:lnTo>
                    <a:pt x="-2810" y="-3687"/>
                  </a:lnTo>
                  <a:lnTo>
                    <a:pt x="-2810" y="80981"/>
                  </a:lnTo>
                  <a:lnTo>
                    <a:pt x="3475286" y="80981"/>
                  </a:lnTo>
                  <a:lnTo>
                    <a:pt x="3475286" y="-3687"/>
                  </a:lnTo>
                </a:path>
              </a:pathLst>
            </a:custGeom>
            <a:solidFill>
              <a:schemeClr val="bg2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98D7CFE4-C201-B964-6495-4A158EAC59C9}"/>
                </a:ext>
              </a:extLst>
            </p:cNvPr>
            <p:cNvSpPr/>
            <p:nvPr/>
          </p:nvSpPr>
          <p:spPr>
            <a:xfrm flipV="1">
              <a:off x="6942231" y="2149972"/>
              <a:ext cx="41996" cy="41998"/>
            </a:xfrm>
            <a:custGeom>
              <a:avLst/>
              <a:gdLst>
                <a:gd name="connsiteX0" fmla="*/ 41311 w 41996"/>
                <a:gd name="connsiteY0" fmla="*/ 17312 h 41998"/>
                <a:gd name="connsiteX1" fmla="*/ 20311 w 41996"/>
                <a:gd name="connsiteY1" fmla="*/ -3687 h 41998"/>
                <a:gd name="connsiteX2" fmla="*/ -686 w 41996"/>
                <a:gd name="connsiteY2" fmla="*/ 17312 h 41998"/>
                <a:gd name="connsiteX3" fmla="*/ 20311 w 41996"/>
                <a:gd name="connsiteY3" fmla="*/ 38312 h 41998"/>
                <a:gd name="connsiteX4" fmla="*/ 41311 w 41996"/>
                <a:gd name="connsiteY4" fmla="*/ 1731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96" h="41998">
                  <a:moveTo>
                    <a:pt x="41311" y="17312"/>
                  </a:moveTo>
                  <a:cubicBezTo>
                    <a:pt x="41311" y="5718"/>
                    <a:pt x="31910" y="-3687"/>
                    <a:pt x="20311" y="-3687"/>
                  </a:cubicBezTo>
                  <a:cubicBezTo>
                    <a:pt x="8715" y="-3687"/>
                    <a:pt x="-686" y="5718"/>
                    <a:pt x="-686" y="17312"/>
                  </a:cubicBezTo>
                  <a:cubicBezTo>
                    <a:pt x="-686" y="28914"/>
                    <a:pt x="8715" y="38312"/>
                    <a:pt x="20311" y="38312"/>
                  </a:cubicBezTo>
                  <a:cubicBezTo>
                    <a:pt x="31910" y="38312"/>
                    <a:pt x="41311" y="28914"/>
                    <a:pt x="41311" y="17312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AAAF5785-4CF7-13AC-90C8-7D8F0A571B25}"/>
                </a:ext>
              </a:extLst>
            </p:cNvPr>
            <p:cNvSpPr/>
            <p:nvPr/>
          </p:nvSpPr>
          <p:spPr>
            <a:xfrm flipV="1">
              <a:off x="7027975" y="2149972"/>
              <a:ext cx="41996" cy="41998"/>
            </a:xfrm>
            <a:custGeom>
              <a:avLst/>
              <a:gdLst>
                <a:gd name="connsiteX0" fmla="*/ 41203 w 41996"/>
                <a:gd name="connsiteY0" fmla="*/ 17312 h 41998"/>
                <a:gd name="connsiteX1" fmla="*/ 20206 w 41996"/>
                <a:gd name="connsiteY1" fmla="*/ -3687 h 41998"/>
                <a:gd name="connsiteX2" fmla="*/ -794 w 41996"/>
                <a:gd name="connsiteY2" fmla="*/ 17312 h 41998"/>
                <a:gd name="connsiteX3" fmla="*/ 20206 w 41996"/>
                <a:gd name="connsiteY3" fmla="*/ 38312 h 41998"/>
                <a:gd name="connsiteX4" fmla="*/ 41203 w 41996"/>
                <a:gd name="connsiteY4" fmla="*/ 1731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96" h="41998">
                  <a:moveTo>
                    <a:pt x="41203" y="17312"/>
                  </a:moveTo>
                  <a:cubicBezTo>
                    <a:pt x="41203" y="5718"/>
                    <a:pt x="31802" y="-3687"/>
                    <a:pt x="20206" y="-3687"/>
                  </a:cubicBezTo>
                  <a:cubicBezTo>
                    <a:pt x="8607" y="-3687"/>
                    <a:pt x="-794" y="5718"/>
                    <a:pt x="-794" y="17312"/>
                  </a:cubicBezTo>
                  <a:cubicBezTo>
                    <a:pt x="-794" y="28914"/>
                    <a:pt x="8607" y="38312"/>
                    <a:pt x="20206" y="38312"/>
                  </a:cubicBezTo>
                  <a:cubicBezTo>
                    <a:pt x="31802" y="38312"/>
                    <a:pt x="41203" y="28914"/>
                    <a:pt x="41203" y="17312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15D009FF-F58C-BAF3-5643-306608B0AB57}"/>
                </a:ext>
              </a:extLst>
            </p:cNvPr>
            <p:cNvSpPr/>
            <p:nvPr/>
          </p:nvSpPr>
          <p:spPr>
            <a:xfrm flipV="1">
              <a:off x="7113718" y="2149972"/>
              <a:ext cx="41998" cy="41998"/>
            </a:xfrm>
            <a:custGeom>
              <a:avLst/>
              <a:gdLst>
                <a:gd name="connsiteX0" fmla="*/ 41098 w 41998"/>
                <a:gd name="connsiteY0" fmla="*/ 17312 h 41998"/>
                <a:gd name="connsiteX1" fmla="*/ 20098 w 41998"/>
                <a:gd name="connsiteY1" fmla="*/ -3687 h 41998"/>
                <a:gd name="connsiteX2" fmla="*/ -901 w 41998"/>
                <a:gd name="connsiteY2" fmla="*/ 17312 h 41998"/>
                <a:gd name="connsiteX3" fmla="*/ 20098 w 41998"/>
                <a:gd name="connsiteY3" fmla="*/ 38312 h 41998"/>
                <a:gd name="connsiteX4" fmla="*/ 41098 w 41998"/>
                <a:gd name="connsiteY4" fmla="*/ 17312 h 4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98" h="41998">
                  <a:moveTo>
                    <a:pt x="41098" y="17312"/>
                  </a:moveTo>
                  <a:cubicBezTo>
                    <a:pt x="41098" y="5718"/>
                    <a:pt x="31699" y="-3687"/>
                    <a:pt x="20098" y="-3687"/>
                  </a:cubicBezTo>
                  <a:cubicBezTo>
                    <a:pt x="8504" y="-3687"/>
                    <a:pt x="-901" y="5718"/>
                    <a:pt x="-901" y="17312"/>
                  </a:cubicBezTo>
                  <a:cubicBezTo>
                    <a:pt x="-901" y="28914"/>
                    <a:pt x="8504" y="38312"/>
                    <a:pt x="20098" y="38312"/>
                  </a:cubicBezTo>
                  <a:cubicBezTo>
                    <a:pt x="31699" y="38312"/>
                    <a:pt x="41098" y="28914"/>
                    <a:pt x="41098" y="17312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21124D4A-4372-672F-6F13-CF9D69A9E346}"/>
                </a:ext>
              </a:extLst>
            </p:cNvPr>
            <p:cNvSpPr/>
            <p:nvPr/>
          </p:nvSpPr>
          <p:spPr>
            <a:xfrm flipV="1">
              <a:off x="7307513" y="2540897"/>
              <a:ext cx="1383300" cy="613750"/>
            </a:xfrm>
            <a:custGeom>
              <a:avLst/>
              <a:gdLst>
                <a:gd name="connsiteX0" fmla="*/ 1381315 w 1383300"/>
                <a:gd name="connsiteY0" fmla="*/ -2576 h 613750"/>
                <a:gd name="connsiteX1" fmla="*/ -1986 w 1383300"/>
                <a:gd name="connsiteY1" fmla="*/ -2576 h 613750"/>
                <a:gd name="connsiteX2" fmla="*/ -1986 w 1383300"/>
                <a:gd name="connsiteY2" fmla="*/ 611174 h 613750"/>
                <a:gd name="connsiteX3" fmla="*/ 1381315 w 1383300"/>
                <a:gd name="connsiteY3" fmla="*/ 611174 h 613750"/>
                <a:gd name="connsiteX4" fmla="*/ 1381315 w 1383300"/>
                <a:gd name="connsiteY4" fmla="*/ -2576 h 61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00" h="613750">
                  <a:moveTo>
                    <a:pt x="1381315" y="-2576"/>
                  </a:moveTo>
                  <a:lnTo>
                    <a:pt x="-1986" y="-2576"/>
                  </a:lnTo>
                  <a:lnTo>
                    <a:pt x="-1986" y="611174"/>
                  </a:lnTo>
                  <a:lnTo>
                    <a:pt x="1381315" y="611174"/>
                  </a:lnTo>
                  <a:lnTo>
                    <a:pt x="1381315" y="-2576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D1CBF2F-DBB2-C14D-81A1-EE9B3B70C701}"/>
                </a:ext>
              </a:extLst>
            </p:cNvPr>
            <p:cNvSpPr/>
            <p:nvPr/>
          </p:nvSpPr>
          <p:spPr>
            <a:xfrm flipV="1">
              <a:off x="7475723" y="2619916"/>
              <a:ext cx="1864" cy="440982"/>
            </a:xfrm>
            <a:custGeom>
              <a:avLst/>
              <a:gdLst>
                <a:gd name="connsiteX0" fmla="*/ -398 w 1864"/>
                <a:gd name="connsiteY0" fmla="*/ -2588 h 440982"/>
                <a:gd name="connsiteX1" fmla="*/ -847 w 1864"/>
                <a:gd name="connsiteY1" fmla="*/ 33576 h 440982"/>
                <a:gd name="connsiteX2" fmla="*/ -1013 w 1864"/>
                <a:gd name="connsiteY2" fmla="*/ 69739 h 440982"/>
                <a:gd name="connsiteX3" fmla="*/ -1330 w 1864"/>
                <a:gd name="connsiteY3" fmla="*/ 142067 h 440982"/>
                <a:gd name="connsiteX4" fmla="*/ -1020 w 1864"/>
                <a:gd name="connsiteY4" fmla="*/ 366073 h 440982"/>
                <a:gd name="connsiteX5" fmla="*/ -854 w 1864"/>
                <a:gd name="connsiteY5" fmla="*/ 402237 h 440982"/>
                <a:gd name="connsiteX6" fmla="*/ -398 w 1864"/>
                <a:gd name="connsiteY6" fmla="*/ 438394 h 440982"/>
                <a:gd name="connsiteX7" fmla="*/ 58 w 1864"/>
                <a:gd name="connsiteY7" fmla="*/ 402237 h 440982"/>
                <a:gd name="connsiteX8" fmla="*/ 223 w 1864"/>
                <a:gd name="connsiteY8" fmla="*/ 366073 h 440982"/>
                <a:gd name="connsiteX9" fmla="*/ 534 w 1864"/>
                <a:gd name="connsiteY9" fmla="*/ 142067 h 440982"/>
                <a:gd name="connsiteX10" fmla="*/ 216 w 1864"/>
                <a:gd name="connsiteY10" fmla="*/ 69739 h 440982"/>
                <a:gd name="connsiteX11" fmla="*/ 58 w 1864"/>
                <a:gd name="connsiteY11" fmla="*/ 33576 h 440982"/>
                <a:gd name="connsiteX12" fmla="*/ -398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398" y="-2588"/>
                  </a:moveTo>
                  <a:lnTo>
                    <a:pt x="-847" y="33576"/>
                  </a:lnTo>
                  <a:lnTo>
                    <a:pt x="-1013" y="69739"/>
                  </a:lnTo>
                  <a:lnTo>
                    <a:pt x="-1330" y="142067"/>
                  </a:lnTo>
                  <a:lnTo>
                    <a:pt x="-1020" y="366073"/>
                  </a:lnTo>
                  <a:lnTo>
                    <a:pt x="-854" y="402237"/>
                  </a:lnTo>
                  <a:lnTo>
                    <a:pt x="-398" y="438394"/>
                  </a:lnTo>
                  <a:lnTo>
                    <a:pt x="58" y="402237"/>
                  </a:lnTo>
                  <a:lnTo>
                    <a:pt x="223" y="366073"/>
                  </a:lnTo>
                  <a:lnTo>
                    <a:pt x="534" y="142067"/>
                  </a:lnTo>
                  <a:lnTo>
                    <a:pt x="216" y="69739"/>
                  </a:lnTo>
                  <a:lnTo>
                    <a:pt x="58" y="33576"/>
                  </a:lnTo>
                  <a:lnTo>
                    <a:pt x="-398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7CA41574-8581-7086-2A6B-A7898F4B1A4F}"/>
                </a:ext>
              </a:extLst>
            </p:cNvPr>
            <p:cNvSpPr/>
            <p:nvPr/>
          </p:nvSpPr>
          <p:spPr>
            <a:xfrm flipV="1">
              <a:off x="7576342" y="2619916"/>
              <a:ext cx="1864" cy="440982"/>
            </a:xfrm>
            <a:custGeom>
              <a:avLst/>
              <a:gdLst>
                <a:gd name="connsiteX0" fmla="*/ -524 w 1864"/>
                <a:gd name="connsiteY0" fmla="*/ -2588 h 440982"/>
                <a:gd name="connsiteX1" fmla="*/ -980 w 1864"/>
                <a:gd name="connsiteY1" fmla="*/ 33576 h 440982"/>
                <a:gd name="connsiteX2" fmla="*/ -1146 w 1864"/>
                <a:gd name="connsiteY2" fmla="*/ 69739 h 440982"/>
                <a:gd name="connsiteX3" fmla="*/ -1457 w 1864"/>
                <a:gd name="connsiteY3" fmla="*/ 142067 h 440982"/>
                <a:gd name="connsiteX4" fmla="*/ -1146 w 1864"/>
                <a:gd name="connsiteY4" fmla="*/ 366073 h 440982"/>
                <a:gd name="connsiteX5" fmla="*/ -980 w 1864"/>
                <a:gd name="connsiteY5" fmla="*/ 402237 h 440982"/>
                <a:gd name="connsiteX6" fmla="*/ -524 w 1864"/>
                <a:gd name="connsiteY6" fmla="*/ 438394 h 440982"/>
                <a:gd name="connsiteX7" fmla="*/ -69 w 1864"/>
                <a:gd name="connsiteY7" fmla="*/ 402237 h 440982"/>
                <a:gd name="connsiteX8" fmla="*/ 97 w 1864"/>
                <a:gd name="connsiteY8" fmla="*/ 366073 h 440982"/>
                <a:gd name="connsiteX9" fmla="*/ 408 w 1864"/>
                <a:gd name="connsiteY9" fmla="*/ 142067 h 440982"/>
                <a:gd name="connsiteX10" fmla="*/ 97 w 1864"/>
                <a:gd name="connsiteY10" fmla="*/ 69739 h 440982"/>
                <a:gd name="connsiteX11" fmla="*/ -69 w 1864"/>
                <a:gd name="connsiteY11" fmla="*/ 33576 h 440982"/>
                <a:gd name="connsiteX12" fmla="*/ -524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524" y="-2588"/>
                  </a:moveTo>
                  <a:lnTo>
                    <a:pt x="-980" y="33576"/>
                  </a:lnTo>
                  <a:lnTo>
                    <a:pt x="-1146" y="69739"/>
                  </a:lnTo>
                  <a:lnTo>
                    <a:pt x="-1457" y="142067"/>
                  </a:lnTo>
                  <a:lnTo>
                    <a:pt x="-1146" y="366073"/>
                  </a:lnTo>
                  <a:lnTo>
                    <a:pt x="-980" y="402237"/>
                  </a:lnTo>
                  <a:lnTo>
                    <a:pt x="-524" y="438394"/>
                  </a:lnTo>
                  <a:lnTo>
                    <a:pt x="-69" y="402237"/>
                  </a:lnTo>
                  <a:lnTo>
                    <a:pt x="97" y="366073"/>
                  </a:lnTo>
                  <a:lnTo>
                    <a:pt x="408" y="142067"/>
                  </a:lnTo>
                  <a:lnTo>
                    <a:pt x="97" y="69739"/>
                  </a:lnTo>
                  <a:lnTo>
                    <a:pt x="-69" y="33576"/>
                  </a:lnTo>
                  <a:lnTo>
                    <a:pt x="-524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684A643D-275D-812F-C46A-394E7906E716}"/>
                </a:ext>
              </a:extLst>
            </p:cNvPr>
            <p:cNvSpPr/>
            <p:nvPr/>
          </p:nvSpPr>
          <p:spPr>
            <a:xfrm flipV="1">
              <a:off x="7676962" y="2619916"/>
              <a:ext cx="1857" cy="440982"/>
            </a:xfrm>
            <a:custGeom>
              <a:avLst/>
              <a:gdLst>
                <a:gd name="connsiteX0" fmla="*/ -651 w 1857"/>
                <a:gd name="connsiteY0" fmla="*/ -2588 h 440982"/>
                <a:gd name="connsiteX1" fmla="*/ -1106 w 1857"/>
                <a:gd name="connsiteY1" fmla="*/ 33576 h 440982"/>
                <a:gd name="connsiteX2" fmla="*/ -1272 w 1857"/>
                <a:gd name="connsiteY2" fmla="*/ 69739 h 440982"/>
                <a:gd name="connsiteX3" fmla="*/ -1583 w 1857"/>
                <a:gd name="connsiteY3" fmla="*/ 142067 h 440982"/>
                <a:gd name="connsiteX4" fmla="*/ -1272 w 1857"/>
                <a:gd name="connsiteY4" fmla="*/ 366073 h 440982"/>
                <a:gd name="connsiteX5" fmla="*/ -1106 w 1857"/>
                <a:gd name="connsiteY5" fmla="*/ 402237 h 440982"/>
                <a:gd name="connsiteX6" fmla="*/ -651 w 1857"/>
                <a:gd name="connsiteY6" fmla="*/ 438394 h 440982"/>
                <a:gd name="connsiteX7" fmla="*/ -195 w 1857"/>
                <a:gd name="connsiteY7" fmla="*/ 402237 h 440982"/>
                <a:gd name="connsiteX8" fmla="*/ -36 w 1857"/>
                <a:gd name="connsiteY8" fmla="*/ 366073 h 440982"/>
                <a:gd name="connsiteX9" fmla="*/ 275 w 1857"/>
                <a:gd name="connsiteY9" fmla="*/ 142067 h 440982"/>
                <a:gd name="connsiteX10" fmla="*/ -36 w 1857"/>
                <a:gd name="connsiteY10" fmla="*/ 69739 h 440982"/>
                <a:gd name="connsiteX11" fmla="*/ -202 w 1857"/>
                <a:gd name="connsiteY11" fmla="*/ 33576 h 440982"/>
                <a:gd name="connsiteX12" fmla="*/ -651 w 1857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7" h="440982">
                  <a:moveTo>
                    <a:pt x="-651" y="-2588"/>
                  </a:moveTo>
                  <a:lnTo>
                    <a:pt x="-1106" y="33576"/>
                  </a:lnTo>
                  <a:lnTo>
                    <a:pt x="-1272" y="69739"/>
                  </a:lnTo>
                  <a:lnTo>
                    <a:pt x="-1583" y="142067"/>
                  </a:lnTo>
                  <a:lnTo>
                    <a:pt x="-1272" y="366073"/>
                  </a:lnTo>
                  <a:lnTo>
                    <a:pt x="-1106" y="402237"/>
                  </a:lnTo>
                  <a:lnTo>
                    <a:pt x="-651" y="438394"/>
                  </a:lnTo>
                  <a:lnTo>
                    <a:pt x="-195" y="402237"/>
                  </a:lnTo>
                  <a:lnTo>
                    <a:pt x="-36" y="366073"/>
                  </a:lnTo>
                  <a:lnTo>
                    <a:pt x="275" y="142067"/>
                  </a:lnTo>
                  <a:lnTo>
                    <a:pt x="-36" y="69739"/>
                  </a:lnTo>
                  <a:lnTo>
                    <a:pt x="-202" y="33576"/>
                  </a:lnTo>
                  <a:lnTo>
                    <a:pt x="-651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2A3EF57B-2A14-E0E4-3254-A517A31B0008}"/>
                </a:ext>
              </a:extLst>
            </p:cNvPr>
            <p:cNvSpPr/>
            <p:nvPr/>
          </p:nvSpPr>
          <p:spPr>
            <a:xfrm flipV="1">
              <a:off x="7777581" y="2619916"/>
              <a:ext cx="1857" cy="440982"/>
            </a:xfrm>
            <a:custGeom>
              <a:avLst/>
              <a:gdLst>
                <a:gd name="connsiteX0" fmla="*/ -784 w 1857"/>
                <a:gd name="connsiteY0" fmla="*/ -2588 h 440982"/>
                <a:gd name="connsiteX1" fmla="*/ -1233 w 1857"/>
                <a:gd name="connsiteY1" fmla="*/ 33576 h 440982"/>
                <a:gd name="connsiteX2" fmla="*/ -1398 w 1857"/>
                <a:gd name="connsiteY2" fmla="*/ 69739 h 440982"/>
                <a:gd name="connsiteX3" fmla="*/ -1709 w 1857"/>
                <a:gd name="connsiteY3" fmla="*/ 142067 h 440982"/>
                <a:gd name="connsiteX4" fmla="*/ -1398 w 1857"/>
                <a:gd name="connsiteY4" fmla="*/ 366073 h 440982"/>
                <a:gd name="connsiteX5" fmla="*/ -1240 w 1857"/>
                <a:gd name="connsiteY5" fmla="*/ 402237 h 440982"/>
                <a:gd name="connsiteX6" fmla="*/ -784 w 1857"/>
                <a:gd name="connsiteY6" fmla="*/ 438394 h 440982"/>
                <a:gd name="connsiteX7" fmla="*/ -321 w 1857"/>
                <a:gd name="connsiteY7" fmla="*/ 402237 h 440982"/>
                <a:gd name="connsiteX8" fmla="*/ -162 w 1857"/>
                <a:gd name="connsiteY8" fmla="*/ 366073 h 440982"/>
                <a:gd name="connsiteX9" fmla="*/ 148 w 1857"/>
                <a:gd name="connsiteY9" fmla="*/ 142067 h 440982"/>
                <a:gd name="connsiteX10" fmla="*/ -162 w 1857"/>
                <a:gd name="connsiteY10" fmla="*/ 69739 h 440982"/>
                <a:gd name="connsiteX11" fmla="*/ -328 w 1857"/>
                <a:gd name="connsiteY11" fmla="*/ 33576 h 440982"/>
                <a:gd name="connsiteX12" fmla="*/ -784 w 1857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7" h="440982">
                  <a:moveTo>
                    <a:pt x="-784" y="-2588"/>
                  </a:moveTo>
                  <a:lnTo>
                    <a:pt x="-1233" y="33576"/>
                  </a:lnTo>
                  <a:lnTo>
                    <a:pt x="-1398" y="69739"/>
                  </a:lnTo>
                  <a:lnTo>
                    <a:pt x="-1709" y="142067"/>
                  </a:lnTo>
                  <a:lnTo>
                    <a:pt x="-1398" y="366073"/>
                  </a:lnTo>
                  <a:lnTo>
                    <a:pt x="-1240" y="402237"/>
                  </a:lnTo>
                  <a:lnTo>
                    <a:pt x="-784" y="438394"/>
                  </a:lnTo>
                  <a:lnTo>
                    <a:pt x="-321" y="402237"/>
                  </a:lnTo>
                  <a:lnTo>
                    <a:pt x="-162" y="366073"/>
                  </a:lnTo>
                  <a:lnTo>
                    <a:pt x="148" y="142067"/>
                  </a:lnTo>
                  <a:lnTo>
                    <a:pt x="-162" y="69739"/>
                  </a:lnTo>
                  <a:lnTo>
                    <a:pt x="-328" y="33576"/>
                  </a:lnTo>
                  <a:lnTo>
                    <a:pt x="-784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25B463CF-0915-719C-7D8A-0C1D732FC71E}"/>
                </a:ext>
              </a:extLst>
            </p:cNvPr>
            <p:cNvSpPr/>
            <p:nvPr/>
          </p:nvSpPr>
          <p:spPr>
            <a:xfrm flipV="1">
              <a:off x="7878194" y="2619916"/>
              <a:ext cx="1864" cy="440982"/>
            </a:xfrm>
            <a:custGeom>
              <a:avLst/>
              <a:gdLst>
                <a:gd name="connsiteX0" fmla="*/ -903 w 1864"/>
                <a:gd name="connsiteY0" fmla="*/ -2588 h 440982"/>
                <a:gd name="connsiteX1" fmla="*/ -1352 w 1864"/>
                <a:gd name="connsiteY1" fmla="*/ 33576 h 440982"/>
                <a:gd name="connsiteX2" fmla="*/ -1518 w 1864"/>
                <a:gd name="connsiteY2" fmla="*/ 69739 h 440982"/>
                <a:gd name="connsiteX3" fmla="*/ -1835 w 1864"/>
                <a:gd name="connsiteY3" fmla="*/ 142067 h 440982"/>
                <a:gd name="connsiteX4" fmla="*/ -1525 w 1864"/>
                <a:gd name="connsiteY4" fmla="*/ 366073 h 440982"/>
                <a:gd name="connsiteX5" fmla="*/ -1359 w 1864"/>
                <a:gd name="connsiteY5" fmla="*/ 402237 h 440982"/>
                <a:gd name="connsiteX6" fmla="*/ -903 w 1864"/>
                <a:gd name="connsiteY6" fmla="*/ 438394 h 440982"/>
                <a:gd name="connsiteX7" fmla="*/ -441 w 1864"/>
                <a:gd name="connsiteY7" fmla="*/ 402237 h 440982"/>
                <a:gd name="connsiteX8" fmla="*/ -282 w 1864"/>
                <a:gd name="connsiteY8" fmla="*/ 366073 h 440982"/>
                <a:gd name="connsiteX9" fmla="*/ 29 w 1864"/>
                <a:gd name="connsiteY9" fmla="*/ 142067 h 440982"/>
                <a:gd name="connsiteX10" fmla="*/ -289 w 1864"/>
                <a:gd name="connsiteY10" fmla="*/ 69739 h 440982"/>
                <a:gd name="connsiteX11" fmla="*/ -447 w 1864"/>
                <a:gd name="connsiteY11" fmla="*/ 33576 h 440982"/>
                <a:gd name="connsiteX12" fmla="*/ -903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903" y="-2588"/>
                  </a:moveTo>
                  <a:lnTo>
                    <a:pt x="-1352" y="33576"/>
                  </a:lnTo>
                  <a:lnTo>
                    <a:pt x="-1518" y="69739"/>
                  </a:lnTo>
                  <a:lnTo>
                    <a:pt x="-1835" y="142067"/>
                  </a:lnTo>
                  <a:lnTo>
                    <a:pt x="-1525" y="366073"/>
                  </a:lnTo>
                  <a:lnTo>
                    <a:pt x="-1359" y="402237"/>
                  </a:lnTo>
                  <a:lnTo>
                    <a:pt x="-903" y="438394"/>
                  </a:lnTo>
                  <a:lnTo>
                    <a:pt x="-441" y="402237"/>
                  </a:lnTo>
                  <a:lnTo>
                    <a:pt x="-282" y="366073"/>
                  </a:lnTo>
                  <a:lnTo>
                    <a:pt x="29" y="142067"/>
                  </a:lnTo>
                  <a:lnTo>
                    <a:pt x="-289" y="69739"/>
                  </a:lnTo>
                  <a:lnTo>
                    <a:pt x="-447" y="33576"/>
                  </a:lnTo>
                  <a:lnTo>
                    <a:pt x="-903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0BDAA945-7469-137F-A058-B6679C5E3AC1}"/>
                </a:ext>
              </a:extLst>
            </p:cNvPr>
            <p:cNvSpPr/>
            <p:nvPr/>
          </p:nvSpPr>
          <p:spPr>
            <a:xfrm flipV="1">
              <a:off x="7978813" y="2619916"/>
              <a:ext cx="1864" cy="440982"/>
            </a:xfrm>
            <a:custGeom>
              <a:avLst/>
              <a:gdLst>
                <a:gd name="connsiteX0" fmla="*/ -1029 w 1864"/>
                <a:gd name="connsiteY0" fmla="*/ -2588 h 440982"/>
                <a:gd name="connsiteX1" fmla="*/ -1485 w 1864"/>
                <a:gd name="connsiteY1" fmla="*/ 33576 h 440982"/>
                <a:gd name="connsiteX2" fmla="*/ -1644 w 1864"/>
                <a:gd name="connsiteY2" fmla="*/ 69739 h 440982"/>
                <a:gd name="connsiteX3" fmla="*/ -1962 w 1864"/>
                <a:gd name="connsiteY3" fmla="*/ 142067 h 440982"/>
                <a:gd name="connsiteX4" fmla="*/ -1651 w 1864"/>
                <a:gd name="connsiteY4" fmla="*/ 366073 h 440982"/>
                <a:gd name="connsiteX5" fmla="*/ -1485 w 1864"/>
                <a:gd name="connsiteY5" fmla="*/ 402237 h 440982"/>
                <a:gd name="connsiteX6" fmla="*/ -1029 w 1864"/>
                <a:gd name="connsiteY6" fmla="*/ 438394 h 440982"/>
                <a:gd name="connsiteX7" fmla="*/ -574 w 1864"/>
                <a:gd name="connsiteY7" fmla="*/ 402237 h 440982"/>
                <a:gd name="connsiteX8" fmla="*/ -408 w 1864"/>
                <a:gd name="connsiteY8" fmla="*/ 366073 h 440982"/>
                <a:gd name="connsiteX9" fmla="*/ -97 w 1864"/>
                <a:gd name="connsiteY9" fmla="*/ 142067 h 440982"/>
                <a:gd name="connsiteX10" fmla="*/ -408 w 1864"/>
                <a:gd name="connsiteY10" fmla="*/ 69739 h 440982"/>
                <a:gd name="connsiteX11" fmla="*/ -574 w 1864"/>
                <a:gd name="connsiteY11" fmla="*/ 33576 h 440982"/>
                <a:gd name="connsiteX12" fmla="*/ -1029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1029" y="-2588"/>
                  </a:moveTo>
                  <a:lnTo>
                    <a:pt x="-1485" y="33576"/>
                  </a:lnTo>
                  <a:lnTo>
                    <a:pt x="-1644" y="69739"/>
                  </a:lnTo>
                  <a:lnTo>
                    <a:pt x="-1962" y="142067"/>
                  </a:lnTo>
                  <a:lnTo>
                    <a:pt x="-1651" y="366073"/>
                  </a:lnTo>
                  <a:lnTo>
                    <a:pt x="-1485" y="402237"/>
                  </a:lnTo>
                  <a:lnTo>
                    <a:pt x="-1029" y="438394"/>
                  </a:lnTo>
                  <a:lnTo>
                    <a:pt x="-574" y="402237"/>
                  </a:lnTo>
                  <a:lnTo>
                    <a:pt x="-408" y="366073"/>
                  </a:lnTo>
                  <a:lnTo>
                    <a:pt x="-97" y="142067"/>
                  </a:lnTo>
                  <a:lnTo>
                    <a:pt x="-408" y="69739"/>
                  </a:lnTo>
                  <a:lnTo>
                    <a:pt x="-574" y="33576"/>
                  </a:lnTo>
                  <a:lnTo>
                    <a:pt x="-1029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BD8E3B3-8041-3D78-2D2B-B4A13D9FF9B0}"/>
                </a:ext>
              </a:extLst>
            </p:cNvPr>
            <p:cNvSpPr/>
            <p:nvPr/>
          </p:nvSpPr>
          <p:spPr>
            <a:xfrm flipV="1">
              <a:off x="8079432" y="2619916"/>
              <a:ext cx="1864" cy="440982"/>
            </a:xfrm>
            <a:custGeom>
              <a:avLst/>
              <a:gdLst>
                <a:gd name="connsiteX0" fmla="*/ -1156 w 1864"/>
                <a:gd name="connsiteY0" fmla="*/ -2588 h 440982"/>
                <a:gd name="connsiteX1" fmla="*/ -1611 w 1864"/>
                <a:gd name="connsiteY1" fmla="*/ 33576 h 440982"/>
                <a:gd name="connsiteX2" fmla="*/ -1777 w 1864"/>
                <a:gd name="connsiteY2" fmla="*/ 69739 h 440982"/>
                <a:gd name="connsiteX3" fmla="*/ -2088 w 1864"/>
                <a:gd name="connsiteY3" fmla="*/ 142067 h 440982"/>
                <a:gd name="connsiteX4" fmla="*/ -1777 w 1864"/>
                <a:gd name="connsiteY4" fmla="*/ 366073 h 440982"/>
                <a:gd name="connsiteX5" fmla="*/ -1611 w 1864"/>
                <a:gd name="connsiteY5" fmla="*/ 402237 h 440982"/>
                <a:gd name="connsiteX6" fmla="*/ -1156 w 1864"/>
                <a:gd name="connsiteY6" fmla="*/ 438394 h 440982"/>
                <a:gd name="connsiteX7" fmla="*/ -700 w 1864"/>
                <a:gd name="connsiteY7" fmla="*/ 402237 h 440982"/>
                <a:gd name="connsiteX8" fmla="*/ -534 w 1864"/>
                <a:gd name="connsiteY8" fmla="*/ 366073 h 440982"/>
                <a:gd name="connsiteX9" fmla="*/ -223 w 1864"/>
                <a:gd name="connsiteY9" fmla="*/ 142067 h 440982"/>
                <a:gd name="connsiteX10" fmla="*/ -541 w 1864"/>
                <a:gd name="connsiteY10" fmla="*/ 69739 h 440982"/>
                <a:gd name="connsiteX11" fmla="*/ -707 w 1864"/>
                <a:gd name="connsiteY11" fmla="*/ 33576 h 440982"/>
                <a:gd name="connsiteX12" fmla="*/ -1156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1156" y="-2588"/>
                  </a:moveTo>
                  <a:lnTo>
                    <a:pt x="-1611" y="33576"/>
                  </a:lnTo>
                  <a:lnTo>
                    <a:pt x="-1777" y="69739"/>
                  </a:lnTo>
                  <a:lnTo>
                    <a:pt x="-2088" y="142067"/>
                  </a:lnTo>
                  <a:lnTo>
                    <a:pt x="-1777" y="366073"/>
                  </a:lnTo>
                  <a:lnTo>
                    <a:pt x="-1611" y="402237"/>
                  </a:lnTo>
                  <a:lnTo>
                    <a:pt x="-1156" y="438394"/>
                  </a:lnTo>
                  <a:lnTo>
                    <a:pt x="-700" y="402237"/>
                  </a:lnTo>
                  <a:lnTo>
                    <a:pt x="-534" y="366073"/>
                  </a:lnTo>
                  <a:lnTo>
                    <a:pt x="-223" y="142067"/>
                  </a:lnTo>
                  <a:lnTo>
                    <a:pt x="-541" y="69739"/>
                  </a:lnTo>
                  <a:lnTo>
                    <a:pt x="-707" y="33576"/>
                  </a:lnTo>
                  <a:lnTo>
                    <a:pt x="-1156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B3837EB-B01C-838F-4D33-801CBD19BE5F}"/>
                </a:ext>
              </a:extLst>
            </p:cNvPr>
            <p:cNvSpPr/>
            <p:nvPr/>
          </p:nvSpPr>
          <p:spPr>
            <a:xfrm flipV="1">
              <a:off x="8180052" y="2619916"/>
              <a:ext cx="1857" cy="440982"/>
            </a:xfrm>
            <a:custGeom>
              <a:avLst/>
              <a:gdLst>
                <a:gd name="connsiteX0" fmla="*/ -1282 w 1857"/>
                <a:gd name="connsiteY0" fmla="*/ -2588 h 440982"/>
                <a:gd name="connsiteX1" fmla="*/ -1738 w 1857"/>
                <a:gd name="connsiteY1" fmla="*/ 33576 h 440982"/>
                <a:gd name="connsiteX2" fmla="*/ -1904 w 1857"/>
                <a:gd name="connsiteY2" fmla="*/ 69739 h 440982"/>
                <a:gd name="connsiteX3" fmla="*/ -2214 w 1857"/>
                <a:gd name="connsiteY3" fmla="*/ 142067 h 440982"/>
                <a:gd name="connsiteX4" fmla="*/ -1904 w 1857"/>
                <a:gd name="connsiteY4" fmla="*/ 366073 h 440982"/>
                <a:gd name="connsiteX5" fmla="*/ -1738 w 1857"/>
                <a:gd name="connsiteY5" fmla="*/ 402237 h 440982"/>
                <a:gd name="connsiteX6" fmla="*/ -1282 w 1857"/>
                <a:gd name="connsiteY6" fmla="*/ 438394 h 440982"/>
                <a:gd name="connsiteX7" fmla="*/ -826 w 1857"/>
                <a:gd name="connsiteY7" fmla="*/ 402237 h 440982"/>
                <a:gd name="connsiteX8" fmla="*/ -667 w 1857"/>
                <a:gd name="connsiteY8" fmla="*/ 366073 h 440982"/>
                <a:gd name="connsiteX9" fmla="*/ -357 w 1857"/>
                <a:gd name="connsiteY9" fmla="*/ 142067 h 440982"/>
                <a:gd name="connsiteX10" fmla="*/ -667 w 1857"/>
                <a:gd name="connsiteY10" fmla="*/ 69739 h 440982"/>
                <a:gd name="connsiteX11" fmla="*/ -833 w 1857"/>
                <a:gd name="connsiteY11" fmla="*/ 33576 h 440982"/>
                <a:gd name="connsiteX12" fmla="*/ -1282 w 1857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7" h="440982">
                  <a:moveTo>
                    <a:pt x="-1282" y="-2588"/>
                  </a:moveTo>
                  <a:lnTo>
                    <a:pt x="-1738" y="33576"/>
                  </a:lnTo>
                  <a:lnTo>
                    <a:pt x="-1904" y="69739"/>
                  </a:lnTo>
                  <a:lnTo>
                    <a:pt x="-2214" y="142067"/>
                  </a:lnTo>
                  <a:lnTo>
                    <a:pt x="-1904" y="366073"/>
                  </a:lnTo>
                  <a:lnTo>
                    <a:pt x="-1738" y="402237"/>
                  </a:lnTo>
                  <a:lnTo>
                    <a:pt x="-1282" y="438394"/>
                  </a:lnTo>
                  <a:lnTo>
                    <a:pt x="-826" y="402237"/>
                  </a:lnTo>
                  <a:lnTo>
                    <a:pt x="-667" y="366073"/>
                  </a:lnTo>
                  <a:lnTo>
                    <a:pt x="-357" y="142067"/>
                  </a:lnTo>
                  <a:lnTo>
                    <a:pt x="-667" y="69739"/>
                  </a:lnTo>
                  <a:lnTo>
                    <a:pt x="-833" y="33576"/>
                  </a:lnTo>
                  <a:lnTo>
                    <a:pt x="-1282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E6F7B35A-B038-FF5A-2524-B4AAC2BC1CAE}"/>
                </a:ext>
              </a:extLst>
            </p:cNvPr>
            <p:cNvSpPr/>
            <p:nvPr/>
          </p:nvSpPr>
          <p:spPr>
            <a:xfrm flipV="1">
              <a:off x="8280671" y="2619916"/>
              <a:ext cx="1857" cy="440982"/>
            </a:xfrm>
            <a:custGeom>
              <a:avLst/>
              <a:gdLst>
                <a:gd name="connsiteX0" fmla="*/ -1415 w 1857"/>
                <a:gd name="connsiteY0" fmla="*/ -2588 h 440982"/>
                <a:gd name="connsiteX1" fmla="*/ -1864 w 1857"/>
                <a:gd name="connsiteY1" fmla="*/ 33576 h 440982"/>
                <a:gd name="connsiteX2" fmla="*/ -2030 w 1857"/>
                <a:gd name="connsiteY2" fmla="*/ 69739 h 440982"/>
                <a:gd name="connsiteX3" fmla="*/ -2341 w 1857"/>
                <a:gd name="connsiteY3" fmla="*/ 142067 h 440982"/>
                <a:gd name="connsiteX4" fmla="*/ -2037 w 1857"/>
                <a:gd name="connsiteY4" fmla="*/ 366073 h 440982"/>
                <a:gd name="connsiteX5" fmla="*/ -1871 w 1857"/>
                <a:gd name="connsiteY5" fmla="*/ 402237 h 440982"/>
                <a:gd name="connsiteX6" fmla="*/ -1415 w 1857"/>
                <a:gd name="connsiteY6" fmla="*/ 438394 h 440982"/>
                <a:gd name="connsiteX7" fmla="*/ -959 w 1857"/>
                <a:gd name="connsiteY7" fmla="*/ 402237 h 440982"/>
                <a:gd name="connsiteX8" fmla="*/ -794 w 1857"/>
                <a:gd name="connsiteY8" fmla="*/ 366073 h 440982"/>
                <a:gd name="connsiteX9" fmla="*/ -483 w 1857"/>
                <a:gd name="connsiteY9" fmla="*/ 142067 h 440982"/>
                <a:gd name="connsiteX10" fmla="*/ -794 w 1857"/>
                <a:gd name="connsiteY10" fmla="*/ 69739 h 440982"/>
                <a:gd name="connsiteX11" fmla="*/ -959 w 1857"/>
                <a:gd name="connsiteY11" fmla="*/ 33576 h 440982"/>
                <a:gd name="connsiteX12" fmla="*/ -1415 w 1857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7" h="440982">
                  <a:moveTo>
                    <a:pt x="-1415" y="-2588"/>
                  </a:moveTo>
                  <a:lnTo>
                    <a:pt x="-1864" y="33576"/>
                  </a:lnTo>
                  <a:lnTo>
                    <a:pt x="-2030" y="69739"/>
                  </a:lnTo>
                  <a:lnTo>
                    <a:pt x="-2341" y="142067"/>
                  </a:lnTo>
                  <a:lnTo>
                    <a:pt x="-2037" y="366073"/>
                  </a:lnTo>
                  <a:lnTo>
                    <a:pt x="-1871" y="402237"/>
                  </a:lnTo>
                  <a:lnTo>
                    <a:pt x="-1415" y="438394"/>
                  </a:lnTo>
                  <a:lnTo>
                    <a:pt x="-959" y="402237"/>
                  </a:lnTo>
                  <a:lnTo>
                    <a:pt x="-794" y="366073"/>
                  </a:lnTo>
                  <a:lnTo>
                    <a:pt x="-483" y="142067"/>
                  </a:lnTo>
                  <a:lnTo>
                    <a:pt x="-794" y="69739"/>
                  </a:lnTo>
                  <a:lnTo>
                    <a:pt x="-959" y="33576"/>
                  </a:lnTo>
                  <a:lnTo>
                    <a:pt x="-1415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E295FC1-F184-0EBA-D37A-A77F46FF494E}"/>
                </a:ext>
              </a:extLst>
            </p:cNvPr>
            <p:cNvSpPr/>
            <p:nvPr/>
          </p:nvSpPr>
          <p:spPr>
            <a:xfrm flipV="1">
              <a:off x="8381284" y="2619916"/>
              <a:ext cx="1864" cy="440982"/>
            </a:xfrm>
            <a:custGeom>
              <a:avLst/>
              <a:gdLst>
                <a:gd name="connsiteX0" fmla="*/ -1535 w 1864"/>
                <a:gd name="connsiteY0" fmla="*/ -2588 h 440982"/>
                <a:gd name="connsiteX1" fmla="*/ -1983 w 1864"/>
                <a:gd name="connsiteY1" fmla="*/ 33576 h 440982"/>
                <a:gd name="connsiteX2" fmla="*/ -2149 w 1864"/>
                <a:gd name="connsiteY2" fmla="*/ 69739 h 440982"/>
                <a:gd name="connsiteX3" fmla="*/ -2467 w 1864"/>
                <a:gd name="connsiteY3" fmla="*/ 142067 h 440982"/>
                <a:gd name="connsiteX4" fmla="*/ -2156 w 1864"/>
                <a:gd name="connsiteY4" fmla="*/ 366073 h 440982"/>
                <a:gd name="connsiteX5" fmla="*/ -1990 w 1864"/>
                <a:gd name="connsiteY5" fmla="*/ 402237 h 440982"/>
                <a:gd name="connsiteX6" fmla="*/ -1535 w 1864"/>
                <a:gd name="connsiteY6" fmla="*/ 438394 h 440982"/>
                <a:gd name="connsiteX7" fmla="*/ -1072 w 1864"/>
                <a:gd name="connsiteY7" fmla="*/ 402237 h 440982"/>
                <a:gd name="connsiteX8" fmla="*/ -913 w 1864"/>
                <a:gd name="connsiteY8" fmla="*/ 366073 h 440982"/>
                <a:gd name="connsiteX9" fmla="*/ -602 w 1864"/>
                <a:gd name="connsiteY9" fmla="*/ 142067 h 440982"/>
                <a:gd name="connsiteX10" fmla="*/ -920 w 1864"/>
                <a:gd name="connsiteY10" fmla="*/ 69739 h 440982"/>
                <a:gd name="connsiteX11" fmla="*/ -1079 w 1864"/>
                <a:gd name="connsiteY11" fmla="*/ 33576 h 440982"/>
                <a:gd name="connsiteX12" fmla="*/ -1535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1535" y="-2588"/>
                  </a:moveTo>
                  <a:lnTo>
                    <a:pt x="-1983" y="33576"/>
                  </a:lnTo>
                  <a:lnTo>
                    <a:pt x="-2149" y="69739"/>
                  </a:lnTo>
                  <a:lnTo>
                    <a:pt x="-2467" y="142067"/>
                  </a:lnTo>
                  <a:lnTo>
                    <a:pt x="-2156" y="366073"/>
                  </a:lnTo>
                  <a:lnTo>
                    <a:pt x="-1990" y="402237"/>
                  </a:lnTo>
                  <a:lnTo>
                    <a:pt x="-1535" y="438394"/>
                  </a:lnTo>
                  <a:lnTo>
                    <a:pt x="-1072" y="402237"/>
                  </a:lnTo>
                  <a:lnTo>
                    <a:pt x="-913" y="366073"/>
                  </a:lnTo>
                  <a:lnTo>
                    <a:pt x="-602" y="142067"/>
                  </a:lnTo>
                  <a:lnTo>
                    <a:pt x="-920" y="69739"/>
                  </a:lnTo>
                  <a:lnTo>
                    <a:pt x="-1079" y="33576"/>
                  </a:lnTo>
                  <a:lnTo>
                    <a:pt x="-1535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45003E1-4F87-BB4D-EBA9-5875188BA8E0}"/>
                </a:ext>
              </a:extLst>
            </p:cNvPr>
            <p:cNvSpPr/>
            <p:nvPr/>
          </p:nvSpPr>
          <p:spPr>
            <a:xfrm flipV="1">
              <a:off x="8481903" y="2619916"/>
              <a:ext cx="1864" cy="440982"/>
            </a:xfrm>
            <a:custGeom>
              <a:avLst/>
              <a:gdLst>
                <a:gd name="connsiteX0" fmla="*/ -1661 w 1864"/>
                <a:gd name="connsiteY0" fmla="*/ -2588 h 440982"/>
                <a:gd name="connsiteX1" fmla="*/ -2110 w 1864"/>
                <a:gd name="connsiteY1" fmla="*/ 33576 h 440982"/>
                <a:gd name="connsiteX2" fmla="*/ -2276 w 1864"/>
                <a:gd name="connsiteY2" fmla="*/ 69739 h 440982"/>
                <a:gd name="connsiteX3" fmla="*/ -2593 w 1864"/>
                <a:gd name="connsiteY3" fmla="*/ 142067 h 440982"/>
                <a:gd name="connsiteX4" fmla="*/ -2282 w 1864"/>
                <a:gd name="connsiteY4" fmla="*/ 366073 h 440982"/>
                <a:gd name="connsiteX5" fmla="*/ -2117 w 1864"/>
                <a:gd name="connsiteY5" fmla="*/ 402237 h 440982"/>
                <a:gd name="connsiteX6" fmla="*/ -1661 w 1864"/>
                <a:gd name="connsiteY6" fmla="*/ 438394 h 440982"/>
                <a:gd name="connsiteX7" fmla="*/ -1205 w 1864"/>
                <a:gd name="connsiteY7" fmla="*/ 402237 h 440982"/>
                <a:gd name="connsiteX8" fmla="*/ -1039 w 1864"/>
                <a:gd name="connsiteY8" fmla="*/ 366073 h 440982"/>
                <a:gd name="connsiteX9" fmla="*/ -729 w 1864"/>
                <a:gd name="connsiteY9" fmla="*/ 142067 h 440982"/>
                <a:gd name="connsiteX10" fmla="*/ -1039 w 1864"/>
                <a:gd name="connsiteY10" fmla="*/ 69739 h 440982"/>
                <a:gd name="connsiteX11" fmla="*/ -1212 w 1864"/>
                <a:gd name="connsiteY11" fmla="*/ 33576 h 440982"/>
                <a:gd name="connsiteX12" fmla="*/ -1661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1661" y="-2588"/>
                  </a:moveTo>
                  <a:lnTo>
                    <a:pt x="-2110" y="33576"/>
                  </a:lnTo>
                  <a:lnTo>
                    <a:pt x="-2276" y="69739"/>
                  </a:lnTo>
                  <a:lnTo>
                    <a:pt x="-2593" y="142067"/>
                  </a:lnTo>
                  <a:lnTo>
                    <a:pt x="-2282" y="366073"/>
                  </a:lnTo>
                  <a:lnTo>
                    <a:pt x="-2117" y="402237"/>
                  </a:lnTo>
                  <a:lnTo>
                    <a:pt x="-1661" y="438394"/>
                  </a:lnTo>
                  <a:lnTo>
                    <a:pt x="-1205" y="402237"/>
                  </a:lnTo>
                  <a:lnTo>
                    <a:pt x="-1039" y="366073"/>
                  </a:lnTo>
                  <a:lnTo>
                    <a:pt x="-729" y="142067"/>
                  </a:lnTo>
                  <a:lnTo>
                    <a:pt x="-1039" y="69739"/>
                  </a:lnTo>
                  <a:lnTo>
                    <a:pt x="-1212" y="33576"/>
                  </a:lnTo>
                  <a:lnTo>
                    <a:pt x="-1661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056FC1F-393B-CA25-5BE0-6EBB2DF78B00}"/>
                </a:ext>
              </a:extLst>
            </p:cNvPr>
            <p:cNvSpPr/>
            <p:nvPr/>
          </p:nvSpPr>
          <p:spPr>
            <a:xfrm flipV="1">
              <a:off x="8582522" y="2619916"/>
              <a:ext cx="1864" cy="440982"/>
            </a:xfrm>
            <a:custGeom>
              <a:avLst/>
              <a:gdLst>
                <a:gd name="connsiteX0" fmla="*/ -1787 w 1864"/>
                <a:gd name="connsiteY0" fmla="*/ -2588 h 440982"/>
                <a:gd name="connsiteX1" fmla="*/ -2243 w 1864"/>
                <a:gd name="connsiteY1" fmla="*/ 33576 h 440982"/>
                <a:gd name="connsiteX2" fmla="*/ -2409 w 1864"/>
                <a:gd name="connsiteY2" fmla="*/ 69739 h 440982"/>
                <a:gd name="connsiteX3" fmla="*/ -2719 w 1864"/>
                <a:gd name="connsiteY3" fmla="*/ 142067 h 440982"/>
                <a:gd name="connsiteX4" fmla="*/ -2409 w 1864"/>
                <a:gd name="connsiteY4" fmla="*/ 366073 h 440982"/>
                <a:gd name="connsiteX5" fmla="*/ -2243 w 1864"/>
                <a:gd name="connsiteY5" fmla="*/ 402237 h 440982"/>
                <a:gd name="connsiteX6" fmla="*/ -1787 w 1864"/>
                <a:gd name="connsiteY6" fmla="*/ 438394 h 440982"/>
                <a:gd name="connsiteX7" fmla="*/ -1331 w 1864"/>
                <a:gd name="connsiteY7" fmla="*/ 402237 h 440982"/>
                <a:gd name="connsiteX8" fmla="*/ -1166 w 1864"/>
                <a:gd name="connsiteY8" fmla="*/ 366073 h 440982"/>
                <a:gd name="connsiteX9" fmla="*/ -855 w 1864"/>
                <a:gd name="connsiteY9" fmla="*/ 142067 h 440982"/>
                <a:gd name="connsiteX10" fmla="*/ -1173 w 1864"/>
                <a:gd name="connsiteY10" fmla="*/ 69739 h 440982"/>
                <a:gd name="connsiteX11" fmla="*/ -1331 w 1864"/>
                <a:gd name="connsiteY11" fmla="*/ 33576 h 440982"/>
                <a:gd name="connsiteX12" fmla="*/ -1787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1787" y="-2588"/>
                  </a:moveTo>
                  <a:lnTo>
                    <a:pt x="-2243" y="33576"/>
                  </a:lnTo>
                  <a:lnTo>
                    <a:pt x="-2409" y="69739"/>
                  </a:lnTo>
                  <a:lnTo>
                    <a:pt x="-2719" y="142067"/>
                  </a:lnTo>
                  <a:lnTo>
                    <a:pt x="-2409" y="366073"/>
                  </a:lnTo>
                  <a:lnTo>
                    <a:pt x="-2243" y="402237"/>
                  </a:lnTo>
                  <a:lnTo>
                    <a:pt x="-1787" y="438394"/>
                  </a:lnTo>
                  <a:lnTo>
                    <a:pt x="-1331" y="402237"/>
                  </a:lnTo>
                  <a:lnTo>
                    <a:pt x="-1166" y="366073"/>
                  </a:lnTo>
                  <a:lnTo>
                    <a:pt x="-855" y="142067"/>
                  </a:lnTo>
                  <a:lnTo>
                    <a:pt x="-1173" y="69739"/>
                  </a:lnTo>
                  <a:lnTo>
                    <a:pt x="-1331" y="33576"/>
                  </a:lnTo>
                  <a:lnTo>
                    <a:pt x="-1787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4A27091-169C-C785-CAC6-A6841B1539F9}"/>
                </a:ext>
              </a:extLst>
            </p:cNvPr>
            <p:cNvSpPr/>
            <p:nvPr/>
          </p:nvSpPr>
          <p:spPr>
            <a:xfrm flipV="1">
              <a:off x="7376036" y="2770662"/>
              <a:ext cx="1255536" cy="1864"/>
            </a:xfrm>
            <a:custGeom>
              <a:avLst/>
              <a:gdLst>
                <a:gd name="connsiteX0" fmla="*/ -1992 w 1255536"/>
                <a:gd name="connsiteY0" fmla="*/ -1769 h 1864"/>
                <a:gd name="connsiteX1" fmla="*/ 311896 w 1255536"/>
                <a:gd name="connsiteY1" fmla="*/ -1148 h 1864"/>
                <a:gd name="connsiteX2" fmla="*/ 625776 w 1255536"/>
                <a:gd name="connsiteY2" fmla="*/ -837 h 1864"/>
                <a:gd name="connsiteX3" fmla="*/ 939657 w 1255536"/>
                <a:gd name="connsiteY3" fmla="*/ -1148 h 1864"/>
                <a:gd name="connsiteX4" fmla="*/ 1253544 w 1255536"/>
                <a:gd name="connsiteY4" fmla="*/ -1769 h 1864"/>
                <a:gd name="connsiteX5" fmla="*/ 939657 w 1255536"/>
                <a:gd name="connsiteY5" fmla="*/ -2391 h 1864"/>
                <a:gd name="connsiteX6" fmla="*/ 625776 w 1255536"/>
                <a:gd name="connsiteY6" fmla="*/ -2701 h 1864"/>
                <a:gd name="connsiteX7" fmla="*/ 311896 w 1255536"/>
                <a:gd name="connsiteY7" fmla="*/ -2384 h 1864"/>
                <a:gd name="connsiteX8" fmla="*/ -1992 w 1255536"/>
                <a:gd name="connsiteY8" fmla="*/ -1769 h 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36" h="1864">
                  <a:moveTo>
                    <a:pt x="-1992" y="-1769"/>
                  </a:moveTo>
                  <a:lnTo>
                    <a:pt x="311896" y="-1148"/>
                  </a:lnTo>
                  <a:lnTo>
                    <a:pt x="625776" y="-837"/>
                  </a:lnTo>
                  <a:lnTo>
                    <a:pt x="939657" y="-1148"/>
                  </a:lnTo>
                  <a:lnTo>
                    <a:pt x="1253544" y="-1769"/>
                  </a:lnTo>
                  <a:lnTo>
                    <a:pt x="939657" y="-2391"/>
                  </a:lnTo>
                  <a:lnTo>
                    <a:pt x="625776" y="-2701"/>
                  </a:lnTo>
                  <a:lnTo>
                    <a:pt x="311896" y="-2384"/>
                  </a:lnTo>
                  <a:lnTo>
                    <a:pt x="-1992" y="-1769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E1DB6DF3-A839-C3FA-F56D-F38A3FFB5D83}"/>
                </a:ext>
              </a:extLst>
            </p:cNvPr>
            <p:cNvSpPr/>
            <p:nvPr/>
          </p:nvSpPr>
          <p:spPr>
            <a:xfrm flipV="1">
              <a:off x="7376036" y="2840753"/>
              <a:ext cx="1255536" cy="1857"/>
            </a:xfrm>
            <a:custGeom>
              <a:avLst/>
              <a:gdLst>
                <a:gd name="connsiteX0" fmla="*/ -1992 w 1255536"/>
                <a:gd name="connsiteY0" fmla="*/ -1661 h 1857"/>
                <a:gd name="connsiteX1" fmla="*/ 311896 w 1255536"/>
                <a:gd name="connsiteY1" fmla="*/ -1039 h 1857"/>
                <a:gd name="connsiteX2" fmla="*/ 625776 w 1255536"/>
                <a:gd name="connsiteY2" fmla="*/ -729 h 1857"/>
                <a:gd name="connsiteX3" fmla="*/ 939657 w 1255536"/>
                <a:gd name="connsiteY3" fmla="*/ -1039 h 1857"/>
                <a:gd name="connsiteX4" fmla="*/ 1253544 w 1255536"/>
                <a:gd name="connsiteY4" fmla="*/ -1661 h 1857"/>
                <a:gd name="connsiteX5" fmla="*/ 939657 w 1255536"/>
                <a:gd name="connsiteY5" fmla="*/ -2276 h 1857"/>
                <a:gd name="connsiteX6" fmla="*/ 625776 w 1255536"/>
                <a:gd name="connsiteY6" fmla="*/ -2586 h 1857"/>
                <a:gd name="connsiteX7" fmla="*/ 311896 w 1255536"/>
                <a:gd name="connsiteY7" fmla="*/ -2276 h 1857"/>
                <a:gd name="connsiteX8" fmla="*/ -1992 w 1255536"/>
                <a:gd name="connsiteY8" fmla="*/ -1661 h 1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36" h="1857">
                  <a:moveTo>
                    <a:pt x="-1992" y="-1661"/>
                  </a:moveTo>
                  <a:lnTo>
                    <a:pt x="311896" y="-1039"/>
                  </a:lnTo>
                  <a:lnTo>
                    <a:pt x="625776" y="-729"/>
                  </a:lnTo>
                  <a:lnTo>
                    <a:pt x="939657" y="-1039"/>
                  </a:lnTo>
                  <a:lnTo>
                    <a:pt x="1253544" y="-1661"/>
                  </a:lnTo>
                  <a:lnTo>
                    <a:pt x="939657" y="-2276"/>
                  </a:lnTo>
                  <a:lnTo>
                    <a:pt x="625776" y="-2586"/>
                  </a:lnTo>
                  <a:lnTo>
                    <a:pt x="311896" y="-2276"/>
                  </a:lnTo>
                  <a:lnTo>
                    <a:pt x="-1992" y="-1661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D1741B4E-C449-E6E8-BC59-A4F55F9CAEF6}"/>
                </a:ext>
              </a:extLst>
            </p:cNvPr>
            <p:cNvSpPr/>
            <p:nvPr/>
          </p:nvSpPr>
          <p:spPr>
            <a:xfrm flipV="1">
              <a:off x="7376036" y="2700572"/>
              <a:ext cx="1255536" cy="1864"/>
            </a:xfrm>
            <a:custGeom>
              <a:avLst/>
              <a:gdLst>
                <a:gd name="connsiteX0" fmla="*/ -1992 w 1255536"/>
                <a:gd name="connsiteY0" fmla="*/ -1884 h 1864"/>
                <a:gd name="connsiteX1" fmla="*/ 311896 w 1255536"/>
                <a:gd name="connsiteY1" fmla="*/ -1270 h 1864"/>
                <a:gd name="connsiteX2" fmla="*/ 625776 w 1255536"/>
                <a:gd name="connsiteY2" fmla="*/ -952 h 1864"/>
                <a:gd name="connsiteX3" fmla="*/ 939657 w 1255536"/>
                <a:gd name="connsiteY3" fmla="*/ -1263 h 1864"/>
                <a:gd name="connsiteX4" fmla="*/ 1253544 w 1255536"/>
                <a:gd name="connsiteY4" fmla="*/ -1884 h 1864"/>
                <a:gd name="connsiteX5" fmla="*/ 939657 w 1255536"/>
                <a:gd name="connsiteY5" fmla="*/ -2506 h 1864"/>
                <a:gd name="connsiteX6" fmla="*/ 625776 w 1255536"/>
                <a:gd name="connsiteY6" fmla="*/ -2816 h 1864"/>
                <a:gd name="connsiteX7" fmla="*/ 311896 w 1255536"/>
                <a:gd name="connsiteY7" fmla="*/ -2506 h 1864"/>
                <a:gd name="connsiteX8" fmla="*/ -1992 w 1255536"/>
                <a:gd name="connsiteY8" fmla="*/ -1884 h 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36" h="1864">
                  <a:moveTo>
                    <a:pt x="-1992" y="-1884"/>
                  </a:moveTo>
                  <a:lnTo>
                    <a:pt x="311896" y="-1270"/>
                  </a:lnTo>
                  <a:lnTo>
                    <a:pt x="625776" y="-952"/>
                  </a:lnTo>
                  <a:lnTo>
                    <a:pt x="939657" y="-1263"/>
                  </a:lnTo>
                  <a:lnTo>
                    <a:pt x="1253544" y="-1884"/>
                  </a:lnTo>
                  <a:lnTo>
                    <a:pt x="939657" y="-2506"/>
                  </a:lnTo>
                  <a:lnTo>
                    <a:pt x="625776" y="-2816"/>
                  </a:lnTo>
                  <a:lnTo>
                    <a:pt x="311896" y="-2506"/>
                  </a:lnTo>
                  <a:lnTo>
                    <a:pt x="-1992" y="-188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C55D60EB-C6F5-2EC7-5776-7E7D032F5332}"/>
                </a:ext>
              </a:extLst>
            </p:cNvPr>
            <p:cNvSpPr/>
            <p:nvPr/>
          </p:nvSpPr>
          <p:spPr>
            <a:xfrm flipV="1">
              <a:off x="7376036" y="2630489"/>
              <a:ext cx="1255536" cy="1864"/>
            </a:xfrm>
            <a:custGeom>
              <a:avLst/>
              <a:gdLst>
                <a:gd name="connsiteX0" fmla="*/ -1992 w 1255536"/>
                <a:gd name="connsiteY0" fmla="*/ -1999 h 1864"/>
                <a:gd name="connsiteX1" fmla="*/ 311896 w 1255536"/>
                <a:gd name="connsiteY1" fmla="*/ -1378 h 1864"/>
                <a:gd name="connsiteX2" fmla="*/ 625776 w 1255536"/>
                <a:gd name="connsiteY2" fmla="*/ -1067 h 1864"/>
                <a:gd name="connsiteX3" fmla="*/ 939657 w 1255536"/>
                <a:gd name="connsiteY3" fmla="*/ -1378 h 1864"/>
                <a:gd name="connsiteX4" fmla="*/ 1253544 w 1255536"/>
                <a:gd name="connsiteY4" fmla="*/ -1999 h 1864"/>
                <a:gd name="connsiteX5" fmla="*/ 939657 w 1255536"/>
                <a:gd name="connsiteY5" fmla="*/ -2621 h 1864"/>
                <a:gd name="connsiteX6" fmla="*/ 625776 w 1255536"/>
                <a:gd name="connsiteY6" fmla="*/ -2931 h 1864"/>
                <a:gd name="connsiteX7" fmla="*/ 311896 w 1255536"/>
                <a:gd name="connsiteY7" fmla="*/ -2614 h 1864"/>
                <a:gd name="connsiteX8" fmla="*/ -1992 w 1255536"/>
                <a:gd name="connsiteY8" fmla="*/ -1999 h 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36" h="1864">
                  <a:moveTo>
                    <a:pt x="-1992" y="-1999"/>
                  </a:moveTo>
                  <a:lnTo>
                    <a:pt x="311896" y="-1378"/>
                  </a:lnTo>
                  <a:lnTo>
                    <a:pt x="625776" y="-1067"/>
                  </a:lnTo>
                  <a:lnTo>
                    <a:pt x="939657" y="-1378"/>
                  </a:lnTo>
                  <a:lnTo>
                    <a:pt x="1253544" y="-1999"/>
                  </a:lnTo>
                  <a:lnTo>
                    <a:pt x="939657" y="-2621"/>
                  </a:lnTo>
                  <a:lnTo>
                    <a:pt x="625776" y="-2931"/>
                  </a:lnTo>
                  <a:lnTo>
                    <a:pt x="311896" y="-2614"/>
                  </a:lnTo>
                  <a:lnTo>
                    <a:pt x="-1992" y="-1999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392FF3C5-49C0-5232-F62D-87A3E6B85E0B}"/>
                </a:ext>
              </a:extLst>
            </p:cNvPr>
            <p:cNvSpPr/>
            <p:nvPr/>
          </p:nvSpPr>
          <p:spPr>
            <a:xfrm flipV="1">
              <a:off x="7374938" y="2908979"/>
              <a:ext cx="1255536" cy="1857"/>
            </a:xfrm>
            <a:custGeom>
              <a:avLst/>
              <a:gdLst>
                <a:gd name="connsiteX0" fmla="*/ -1991 w 1255536"/>
                <a:gd name="connsiteY0" fmla="*/ -1542 h 1857"/>
                <a:gd name="connsiteX1" fmla="*/ 311897 w 1255536"/>
                <a:gd name="connsiteY1" fmla="*/ -927 h 1857"/>
                <a:gd name="connsiteX2" fmla="*/ 625778 w 1255536"/>
                <a:gd name="connsiteY2" fmla="*/ -617 h 1857"/>
                <a:gd name="connsiteX3" fmla="*/ 939665 w 1255536"/>
                <a:gd name="connsiteY3" fmla="*/ -927 h 1857"/>
                <a:gd name="connsiteX4" fmla="*/ 1253546 w 1255536"/>
                <a:gd name="connsiteY4" fmla="*/ -1542 h 1857"/>
                <a:gd name="connsiteX5" fmla="*/ 939665 w 1255536"/>
                <a:gd name="connsiteY5" fmla="*/ -2164 h 1857"/>
                <a:gd name="connsiteX6" fmla="*/ 625778 w 1255536"/>
                <a:gd name="connsiteY6" fmla="*/ -2474 h 1857"/>
                <a:gd name="connsiteX7" fmla="*/ 311897 w 1255536"/>
                <a:gd name="connsiteY7" fmla="*/ -2164 h 1857"/>
                <a:gd name="connsiteX8" fmla="*/ -1991 w 1255536"/>
                <a:gd name="connsiteY8" fmla="*/ -1542 h 1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36" h="1857">
                  <a:moveTo>
                    <a:pt x="-1991" y="-1542"/>
                  </a:moveTo>
                  <a:lnTo>
                    <a:pt x="311897" y="-927"/>
                  </a:lnTo>
                  <a:lnTo>
                    <a:pt x="625778" y="-617"/>
                  </a:lnTo>
                  <a:lnTo>
                    <a:pt x="939665" y="-927"/>
                  </a:lnTo>
                  <a:lnTo>
                    <a:pt x="1253546" y="-1542"/>
                  </a:lnTo>
                  <a:lnTo>
                    <a:pt x="939665" y="-2164"/>
                  </a:lnTo>
                  <a:lnTo>
                    <a:pt x="625778" y="-2474"/>
                  </a:lnTo>
                  <a:lnTo>
                    <a:pt x="311897" y="-2164"/>
                  </a:lnTo>
                  <a:lnTo>
                    <a:pt x="-1991" y="-1542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001F0E9-E2FA-FE5C-0A88-B31FF2FDD7D1}"/>
                </a:ext>
              </a:extLst>
            </p:cNvPr>
            <p:cNvSpPr/>
            <p:nvPr/>
          </p:nvSpPr>
          <p:spPr>
            <a:xfrm flipV="1">
              <a:off x="7376036" y="2980927"/>
              <a:ext cx="1255536" cy="1864"/>
            </a:xfrm>
            <a:custGeom>
              <a:avLst/>
              <a:gdLst>
                <a:gd name="connsiteX0" fmla="*/ -1992 w 1255536"/>
                <a:gd name="connsiteY0" fmla="*/ -1424 h 1864"/>
                <a:gd name="connsiteX1" fmla="*/ 311896 w 1255536"/>
                <a:gd name="connsiteY1" fmla="*/ -809 h 1864"/>
                <a:gd name="connsiteX2" fmla="*/ 625776 w 1255536"/>
                <a:gd name="connsiteY2" fmla="*/ -492 h 1864"/>
                <a:gd name="connsiteX3" fmla="*/ 939657 w 1255536"/>
                <a:gd name="connsiteY3" fmla="*/ -802 h 1864"/>
                <a:gd name="connsiteX4" fmla="*/ 1253544 w 1255536"/>
                <a:gd name="connsiteY4" fmla="*/ -1424 h 1864"/>
                <a:gd name="connsiteX5" fmla="*/ 939657 w 1255536"/>
                <a:gd name="connsiteY5" fmla="*/ -2045 h 1864"/>
                <a:gd name="connsiteX6" fmla="*/ 625776 w 1255536"/>
                <a:gd name="connsiteY6" fmla="*/ -2356 h 1864"/>
                <a:gd name="connsiteX7" fmla="*/ 311896 w 1255536"/>
                <a:gd name="connsiteY7" fmla="*/ -2045 h 1864"/>
                <a:gd name="connsiteX8" fmla="*/ -1992 w 1255536"/>
                <a:gd name="connsiteY8" fmla="*/ -1424 h 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36" h="1864">
                  <a:moveTo>
                    <a:pt x="-1992" y="-1424"/>
                  </a:moveTo>
                  <a:lnTo>
                    <a:pt x="311896" y="-809"/>
                  </a:lnTo>
                  <a:lnTo>
                    <a:pt x="625776" y="-492"/>
                  </a:lnTo>
                  <a:lnTo>
                    <a:pt x="939657" y="-802"/>
                  </a:lnTo>
                  <a:lnTo>
                    <a:pt x="1253544" y="-1424"/>
                  </a:lnTo>
                  <a:lnTo>
                    <a:pt x="939657" y="-2045"/>
                  </a:lnTo>
                  <a:lnTo>
                    <a:pt x="625776" y="-2356"/>
                  </a:lnTo>
                  <a:lnTo>
                    <a:pt x="311896" y="-2045"/>
                  </a:lnTo>
                  <a:lnTo>
                    <a:pt x="-1992" y="-142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DA7A9B0-A936-D868-5D99-07DEA94DA7D4}"/>
                </a:ext>
              </a:extLst>
            </p:cNvPr>
            <p:cNvSpPr/>
            <p:nvPr/>
          </p:nvSpPr>
          <p:spPr>
            <a:xfrm flipV="1">
              <a:off x="7376036" y="2809761"/>
              <a:ext cx="1207419" cy="234253"/>
            </a:xfrm>
            <a:custGeom>
              <a:avLst/>
              <a:gdLst>
                <a:gd name="connsiteX0" fmla="*/ -1962 w 1207419"/>
                <a:gd name="connsiteY0" fmla="*/ -2446 h 234253"/>
                <a:gd name="connsiteX1" fmla="*/ 97511 w 1207419"/>
                <a:gd name="connsiteY1" fmla="*/ 58460 h 234253"/>
                <a:gd name="connsiteX2" fmla="*/ 97601 w 1207419"/>
                <a:gd name="connsiteY2" fmla="*/ 58494 h 234253"/>
                <a:gd name="connsiteX3" fmla="*/ 97698 w 1207419"/>
                <a:gd name="connsiteY3" fmla="*/ 58494 h 234253"/>
                <a:gd name="connsiteX4" fmla="*/ 199222 w 1207419"/>
                <a:gd name="connsiteY4" fmla="*/ 132983 h 234253"/>
                <a:gd name="connsiteX5" fmla="*/ 199450 w 1207419"/>
                <a:gd name="connsiteY5" fmla="*/ 132997 h 234253"/>
                <a:gd name="connsiteX6" fmla="*/ 199664 w 1207419"/>
                <a:gd name="connsiteY6" fmla="*/ 132914 h 234253"/>
                <a:gd name="connsiteX7" fmla="*/ 300366 w 1207419"/>
                <a:gd name="connsiteY7" fmla="*/ 92911 h 234253"/>
                <a:gd name="connsiteX8" fmla="*/ 300117 w 1207419"/>
                <a:gd name="connsiteY8" fmla="*/ 92980 h 234253"/>
                <a:gd name="connsiteX9" fmla="*/ 400771 w 1207419"/>
                <a:gd name="connsiteY9" fmla="*/ 131264 h 234253"/>
                <a:gd name="connsiteX10" fmla="*/ 400385 w 1207419"/>
                <a:gd name="connsiteY10" fmla="*/ 131285 h 234253"/>
                <a:gd name="connsiteX11" fmla="*/ 500983 w 1207419"/>
                <a:gd name="connsiteY11" fmla="*/ 202804 h 234253"/>
                <a:gd name="connsiteX12" fmla="*/ 601610 w 1207419"/>
                <a:gd name="connsiteY12" fmla="*/ 137859 h 234253"/>
                <a:gd name="connsiteX13" fmla="*/ 702243 w 1207419"/>
                <a:gd name="connsiteY13" fmla="*/ 99996 h 234253"/>
                <a:gd name="connsiteX14" fmla="*/ 702464 w 1207419"/>
                <a:gd name="connsiteY14" fmla="*/ 100010 h 234253"/>
                <a:gd name="connsiteX15" fmla="*/ 702685 w 1207419"/>
                <a:gd name="connsiteY15" fmla="*/ 99968 h 234253"/>
                <a:gd name="connsiteX16" fmla="*/ 803256 w 1207419"/>
                <a:gd name="connsiteY16" fmla="*/ 124586 h 234253"/>
                <a:gd name="connsiteX17" fmla="*/ 802503 w 1207419"/>
                <a:gd name="connsiteY17" fmla="*/ 124517 h 234253"/>
                <a:gd name="connsiteX18" fmla="*/ 903199 w 1207419"/>
                <a:gd name="connsiteY18" fmla="*/ 162870 h 234253"/>
                <a:gd name="connsiteX19" fmla="*/ 903454 w 1207419"/>
                <a:gd name="connsiteY19" fmla="*/ 162960 h 234253"/>
                <a:gd name="connsiteX20" fmla="*/ 903717 w 1207419"/>
                <a:gd name="connsiteY20" fmla="*/ 162932 h 234253"/>
                <a:gd name="connsiteX21" fmla="*/ 1004308 w 1207419"/>
                <a:gd name="connsiteY21" fmla="*/ 152243 h 234253"/>
                <a:gd name="connsiteX22" fmla="*/ 1004011 w 1207419"/>
                <a:gd name="connsiteY22" fmla="*/ 152222 h 234253"/>
                <a:gd name="connsiteX23" fmla="*/ 1104783 w 1207419"/>
                <a:gd name="connsiteY23" fmla="*/ 176826 h 234253"/>
                <a:gd name="connsiteX24" fmla="*/ 1104810 w 1207419"/>
                <a:gd name="connsiteY24" fmla="*/ 176833 h 234253"/>
                <a:gd name="connsiteX25" fmla="*/ 1104838 w 1207419"/>
                <a:gd name="connsiteY25" fmla="*/ 176833 h 234253"/>
                <a:gd name="connsiteX26" fmla="*/ 1205457 w 1207419"/>
                <a:gd name="connsiteY26" fmla="*/ 231807 h 234253"/>
                <a:gd name="connsiteX27" fmla="*/ 1104838 w 1207419"/>
                <a:gd name="connsiteY27" fmla="*/ 176370 h 234253"/>
                <a:gd name="connsiteX28" fmla="*/ 1104893 w 1207419"/>
                <a:gd name="connsiteY28" fmla="*/ 176377 h 234253"/>
                <a:gd name="connsiteX29" fmla="*/ 1004433 w 1207419"/>
                <a:gd name="connsiteY29" fmla="*/ 150530 h 234253"/>
                <a:gd name="connsiteX30" fmla="*/ 1004288 w 1207419"/>
                <a:gd name="connsiteY30" fmla="*/ 150496 h 234253"/>
                <a:gd name="connsiteX31" fmla="*/ 1004129 w 1207419"/>
                <a:gd name="connsiteY31" fmla="*/ 150509 h 234253"/>
                <a:gd name="connsiteX32" fmla="*/ 903489 w 1207419"/>
                <a:gd name="connsiteY32" fmla="*/ 160695 h 234253"/>
                <a:gd name="connsiteX33" fmla="*/ 904000 w 1207419"/>
                <a:gd name="connsiteY33" fmla="*/ 160764 h 234253"/>
                <a:gd name="connsiteX34" fmla="*/ 803470 w 1207419"/>
                <a:gd name="connsiteY34" fmla="*/ 121997 h 234253"/>
                <a:gd name="connsiteX35" fmla="*/ 803104 w 1207419"/>
                <a:gd name="connsiteY35" fmla="*/ 121852 h 234253"/>
                <a:gd name="connsiteX36" fmla="*/ 802710 w 1207419"/>
                <a:gd name="connsiteY36" fmla="*/ 121935 h 234253"/>
                <a:gd name="connsiteX37" fmla="*/ 702050 w 1207419"/>
                <a:gd name="connsiteY37" fmla="*/ 96889 h 234253"/>
                <a:gd name="connsiteX38" fmla="*/ 702485 w 1207419"/>
                <a:gd name="connsiteY38" fmla="*/ 96861 h 234253"/>
                <a:gd name="connsiteX39" fmla="*/ 601748 w 1207419"/>
                <a:gd name="connsiteY39" fmla="*/ 134503 h 234253"/>
                <a:gd name="connsiteX40" fmla="*/ 501273 w 1207419"/>
                <a:gd name="connsiteY40" fmla="*/ 199414 h 234253"/>
                <a:gd name="connsiteX41" fmla="*/ 400640 w 1207419"/>
                <a:gd name="connsiteY41" fmla="*/ 128308 h 234253"/>
                <a:gd name="connsiteX42" fmla="*/ 400440 w 1207419"/>
                <a:gd name="connsiteY42" fmla="*/ 128295 h 234253"/>
                <a:gd name="connsiteX43" fmla="*/ 400247 w 1207419"/>
                <a:gd name="connsiteY43" fmla="*/ 128329 h 234253"/>
                <a:gd name="connsiteX44" fmla="*/ 299669 w 1207419"/>
                <a:gd name="connsiteY44" fmla="*/ 90473 h 234253"/>
                <a:gd name="connsiteX45" fmla="*/ 299537 w 1207419"/>
                <a:gd name="connsiteY45" fmla="*/ 90494 h 234253"/>
                <a:gd name="connsiteX46" fmla="*/ 299420 w 1207419"/>
                <a:gd name="connsiteY46" fmla="*/ 90543 h 234253"/>
                <a:gd name="connsiteX47" fmla="*/ 198890 w 1207419"/>
                <a:gd name="connsiteY47" fmla="*/ 130967 h 234253"/>
                <a:gd name="connsiteX48" fmla="*/ 199325 w 1207419"/>
                <a:gd name="connsiteY48" fmla="*/ 130891 h 234253"/>
                <a:gd name="connsiteX49" fmla="*/ 97760 w 1207419"/>
                <a:gd name="connsiteY49" fmla="*/ 57196 h 234253"/>
                <a:gd name="connsiteX50" fmla="*/ 97939 w 1207419"/>
                <a:gd name="connsiteY50" fmla="*/ 57231 h 234253"/>
                <a:gd name="connsiteX51" fmla="*/ -1962 w 1207419"/>
                <a:gd name="connsiteY51" fmla="*/ -2446 h 23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207419" h="234253">
                  <a:moveTo>
                    <a:pt x="-1962" y="-2446"/>
                  </a:moveTo>
                  <a:lnTo>
                    <a:pt x="97511" y="58460"/>
                  </a:lnTo>
                  <a:lnTo>
                    <a:pt x="97601" y="58494"/>
                  </a:lnTo>
                  <a:lnTo>
                    <a:pt x="97698" y="58494"/>
                  </a:lnTo>
                  <a:lnTo>
                    <a:pt x="199222" y="132983"/>
                  </a:lnTo>
                  <a:lnTo>
                    <a:pt x="199450" y="132997"/>
                  </a:lnTo>
                  <a:lnTo>
                    <a:pt x="199664" y="132914"/>
                  </a:lnTo>
                  <a:lnTo>
                    <a:pt x="300366" y="92911"/>
                  </a:lnTo>
                  <a:lnTo>
                    <a:pt x="300117" y="92980"/>
                  </a:lnTo>
                  <a:lnTo>
                    <a:pt x="400771" y="131264"/>
                  </a:lnTo>
                  <a:lnTo>
                    <a:pt x="400385" y="131285"/>
                  </a:lnTo>
                  <a:lnTo>
                    <a:pt x="500983" y="202804"/>
                  </a:lnTo>
                  <a:lnTo>
                    <a:pt x="601610" y="137859"/>
                  </a:lnTo>
                  <a:lnTo>
                    <a:pt x="702243" y="99996"/>
                  </a:lnTo>
                  <a:lnTo>
                    <a:pt x="702464" y="100010"/>
                  </a:lnTo>
                  <a:lnTo>
                    <a:pt x="702685" y="99968"/>
                  </a:lnTo>
                  <a:lnTo>
                    <a:pt x="803256" y="124586"/>
                  </a:lnTo>
                  <a:lnTo>
                    <a:pt x="802503" y="124517"/>
                  </a:lnTo>
                  <a:lnTo>
                    <a:pt x="903199" y="162870"/>
                  </a:lnTo>
                  <a:lnTo>
                    <a:pt x="903454" y="162960"/>
                  </a:lnTo>
                  <a:lnTo>
                    <a:pt x="903717" y="162932"/>
                  </a:lnTo>
                  <a:lnTo>
                    <a:pt x="1004308" y="152243"/>
                  </a:lnTo>
                  <a:lnTo>
                    <a:pt x="1004011" y="152222"/>
                  </a:lnTo>
                  <a:lnTo>
                    <a:pt x="1104783" y="176826"/>
                  </a:lnTo>
                  <a:lnTo>
                    <a:pt x="1104810" y="176833"/>
                  </a:lnTo>
                  <a:lnTo>
                    <a:pt x="1104838" y="176833"/>
                  </a:lnTo>
                  <a:lnTo>
                    <a:pt x="1205457" y="231807"/>
                  </a:lnTo>
                  <a:lnTo>
                    <a:pt x="1104838" y="176370"/>
                  </a:lnTo>
                  <a:lnTo>
                    <a:pt x="1104893" y="176377"/>
                  </a:lnTo>
                  <a:lnTo>
                    <a:pt x="1004433" y="150530"/>
                  </a:lnTo>
                  <a:lnTo>
                    <a:pt x="1004288" y="150496"/>
                  </a:lnTo>
                  <a:lnTo>
                    <a:pt x="1004129" y="150509"/>
                  </a:lnTo>
                  <a:lnTo>
                    <a:pt x="903489" y="160695"/>
                  </a:lnTo>
                  <a:lnTo>
                    <a:pt x="904000" y="160764"/>
                  </a:lnTo>
                  <a:lnTo>
                    <a:pt x="803470" y="121997"/>
                  </a:lnTo>
                  <a:lnTo>
                    <a:pt x="803104" y="121852"/>
                  </a:lnTo>
                  <a:lnTo>
                    <a:pt x="802710" y="121935"/>
                  </a:lnTo>
                  <a:lnTo>
                    <a:pt x="702050" y="96889"/>
                  </a:lnTo>
                  <a:lnTo>
                    <a:pt x="702485" y="96861"/>
                  </a:lnTo>
                  <a:lnTo>
                    <a:pt x="601748" y="134503"/>
                  </a:lnTo>
                  <a:lnTo>
                    <a:pt x="501273" y="199414"/>
                  </a:lnTo>
                  <a:lnTo>
                    <a:pt x="400640" y="128308"/>
                  </a:lnTo>
                  <a:lnTo>
                    <a:pt x="400440" y="128295"/>
                  </a:lnTo>
                  <a:lnTo>
                    <a:pt x="400247" y="128329"/>
                  </a:lnTo>
                  <a:lnTo>
                    <a:pt x="299669" y="90473"/>
                  </a:lnTo>
                  <a:lnTo>
                    <a:pt x="299537" y="90494"/>
                  </a:lnTo>
                  <a:lnTo>
                    <a:pt x="299420" y="90543"/>
                  </a:lnTo>
                  <a:lnTo>
                    <a:pt x="198890" y="130967"/>
                  </a:lnTo>
                  <a:lnTo>
                    <a:pt x="199325" y="130891"/>
                  </a:lnTo>
                  <a:lnTo>
                    <a:pt x="97760" y="57196"/>
                  </a:lnTo>
                  <a:lnTo>
                    <a:pt x="97939" y="57231"/>
                  </a:lnTo>
                  <a:lnTo>
                    <a:pt x="-1962" y="-2446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B2F55A04-A2D1-F486-5A78-DE52EC4EFBA6}"/>
                </a:ext>
              </a:extLst>
            </p:cNvPr>
            <p:cNvSpPr/>
            <p:nvPr/>
          </p:nvSpPr>
          <p:spPr>
            <a:xfrm flipV="1">
              <a:off x="7468265" y="2973469"/>
              <a:ext cx="16780" cy="16780"/>
            </a:xfrm>
            <a:custGeom>
              <a:avLst/>
              <a:gdLst>
                <a:gd name="connsiteX0" fmla="*/ 15450 w 16780"/>
                <a:gd name="connsiteY0" fmla="*/ 6034 h 16780"/>
                <a:gd name="connsiteX1" fmla="*/ 7060 w 16780"/>
                <a:gd name="connsiteY1" fmla="*/ -2356 h 16780"/>
                <a:gd name="connsiteX2" fmla="*/ -1330 w 16780"/>
                <a:gd name="connsiteY2" fmla="*/ 6034 h 16780"/>
                <a:gd name="connsiteX3" fmla="*/ 7060 w 16780"/>
                <a:gd name="connsiteY3" fmla="*/ 14424 h 16780"/>
                <a:gd name="connsiteX4" fmla="*/ 15450 w 16780"/>
                <a:gd name="connsiteY4" fmla="*/ 6034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5450" y="6034"/>
                  </a:moveTo>
                  <a:cubicBezTo>
                    <a:pt x="15450" y="1400"/>
                    <a:pt x="11693" y="-2356"/>
                    <a:pt x="7060" y="-2356"/>
                  </a:cubicBezTo>
                  <a:cubicBezTo>
                    <a:pt x="2426" y="-2356"/>
                    <a:pt x="-1330" y="1400"/>
                    <a:pt x="-1330" y="6034"/>
                  </a:cubicBezTo>
                  <a:cubicBezTo>
                    <a:pt x="-1330" y="10667"/>
                    <a:pt x="2426" y="14424"/>
                    <a:pt x="7060" y="14424"/>
                  </a:cubicBezTo>
                  <a:cubicBezTo>
                    <a:pt x="11693" y="14424"/>
                    <a:pt x="15450" y="10667"/>
                    <a:pt x="15450" y="6034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39C4BFE7-27F1-4C0A-0049-8322E94CB409}"/>
                </a:ext>
              </a:extLst>
            </p:cNvPr>
            <p:cNvSpPr/>
            <p:nvPr/>
          </p:nvSpPr>
          <p:spPr>
            <a:xfrm flipV="1">
              <a:off x="7466401" y="2971604"/>
              <a:ext cx="20509" cy="20509"/>
            </a:xfrm>
            <a:custGeom>
              <a:avLst/>
              <a:gdLst>
                <a:gd name="connsiteX0" fmla="*/ 8924 w 20509"/>
                <a:gd name="connsiteY0" fmla="*/ 14417 h 20509"/>
                <a:gd name="connsiteX1" fmla="*/ 2399 w 20509"/>
                <a:gd name="connsiteY1" fmla="*/ 7898 h 20509"/>
                <a:gd name="connsiteX2" fmla="*/ 8924 w 20509"/>
                <a:gd name="connsiteY2" fmla="*/ 1373 h 20509"/>
                <a:gd name="connsiteX3" fmla="*/ 15450 w 20509"/>
                <a:gd name="connsiteY3" fmla="*/ 7898 h 20509"/>
                <a:gd name="connsiteX4" fmla="*/ 8924 w 20509"/>
                <a:gd name="connsiteY4" fmla="*/ 14417 h 20509"/>
                <a:gd name="connsiteX5" fmla="*/ 8924 w 20509"/>
                <a:gd name="connsiteY5" fmla="*/ -2356 h 20509"/>
                <a:gd name="connsiteX6" fmla="*/ -1330 w 20509"/>
                <a:gd name="connsiteY6" fmla="*/ 7898 h 20509"/>
                <a:gd name="connsiteX7" fmla="*/ 8924 w 20509"/>
                <a:gd name="connsiteY7" fmla="*/ 18153 h 20509"/>
                <a:gd name="connsiteX8" fmla="*/ 19179 w 20509"/>
                <a:gd name="connsiteY8" fmla="*/ 7898 h 20509"/>
                <a:gd name="connsiteX9" fmla="*/ 8924 w 20509"/>
                <a:gd name="connsiteY9" fmla="*/ -2356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8924" y="14417"/>
                  </a:moveTo>
                  <a:cubicBezTo>
                    <a:pt x="5327" y="14417"/>
                    <a:pt x="2399" y="11496"/>
                    <a:pt x="2399" y="7898"/>
                  </a:cubicBezTo>
                  <a:cubicBezTo>
                    <a:pt x="2399" y="4301"/>
                    <a:pt x="5327" y="1373"/>
                    <a:pt x="8924" y="1373"/>
                  </a:cubicBezTo>
                  <a:cubicBezTo>
                    <a:pt x="12522" y="1373"/>
                    <a:pt x="15450" y="4301"/>
                    <a:pt x="15450" y="7898"/>
                  </a:cubicBezTo>
                  <a:cubicBezTo>
                    <a:pt x="15450" y="11496"/>
                    <a:pt x="12522" y="14417"/>
                    <a:pt x="8924" y="14417"/>
                  </a:cubicBezTo>
                  <a:close/>
                  <a:moveTo>
                    <a:pt x="8924" y="-2356"/>
                  </a:moveTo>
                  <a:cubicBezTo>
                    <a:pt x="3269" y="-2356"/>
                    <a:pt x="-1330" y="2243"/>
                    <a:pt x="-1330" y="7898"/>
                  </a:cubicBezTo>
                  <a:cubicBezTo>
                    <a:pt x="-1330" y="13554"/>
                    <a:pt x="3269" y="18153"/>
                    <a:pt x="8924" y="18153"/>
                  </a:cubicBezTo>
                  <a:cubicBezTo>
                    <a:pt x="14580" y="18153"/>
                    <a:pt x="19179" y="13554"/>
                    <a:pt x="19179" y="7898"/>
                  </a:cubicBezTo>
                  <a:cubicBezTo>
                    <a:pt x="19179" y="2243"/>
                    <a:pt x="14580" y="-2356"/>
                    <a:pt x="8924" y="-2356"/>
                  </a:cubicBez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89D26B2-B905-872E-C691-F8FD26DC2498}"/>
                </a:ext>
              </a:extLst>
            </p:cNvPr>
            <p:cNvSpPr/>
            <p:nvPr/>
          </p:nvSpPr>
          <p:spPr>
            <a:xfrm flipV="1">
              <a:off x="7568884" y="2901445"/>
              <a:ext cx="16780" cy="16787"/>
            </a:xfrm>
            <a:custGeom>
              <a:avLst/>
              <a:gdLst>
                <a:gd name="connsiteX0" fmla="*/ 15324 w 16780"/>
                <a:gd name="connsiteY0" fmla="*/ 5916 h 16787"/>
                <a:gd name="connsiteX1" fmla="*/ 6933 w 16780"/>
                <a:gd name="connsiteY1" fmla="*/ -2474 h 16787"/>
                <a:gd name="connsiteX2" fmla="*/ -1457 w 16780"/>
                <a:gd name="connsiteY2" fmla="*/ 5916 h 16787"/>
                <a:gd name="connsiteX3" fmla="*/ 6933 w 16780"/>
                <a:gd name="connsiteY3" fmla="*/ 14313 h 16787"/>
                <a:gd name="connsiteX4" fmla="*/ 15324 w 16780"/>
                <a:gd name="connsiteY4" fmla="*/ 5916 h 16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7">
                  <a:moveTo>
                    <a:pt x="15324" y="5916"/>
                  </a:moveTo>
                  <a:cubicBezTo>
                    <a:pt x="15324" y="1282"/>
                    <a:pt x="11567" y="-2474"/>
                    <a:pt x="6933" y="-2474"/>
                  </a:cubicBezTo>
                  <a:cubicBezTo>
                    <a:pt x="2300" y="-2474"/>
                    <a:pt x="-1457" y="1282"/>
                    <a:pt x="-1457" y="5916"/>
                  </a:cubicBezTo>
                  <a:cubicBezTo>
                    <a:pt x="-1457" y="10556"/>
                    <a:pt x="2300" y="14313"/>
                    <a:pt x="6933" y="14313"/>
                  </a:cubicBezTo>
                  <a:cubicBezTo>
                    <a:pt x="11567" y="14313"/>
                    <a:pt x="15324" y="10556"/>
                    <a:pt x="15324" y="5916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3F20DB0F-813F-6574-ADB9-62C3DCC7BF52}"/>
                </a:ext>
              </a:extLst>
            </p:cNvPr>
            <p:cNvSpPr/>
            <p:nvPr/>
          </p:nvSpPr>
          <p:spPr>
            <a:xfrm flipV="1">
              <a:off x="7567020" y="2899580"/>
              <a:ext cx="20509" cy="20516"/>
            </a:xfrm>
            <a:custGeom>
              <a:avLst/>
              <a:gdLst>
                <a:gd name="connsiteX0" fmla="*/ 8798 w 20509"/>
                <a:gd name="connsiteY0" fmla="*/ 14306 h 20516"/>
                <a:gd name="connsiteX1" fmla="*/ 2272 w 20509"/>
                <a:gd name="connsiteY1" fmla="*/ 7780 h 20516"/>
                <a:gd name="connsiteX2" fmla="*/ 8798 w 20509"/>
                <a:gd name="connsiteY2" fmla="*/ 1262 h 20516"/>
                <a:gd name="connsiteX3" fmla="*/ 15324 w 20509"/>
                <a:gd name="connsiteY3" fmla="*/ 7780 h 20516"/>
                <a:gd name="connsiteX4" fmla="*/ 8798 w 20509"/>
                <a:gd name="connsiteY4" fmla="*/ 14306 h 20516"/>
                <a:gd name="connsiteX5" fmla="*/ 8798 w 20509"/>
                <a:gd name="connsiteY5" fmla="*/ -2474 h 20516"/>
                <a:gd name="connsiteX6" fmla="*/ -1457 w 20509"/>
                <a:gd name="connsiteY6" fmla="*/ 7780 h 20516"/>
                <a:gd name="connsiteX7" fmla="*/ 8798 w 20509"/>
                <a:gd name="connsiteY7" fmla="*/ 18042 h 20516"/>
                <a:gd name="connsiteX8" fmla="*/ 19053 w 20509"/>
                <a:gd name="connsiteY8" fmla="*/ 7780 h 20516"/>
                <a:gd name="connsiteX9" fmla="*/ 8798 w 20509"/>
                <a:gd name="connsiteY9" fmla="*/ -2474 h 20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16">
                  <a:moveTo>
                    <a:pt x="8798" y="14306"/>
                  </a:moveTo>
                  <a:cubicBezTo>
                    <a:pt x="5200" y="14306"/>
                    <a:pt x="2272" y="11378"/>
                    <a:pt x="2272" y="7780"/>
                  </a:cubicBezTo>
                  <a:cubicBezTo>
                    <a:pt x="2272" y="4189"/>
                    <a:pt x="5200" y="1262"/>
                    <a:pt x="8798" y="1262"/>
                  </a:cubicBezTo>
                  <a:cubicBezTo>
                    <a:pt x="12396" y="1262"/>
                    <a:pt x="15324" y="4189"/>
                    <a:pt x="15324" y="7780"/>
                  </a:cubicBezTo>
                  <a:cubicBezTo>
                    <a:pt x="15324" y="11378"/>
                    <a:pt x="12396" y="14306"/>
                    <a:pt x="8798" y="14306"/>
                  </a:cubicBezTo>
                  <a:close/>
                  <a:moveTo>
                    <a:pt x="8798" y="-2474"/>
                  </a:moveTo>
                  <a:cubicBezTo>
                    <a:pt x="3142" y="-2474"/>
                    <a:pt x="-1457" y="2132"/>
                    <a:pt x="-1457" y="7780"/>
                  </a:cubicBezTo>
                  <a:cubicBezTo>
                    <a:pt x="-1457" y="13436"/>
                    <a:pt x="3142" y="18042"/>
                    <a:pt x="8798" y="18042"/>
                  </a:cubicBezTo>
                  <a:cubicBezTo>
                    <a:pt x="14454" y="18042"/>
                    <a:pt x="19053" y="13436"/>
                    <a:pt x="19053" y="7780"/>
                  </a:cubicBezTo>
                  <a:cubicBezTo>
                    <a:pt x="19053" y="2132"/>
                    <a:pt x="14454" y="-2474"/>
                    <a:pt x="8798" y="-2474"/>
                  </a:cubicBez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FFA078-4F6B-3EE0-9FB3-85DA6704CC2D}"/>
                </a:ext>
              </a:extLst>
            </p:cNvPr>
            <p:cNvSpPr/>
            <p:nvPr/>
          </p:nvSpPr>
          <p:spPr>
            <a:xfrm flipV="1">
              <a:off x="7770123" y="2903385"/>
              <a:ext cx="16773" cy="16773"/>
            </a:xfrm>
            <a:custGeom>
              <a:avLst/>
              <a:gdLst>
                <a:gd name="connsiteX0" fmla="*/ 15064 w 16773"/>
                <a:gd name="connsiteY0" fmla="*/ 5919 h 16773"/>
                <a:gd name="connsiteX1" fmla="*/ 6674 w 16773"/>
                <a:gd name="connsiteY1" fmla="*/ -2471 h 16773"/>
                <a:gd name="connsiteX2" fmla="*/ -1709 w 16773"/>
                <a:gd name="connsiteY2" fmla="*/ 5919 h 16773"/>
                <a:gd name="connsiteX3" fmla="*/ 6674 w 16773"/>
                <a:gd name="connsiteY3" fmla="*/ 14302 h 16773"/>
                <a:gd name="connsiteX4" fmla="*/ 15064 w 16773"/>
                <a:gd name="connsiteY4" fmla="*/ 5919 h 16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73" h="16773">
                  <a:moveTo>
                    <a:pt x="15064" y="5919"/>
                  </a:moveTo>
                  <a:cubicBezTo>
                    <a:pt x="15064" y="1285"/>
                    <a:pt x="11308" y="-2471"/>
                    <a:pt x="6674" y="-2471"/>
                  </a:cubicBezTo>
                  <a:cubicBezTo>
                    <a:pt x="2041" y="-2471"/>
                    <a:pt x="-1709" y="1285"/>
                    <a:pt x="-1709" y="5919"/>
                  </a:cubicBezTo>
                  <a:cubicBezTo>
                    <a:pt x="-1709" y="10545"/>
                    <a:pt x="2041" y="14302"/>
                    <a:pt x="6674" y="14302"/>
                  </a:cubicBezTo>
                  <a:cubicBezTo>
                    <a:pt x="11308" y="14302"/>
                    <a:pt x="15064" y="10545"/>
                    <a:pt x="15064" y="5919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B5055059-5274-28AF-B353-8FF9913E01FB}"/>
                </a:ext>
              </a:extLst>
            </p:cNvPr>
            <p:cNvSpPr/>
            <p:nvPr/>
          </p:nvSpPr>
          <p:spPr>
            <a:xfrm flipV="1">
              <a:off x="7768252" y="2901514"/>
              <a:ext cx="20516" cy="20509"/>
            </a:xfrm>
            <a:custGeom>
              <a:avLst/>
              <a:gdLst>
                <a:gd name="connsiteX0" fmla="*/ 8545 w 20516"/>
                <a:gd name="connsiteY0" fmla="*/ 14302 h 20509"/>
                <a:gd name="connsiteX1" fmla="*/ 2027 w 20516"/>
                <a:gd name="connsiteY1" fmla="*/ 7783 h 20509"/>
                <a:gd name="connsiteX2" fmla="*/ 8545 w 20516"/>
                <a:gd name="connsiteY2" fmla="*/ 1258 h 20509"/>
                <a:gd name="connsiteX3" fmla="*/ 15071 w 20516"/>
                <a:gd name="connsiteY3" fmla="*/ 7783 h 20509"/>
                <a:gd name="connsiteX4" fmla="*/ 8545 w 20516"/>
                <a:gd name="connsiteY4" fmla="*/ 14302 h 20509"/>
                <a:gd name="connsiteX5" fmla="*/ 8545 w 20516"/>
                <a:gd name="connsiteY5" fmla="*/ -2471 h 20509"/>
                <a:gd name="connsiteX6" fmla="*/ -1709 w 20516"/>
                <a:gd name="connsiteY6" fmla="*/ 7783 h 20509"/>
                <a:gd name="connsiteX7" fmla="*/ 8545 w 20516"/>
                <a:gd name="connsiteY7" fmla="*/ 18038 h 20509"/>
                <a:gd name="connsiteX8" fmla="*/ 18807 w 20516"/>
                <a:gd name="connsiteY8" fmla="*/ 7783 h 20509"/>
                <a:gd name="connsiteX9" fmla="*/ 8545 w 20516"/>
                <a:gd name="connsiteY9" fmla="*/ -2471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16" h="20509">
                  <a:moveTo>
                    <a:pt x="8545" y="14302"/>
                  </a:moveTo>
                  <a:cubicBezTo>
                    <a:pt x="4948" y="14302"/>
                    <a:pt x="2027" y="11381"/>
                    <a:pt x="2027" y="7783"/>
                  </a:cubicBezTo>
                  <a:cubicBezTo>
                    <a:pt x="2027" y="4186"/>
                    <a:pt x="4948" y="1258"/>
                    <a:pt x="8545" y="1258"/>
                  </a:cubicBezTo>
                  <a:cubicBezTo>
                    <a:pt x="12143" y="1258"/>
                    <a:pt x="15071" y="4186"/>
                    <a:pt x="15071" y="7783"/>
                  </a:cubicBezTo>
                  <a:cubicBezTo>
                    <a:pt x="15071" y="11381"/>
                    <a:pt x="12143" y="14302"/>
                    <a:pt x="8545" y="14302"/>
                  </a:cubicBezTo>
                  <a:close/>
                  <a:moveTo>
                    <a:pt x="8545" y="-2471"/>
                  </a:moveTo>
                  <a:cubicBezTo>
                    <a:pt x="2897" y="-2471"/>
                    <a:pt x="-1709" y="2128"/>
                    <a:pt x="-1709" y="7783"/>
                  </a:cubicBezTo>
                  <a:cubicBezTo>
                    <a:pt x="-1709" y="13432"/>
                    <a:pt x="2897" y="18038"/>
                    <a:pt x="8545" y="18038"/>
                  </a:cubicBezTo>
                  <a:cubicBezTo>
                    <a:pt x="14201" y="18038"/>
                    <a:pt x="18807" y="13432"/>
                    <a:pt x="18807" y="7783"/>
                  </a:cubicBezTo>
                  <a:cubicBezTo>
                    <a:pt x="18807" y="2128"/>
                    <a:pt x="14201" y="-2471"/>
                    <a:pt x="8545" y="-2471"/>
                  </a:cubicBez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2C31866-C14C-CDD8-EE98-441A96DA5949}"/>
                </a:ext>
              </a:extLst>
            </p:cNvPr>
            <p:cNvSpPr/>
            <p:nvPr/>
          </p:nvSpPr>
          <p:spPr>
            <a:xfrm flipV="1">
              <a:off x="7970727" y="2897806"/>
              <a:ext cx="16780" cy="16787"/>
            </a:xfrm>
            <a:custGeom>
              <a:avLst/>
              <a:gdLst>
                <a:gd name="connsiteX0" fmla="*/ 14819 w 16780"/>
                <a:gd name="connsiteY0" fmla="*/ 5910 h 16787"/>
                <a:gd name="connsiteX1" fmla="*/ 6429 w 16780"/>
                <a:gd name="connsiteY1" fmla="*/ -2480 h 16787"/>
                <a:gd name="connsiteX2" fmla="*/ -1961 w 16780"/>
                <a:gd name="connsiteY2" fmla="*/ 5910 h 16787"/>
                <a:gd name="connsiteX3" fmla="*/ 6429 w 16780"/>
                <a:gd name="connsiteY3" fmla="*/ 14307 h 16787"/>
                <a:gd name="connsiteX4" fmla="*/ 14819 w 16780"/>
                <a:gd name="connsiteY4" fmla="*/ 5910 h 16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7">
                  <a:moveTo>
                    <a:pt x="14819" y="5910"/>
                  </a:moveTo>
                  <a:cubicBezTo>
                    <a:pt x="14819" y="1276"/>
                    <a:pt x="11063" y="-2480"/>
                    <a:pt x="6429" y="-2480"/>
                  </a:cubicBezTo>
                  <a:cubicBezTo>
                    <a:pt x="1796" y="-2480"/>
                    <a:pt x="-1961" y="1276"/>
                    <a:pt x="-1961" y="5910"/>
                  </a:cubicBezTo>
                  <a:cubicBezTo>
                    <a:pt x="-1961" y="10550"/>
                    <a:pt x="1796" y="14307"/>
                    <a:pt x="6429" y="14307"/>
                  </a:cubicBezTo>
                  <a:cubicBezTo>
                    <a:pt x="11063" y="14307"/>
                    <a:pt x="14819" y="10550"/>
                    <a:pt x="14819" y="5910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46ADAE4-E89F-3C19-59AB-A3BB4709328C}"/>
                </a:ext>
              </a:extLst>
            </p:cNvPr>
            <p:cNvSpPr/>
            <p:nvPr/>
          </p:nvSpPr>
          <p:spPr>
            <a:xfrm flipV="1">
              <a:off x="7968862" y="2895941"/>
              <a:ext cx="20509" cy="20516"/>
            </a:xfrm>
            <a:custGeom>
              <a:avLst/>
              <a:gdLst>
                <a:gd name="connsiteX0" fmla="*/ 8294 w 20509"/>
                <a:gd name="connsiteY0" fmla="*/ 14300 h 20516"/>
                <a:gd name="connsiteX1" fmla="*/ 1768 w 20509"/>
                <a:gd name="connsiteY1" fmla="*/ 7774 h 20516"/>
                <a:gd name="connsiteX2" fmla="*/ 8294 w 20509"/>
                <a:gd name="connsiteY2" fmla="*/ 1256 h 20516"/>
                <a:gd name="connsiteX3" fmla="*/ 14819 w 20509"/>
                <a:gd name="connsiteY3" fmla="*/ 7774 h 20516"/>
                <a:gd name="connsiteX4" fmla="*/ 8294 w 20509"/>
                <a:gd name="connsiteY4" fmla="*/ 14300 h 20516"/>
                <a:gd name="connsiteX5" fmla="*/ 8294 w 20509"/>
                <a:gd name="connsiteY5" fmla="*/ -2480 h 20516"/>
                <a:gd name="connsiteX6" fmla="*/ -1961 w 20509"/>
                <a:gd name="connsiteY6" fmla="*/ 7774 h 20516"/>
                <a:gd name="connsiteX7" fmla="*/ 8294 w 20509"/>
                <a:gd name="connsiteY7" fmla="*/ 18036 h 20516"/>
                <a:gd name="connsiteX8" fmla="*/ 18548 w 20509"/>
                <a:gd name="connsiteY8" fmla="*/ 7774 h 20516"/>
                <a:gd name="connsiteX9" fmla="*/ 8294 w 20509"/>
                <a:gd name="connsiteY9" fmla="*/ -2480 h 20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16">
                  <a:moveTo>
                    <a:pt x="8294" y="14300"/>
                  </a:moveTo>
                  <a:cubicBezTo>
                    <a:pt x="4696" y="14300"/>
                    <a:pt x="1768" y="11372"/>
                    <a:pt x="1768" y="7774"/>
                  </a:cubicBezTo>
                  <a:cubicBezTo>
                    <a:pt x="1768" y="4177"/>
                    <a:pt x="4696" y="1256"/>
                    <a:pt x="8294" y="1256"/>
                  </a:cubicBezTo>
                  <a:cubicBezTo>
                    <a:pt x="11891" y="1256"/>
                    <a:pt x="14819" y="4177"/>
                    <a:pt x="14819" y="7774"/>
                  </a:cubicBezTo>
                  <a:cubicBezTo>
                    <a:pt x="14819" y="11372"/>
                    <a:pt x="11891" y="14300"/>
                    <a:pt x="8294" y="14300"/>
                  </a:cubicBezTo>
                  <a:close/>
                  <a:moveTo>
                    <a:pt x="8294" y="-2480"/>
                  </a:moveTo>
                  <a:cubicBezTo>
                    <a:pt x="2638" y="-2480"/>
                    <a:pt x="-1961" y="2126"/>
                    <a:pt x="-1961" y="7774"/>
                  </a:cubicBezTo>
                  <a:cubicBezTo>
                    <a:pt x="-1961" y="13430"/>
                    <a:pt x="2638" y="18036"/>
                    <a:pt x="8294" y="18036"/>
                  </a:cubicBezTo>
                  <a:cubicBezTo>
                    <a:pt x="13949" y="18036"/>
                    <a:pt x="18548" y="13430"/>
                    <a:pt x="18548" y="7774"/>
                  </a:cubicBezTo>
                  <a:cubicBezTo>
                    <a:pt x="18548" y="2126"/>
                    <a:pt x="13949" y="-2480"/>
                    <a:pt x="8294" y="-2480"/>
                  </a:cubicBez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A394B5EF-ED43-8EAC-DA71-5B02C2FA76C4}"/>
                </a:ext>
              </a:extLst>
            </p:cNvPr>
            <p:cNvSpPr/>
            <p:nvPr/>
          </p:nvSpPr>
          <p:spPr>
            <a:xfrm flipV="1">
              <a:off x="8172594" y="2910746"/>
              <a:ext cx="16773" cy="16780"/>
            </a:xfrm>
            <a:custGeom>
              <a:avLst/>
              <a:gdLst>
                <a:gd name="connsiteX0" fmla="*/ 14559 w 16773"/>
                <a:gd name="connsiteY0" fmla="*/ 5931 h 16780"/>
                <a:gd name="connsiteX1" fmla="*/ 6176 w 16773"/>
                <a:gd name="connsiteY1" fmla="*/ -2459 h 16780"/>
                <a:gd name="connsiteX2" fmla="*/ -2214 w 16773"/>
                <a:gd name="connsiteY2" fmla="*/ 5931 h 16780"/>
                <a:gd name="connsiteX3" fmla="*/ 6176 w 16773"/>
                <a:gd name="connsiteY3" fmla="*/ 14321 h 16780"/>
                <a:gd name="connsiteX4" fmla="*/ 14559 w 16773"/>
                <a:gd name="connsiteY4" fmla="*/ 5931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73" h="16780">
                  <a:moveTo>
                    <a:pt x="14559" y="5931"/>
                  </a:moveTo>
                  <a:cubicBezTo>
                    <a:pt x="14559" y="1298"/>
                    <a:pt x="10802" y="-2459"/>
                    <a:pt x="6176" y="-2459"/>
                  </a:cubicBezTo>
                  <a:cubicBezTo>
                    <a:pt x="1542" y="-2459"/>
                    <a:pt x="-2214" y="1298"/>
                    <a:pt x="-2214" y="5931"/>
                  </a:cubicBezTo>
                  <a:cubicBezTo>
                    <a:pt x="-2214" y="10565"/>
                    <a:pt x="1542" y="14321"/>
                    <a:pt x="6176" y="14321"/>
                  </a:cubicBezTo>
                  <a:cubicBezTo>
                    <a:pt x="10802" y="14321"/>
                    <a:pt x="14559" y="10565"/>
                    <a:pt x="14559" y="5931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EF78C14-5B77-8616-C6D3-FDC5F4AA5821}"/>
                </a:ext>
              </a:extLst>
            </p:cNvPr>
            <p:cNvSpPr/>
            <p:nvPr/>
          </p:nvSpPr>
          <p:spPr>
            <a:xfrm flipV="1">
              <a:off x="8170723" y="2908882"/>
              <a:ext cx="20509" cy="20509"/>
            </a:xfrm>
            <a:custGeom>
              <a:avLst/>
              <a:gdLst>
                <a:gd name="connsiteX0" fmla="*/ 8047 w 20509"/>
                <a:gd name="connsiteY0" fmla="*/ 14314 h 20509"/>
                <a:gd name="connsiteX1" fmla="*/ 1522 w 20509"/>
                <a:gd name="connsiteY1" fmla="*/ 7796 h 20509"/>
                <a:gd name="connsiteX2" fmla="*/ 8047 w 20509"/>
                <a:gd name="connsiteY2" fmla="*/ 1270 h 20509"/>
                <a:gd name="connsiteX3" fmla="*/ 14566 w 20509"/>
                <a:gd name="connsiteY3" fmla="*/ 7796 h 20509"/>
                <a:gd name="connsiteX4" fmla="*/ 8047 w 20509"/>
                <a:gd name="connsiteY4" fmla="*/ 14314 h 20509"/>
                <a:gd name="connsiteX5" fmla="*/ 8047 w 20509"/>
                <a:gd name="connsiteY5" fmla="*/ -2459 h 20509"/>
                <a:gd name="connsiteX6" fmla="*/ -2214 w 20509"/>
                <a:gd name="connsiteY6" fmla="*/ 7796 h 20509"/>
                <a:gd name="connsiteX7" fmla="*/ 8047 w 20509"/>
                <a:gd name="connsiteY7" fmla="*/ 18050 h 20509"/>
                <a:gd name="connsiteX8" fmla="*/ 18295 w 20509"/>
                <a:gd name="connsiteY8" fmla="*/ 7796 h 20509"/>
                <a:gd name="connsiteX9" fmla="*/ 8047 w 20509"/>
                <a:gd name="connsiteY9" fmla="*/ -2459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8047" y="14314"/>
                  </a:moveTo>
                  <a:cubicBezTo>
                    <a:pt x="4443" y="14314"/>
                    <a:pt x="1522" y="11393"/>
                    <a:pt x="1522" y="7796"/>
                  </a:cubicBezTo>
                  <a:cubicBezTo>
                    <a:pt x="1522" y="4198"/>
                    <a:pt x="4443" y="1270"/>
                    <a:pt x="8047" y="1270"/>
                  </a:cubicBezTo>
                  <a:cubicBezTo>
                    <a:pt x="11645" y="1270"/>
                    <a:pt x="14566" y="4198"/>
                    <a:pt x="14566" y="7796"/>
                  </a:cubicBezTo>
                  <a:cubicBezTo>
                    <a:pt x="14566" y="11393"/>
                    <a:pt x="11645" y="14314"/>
                    <a:pt x="8047" y="14314"/>
                  </a:cubicBezTo>
                  <a:close/>
                  <a:moveTo>
                    <a:pt x="8047" y="-2459"/>
                  </a:moveTo>
                  <a:cubicBezTo>
                    <a:pt x="2392" y="-2459"/>
                    <a:pt x="-2214" y="2140"/>
                    <a:pt x="-2214" y="7796"/>
                  </a:cubicBezTo>
                  <a:cubicBezTo>
                    <a:pt x="-2214" y="13444"/>
                    <a:pt x="2392" y="18050"/>
                    <a:pt x="8047" y="18050"/>
                  </a:cubicBezTo>
                  <a:cubicBezTo>
                    <a:pt x="13696" y="18050"/>
                    <a:pt x="18295" y="13444"/>
                    <a:pt x="18295" y="7796"/>
                  </a:cubicBezTo>
                  <a:cubicBezTo>
                    <a:pt x="18295" y="2140"/>
                    <a:pt x="13696" y="-2459"/>
                    <a:pt x="8047" y="-2459"/>
                  </a:cubicBez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469E088B-8B0C-DF24-EB68-35FFA5BA1FD6}"/>
                </a:ext>
              </a:extLst>
            </p:cNvPr>
            <p:cNvSpPr/>
            <p:nvPr/>
          </p:nvSpPr>
          <p:spPr>
            <a:xfrm flipV="1">
              <a:off x="7870736" y="2832363"/>
              <a:ext cx="16780" cy="16780"/>
            </a:xfrm>
            <a:custGeom>
              <a:avLst/>
              <a:gdLst>
                <a:gd name="connsiteX0" fmla="*/ 14945 w 16780"/>
                <a:gd name="connsiteY0" fmla="*/ 5802 h 16780"/>
                <a:gd name="connsiteX1" fmla="*/ 6555 w 16780"/>
                <a:gd name="connsiteY1" fmla="*/ -2588 h 16780"/>
                <a:gd name="connsiteX2" fmla="*/ -1835 w 16780"/>
                <a:gd name="connsiteY2" fmla="*/ 5802 h 16780"/>
                <a:gd name="connsiteX3" fmla="*/ 6555 w 16780"/>
                <a:gd name="connsiteY3" fmla="*/ 14192 h 16780"/>
                <a:gd name="connsiteX4" fmla="*/ 14945 w 16780"/>
                <a:gd name="connsiteY4" fmla="*/ 5802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4945" y="5802"/>
                  </a:moveTo>
                  <a:cubicBezTo>
                    <a:pt x="14945" y="1169"/>
                    <a:pt x="11188" y="-2588"/>
                    <a:pt x="6555" y="-2588"/>
                  </a:cubicBezTo>
                  <a:cubicBezTo>
                    <a:pt x="1921" y="-2588"/>
                    <a:pt x="-1835" y="1169"/>
                    <a:pt x="-1835" y="5802"/>
                  </a:cubicBezTo>
                  <a:cubicBezTo>
                    <a:pt x="-1835" y="10436"/>
                    <a:pt x="1921" y="14192"/>
                    <a:pt x="6555" y="14192"/>
                  </a:cubicBezTo>
                  <a:cubicBezTo>
                    <a:pt x="11188" y="14192"/>
                    <a:pt x="14945" y="10436"/>
                    <a:pt x="14945" y="5802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038D269-F450-025A-7DBD-D6F107DF21B5}"/>
                </a:ext>
              </a:extLst>
            </p:cNvPr>
            <p:cNvSpPr/>
            <p:nvPr/>
          </p:nvSpPr>
          <p:spPr>
            <a:xfrm flipV="1">
              <a:off x="7868871" y="2830498"/>
              <a:ext cx="20509" cy="20509"/>
            </a:xfrm>
            <a:custGeom>
              <a:avLst/>
              <a:gdLst>
                <a:gd name="connsiteX0" fmla="*/ 8419 w 20509"/>
                <a:gd name="connsiteY0" fmla="*/ 14192 h 20509"/>
                <a:gd name="connsiteX1" fmla="*/ 1894 w 20509"/>
                <a:gd name="connsiteY1" fmla="*/ 7667 h 20509"/>
                <a:gd name="connsiteX2" fmla="*/ 8419 w 20509"/>
                <a:gd name="connsiteY2" fmla="*/ 1141 h 20509"/>
                <a:gd name="connsiteX3" fmla="*/ 14945 w 20509"/>
                <a:gd name="connsiteY3" fmla="*/ 7667 h 20509"/>
                <a:gd name="connsiteX4" fmla="*/ 8419 w 20509"/>
                <a:gd name="connsiteY4" fmla="*/ 14192 h 20509"/>
                <a:gd name="connsiteX5" fmla="*/ 8419 w 20509"/>
                <a:gd name="connsiteY5" fmla="*/ -2588 h 20509"/>
                <a:gd name="connsiteX6" fmla="*/ -1835 w 20509"/>
                <a:gd name="connsiteY6" fmla="*/ 7667 h 20509"/>
                <a:gd name="connsiteX7" fmla="*/ 8419 w 20509"/>
                <a:gd name="connsiteY7" fmla="*/ 17921 h 20509"/>
                <a:gd name="connsiteX8" fmla="*/ 18674 w 20509"/>
                <a:gd name="connsiteY8" fmla="*/ 7667 h 20509"/>
                <a:gd name="connsiteX9" fmla="*/ 8419 w 20509"/>
                <a:gd name="connsiteY9" fmla="*/ -2588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8419" y="14192"/>
                  </a:moveTo>
                  <a:cubicBezTo>
                    <a:pt x="4822" y="14192"/>
                    <a:pt x="1894" y="11265"/>
                    <a:pt x="1894" y="7667"/>
                  </a:cubicBezTo>
                  <a:cubicBezTo>
                    <a:pt x="1894" y="4069"/>
                    <a:pt x="4822" y="1141"/>
                    <a:pt x="8419" y="1141"/>
                  </a:cubicBezTo>
                  <a:cubicBezTo>
                    <a:pt x="12017" y="1141"/>
                    <a:pt x="14945" y="4069"/>
                    <a:pt x="14945" y="7667"/>
                  </a:cubicBezTo>
                  <a:cubicBezTo>
                    <a:pt x="14945" y="11265"/>
                    <a:pt x="12017" y="14192"/>
                    <a:pt x="8419" y="14192"/>
                  </a:cubicBezTo>
                  <a:close/>
                  <a:moveTo>
                    <a:pt x="8419" y="-2588"/>
                  </a:moveTo>
                  <a:cubicBezTo>
                    <a:pt x="2764" y="-2588"/>
                    <a:pt x="-1835" y="2011"/>
                    <a:pt x="-1835" y="7667"/>
                  </a:cubicBezTo>
                  <a:cubicBezTo>
                    <a:pt x="-1835" y="13322"/>
                    <a:pt x="2764" y="17921"/>
                    <a:pt x="8419" y="17921"/>
                  </a:cubicBezTo>
                  <a:cubicBezTo>
                    <a:pt x="14075" y="17921"/>
                    <a:pt x="18674" y="13322"/>
                    <a:pt x="18674" y="7667"/>
                  </a:cubicBezTo>
                  <a:cubicBezTo>
                    <a:pt x="18674" y="2011"/>
                    <a:pt x="14075" y="-2588"/>
                    <a:pt x="8419" y="-2588"/>
                  </a:cubicBez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03812CDC-F5EA-88AA-0CAB-0F8FB54377B5}"/>
                </a:ext>
              </a:extLst>
            </p:cNvPr>
            <p:cNvSpPr/>
            <p:nvPr/>
          </p:nvSpPr>
          <p:spPr>
            <a:xfrm flipV="1">
              <a:off x="8071975" y="2934923"/>
              <a:ext cx="16780" cy="16780"/>
            </a:xfrm>
            <a:custGeom>
              <a:avLst/>
              <a:gdLst>
                <a:gd name="connsiteX0" fmla="*/ 14692 w 16780"/>
                <a:gd name="connsiteY0" fmla="*/ 5971 h 16780"/>
                <a:gd name="connsiteX1" fmla="*/ 6302 w 16780"/>
                <a:gd name="connsiteY1" fmla="*/ -2419 h 16780"/>
                <a:gd name="connsiteX2" fmla="*/ -2088 w 16780"/>
                <a:gd name="connsiteY2" fmla="*/ 5971 h 16780"/>
                <a:gd name="connsiteX3" fmla="*/ 6302 w 16780"/>
                <a:gd name="connsiteY3" fmla="*/ 14361 h 16780"/>
                <a:gd name="connsiteX4" fmla="*/ 14692 w 16780"/>
                <a:gd name="connsiteY4" fmla="*/ 5971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4692" y="5971"/>
                  </a:moveTo>
                  <a:cubicBezTo>
                    <a:pt x="14692" y="1337"/>
                    <a:pt x="10936" y="-2419"/>
                    <a:pt x="6302" y="-2419"/>
                  </a:cubicBezTo>
                  <a:cubicBezTo>
                    <a:pt x="1669" y="-2419"/>
                    <a:pt x="-2088" y="1337"/>
                    <a:pt x="-2088" y="5971"/>
                  </a:cubicBezTo>
                  <a:cubicBezTo>
                    <a:pt x="-2088" y="10604"/>
                    <a:pt x="1669" y="14361"/>
                    <a:pt x="6302" y="14361"/>
                  </a:cubicBezTo>
                  <a:cubicBezTo>
                    <a:pt x="10936" y="14361"/>
                    <a:pt x="14692" y="10604"/>
                    <a:pt x="14692" y="5971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87AA39F-D1D4-8649-B6E8-8FF1D89E473D}"/>
                </a:ext>
              </a:extLst>
            </p:cNvPr>
            <p:cNvSpPr/>
            <p:nvPr/>
          </p:nvSpPr>
          <p:spPr>
            <a:xfrm flipV="1">
              <a:off x="8070110" y="2933058"/>
              <a:ext cx="20509" cy="20516"/>
            </a:xfrm>
            <a:custGeom>
              <a:avLst/>
              <a:gdLst>
                <a:gd name="connsiteX0" fmla="*/ 8167 w 20509"/>
                <a:gd name="connsiteY0" fmla="*/ 14361 h 20516"/>
                <a:gd name="connsiteX1" fmla="*/ 1641 w 20509"/>
                <a:gd name="connsiteY1" fmla="*/ 7842 h 20516"/>
                <a:gd name="connsiteX2" fmla="*/ 8167 w 20509"/>
                <a:gd name="connsiteY2" fmla="*/ 1316 h 20516"/>
                <a:gd name="connsiteX3" fmla="*/ 14692 w 20509"/>
                <a:gd name="connsiteY3" fmla="*/ 7842 h 20516"/>
                <a:gd name="connsiteX4" fmla="*/ 8167 w 20509"/>
                <a:gd name="connsiteY4" fmla="*/ 14361 h 20516"/>
                <a:gd name="connsiteX5" fmla="*/ 8167 w 20509"/>
                <a:gd name="connsiteY5" fmla="*/ -2419 h 20516"/>
                <a:gd name="connsiteX6" fmla="*/ -2088 w 20509"/>
                <a:gd name="connsiteY6" fmla="*/ 7842 h 20516"/>
                <a:gd name="connsiteX7" fmla="*/ 8167 w 20509"/>
                <a:gd name="connsiteY7" fmla="*/ 18097 h 20516"/>
                <a:gd name="connsiteX8" fmla="*/ 18421 w 20509"/>
                <a:gd name="connsiteY8" fmla="*/ 7842 h 20516"/>
                <a:gd name="connsiteX9" fmla="*/ 8167 w 20509"/>
                <a:gd name="connsiteY9" fmla="*/ -2419 h 20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16">
                  <a:moveTo>
                    <a:pt x="8167" y="14361"/>
                  </a:moveTo>
                  <a:cubicBezTo>
                    <a:pt x="4562" y="14361"/>
                    <a:pt x="1641" y="11440"/>
                    <a:pt x="1641" y="7842"/>
                  </a:cubicBezTo>
                  <a:cubicBezTo>
                    <a:pt x="1641" y="4244"/>
                    <a:pt x="4562" y="1316"/>
                    <a:pt x="8167" y="1316"/>
                  </a:cubicBezTo>
                  <a:cubicBezTo>
                    <a:pt x="11764" y="1316"/>
                    <a:pt x="14692" y="4244"/>
                    <a:pt x="14692" y="7842"/>
                  </a:cubicBezTo>
                  <a:cubicBezTo>
                    <a:pt x="14692" y="11440"/>
                    <a:pt x="11764" y="14361"/>
                    <a:pt x="8167" y="14361"/>
                  </a:cubicBezTo>
                  <a:close/>
                  <a:moveTo>
                    <a:pt x="8167" y="-2419"/>
                  </a:moveTo>
                  <a:cubicBezTo>
                    <a:pt x="2511" y="-2419"/>
                    <a:pt x="-2088" y="2187"/>
                    <a:pt x="-2088" y="7842"/>
                  </a:cubicBezTo>
                  <a:cubicBezTo>
                    <a:pt x="-2088" y="13491"/>
                    <a:pt x="2511" y="18097"/>
                    <a:pt x="8167" y="18097"/>
                  </a:cubicBezTo>
                  <a:cubicBezTo>
                    <a:pt x="13822" y="18097"/>
                    <a:pt x="18421" y="13491"/>
                    <a:pt x="18421" y="7842"/>
                  </a:cubicBezTo>
                  <a:cubicBezTo>
                    <a:pt x="18421" y="2187"/>
                    <a:pt x="13822" y="-2419"/>
                    <a:pt x="8167" y="-2419"/>
                  </a:cubicBez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C9B6FAC7-158B-5F39-771D-71D91F3D7045}"/>
                </a:ext>
              </a:extLst>
            </p:cNvPr>
            <p:cNvSpPr/>
            <p:nvPr/>
          </p:nvSpPr>
          <p:spPr>
            <a:xfrm flipV="1">
              <a:off x="8373826" y="2881032"/>
              <a:ext cx="16780" cy="16773"/>
            </a:xfrm>
            <a:custGeom>
              <a:avLst/>
              <a:gdLst>
                <a:gd name="connsiteX0" fmla="*/ 14313 w 16780"/>
                <a:gd name="connsiteY0" fmla="*/ 5875 h 16773"/>
                <a:gd name="connsiteX1" fmla="*/ 5923 w 16780"/>
                <a:gd name="connsiteY1" fmla="*/ -2508 h 16773"/>
                <a:gd name="connsiteX2" fmla="*/ -2467 w 16780"/>
                <a:gd name="connsiteY2" fmla="*/ 5875 h 16773"/>
                <a:gd name="connsiteX3" fmla="*/ 5923 w 16780"/>
                <a:gd name="connsiteY3" fmla="*/ 14265 h 16773"/>
                <a:gd name="connsiteX4" fmla="*/ 14313 w 16780"/>
                <a:gd name="connsiteY4" fmla="*/ 5875 h 16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73">
                  <a:moveTo>
                    <a:pt x="14313" y="5875"/>
                  </a:moveTo>
                  <a:cubicBezTo>
                    <a:pt x="14313" y="1242"/>
                    <a:pt x="10557" y="-2508"/>
                    <a:pt x="5923" y="-2508"/>
                  </a:cubicBezTo>
                  <a:cubicBezTo>
                    <a:pt x="1290" y="-2508"/>
                    <a:pt x="-2467" y="1242"/>
                    <a:pt x="-2467" y="5875"/>
                  </a:cubicBezTo>
                  <a:cubicBezTo>
                    <a:pt x="-2467" y="10509"/>
                    <a:pt x="1290" y="14265"/>
                    <a:pt x="5923" y="14265"/>
                  </a:cubicBezTo>
                  <a:cubicBezTo>
                    <a:pt x="10557" y="14265"/>
                    <a:pt x="14313" y="10509"/>
                    <a:pt x="14313" y="5875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F366A81A-F721-ADA5-B426-EBCF8009C5E3}"/>
                </a:ext>
              </a:extLst>
            </p:cNvPr>
            <p:cNvSpPr/>
            <p:nvPr/>
          </p:nvSpPr>
          <p:spPr>
            <a:xfrm flipV="1">
              <a:off x="8371961" y="2879168"/>
              <a:ext cx="20509" cy="20509"/>
            </a:xfrm>
            <a:custGeom>
              <a:avLst/>
              <a:gdLst>
                <a:gd name="connsiteX0" fmla="*/ 7795 w 20509"/>
                <a:gd name="connsiteY0" fmla="*/ 14272 h 20509"/>
                <a:gd name="connsiteX1" fmla="*/ 1262 w 20509"/>
                <a:gd name="connsiteY1" fmla="*/ 7747 h 20509"/>
                <a:gd name="connsiteX2" fmla="*/ 7795 w 20509"/>
                <a:gd name="connsiteY2" fmla="*/ 1228 h 20509"/>
                <a:gd name="connsiteX3" fmla="*/ 14313 w 20509"/>
                <a:gd name="connsiteY3" fmla="*/ 7747 h 20509"/>
                <a:gd name="connsiteX4" fmla="*/ 7795 w 20509"/>
                <a:gd name="connsiteY4" fmla="*/ 14272 h 20509"/>
                <a:gd name="connsiteX5" fmla="*/ 7795 w 20509"/>
                <a:gd name="connsiteY5" fmla="*/ -2508 h 20509"/>
                <a:gd name="connsiteX6" fmla="*/ -2467 w 20509"/>
                <a:gd name="connsiteY6" fmla="*/ 7747 h 20509"/>
                <a:gd name="connsiteX7" fmla="*/ 7795 w 20509"/>
                <a:gd name="connsiteY7" fmla="*/ 18001 h 20509"/>
                <a:gd name="connsiteX8" fmla="*/ 18042 w 20509"/>
                <a:gd name="connsiteY8" fmla="*/ 7747 h 20509"/>
                <a:gd name="connsiteX9" fmla="*/ 7795 w 20509"/>
                <a:gd name="connsiteY9" fmla="*/ -2508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7795" y="14272"/>
                  </a:moveTo>
                  <a:cubicBezTo>
                    <a:pt x="4190" y="14272"/>
                    <a:pt x="1262" y="11344"/>
                    <a:pt x="1262" y="7747"/>
                  </a:cubicBezTo>
                  <a:cubicBezTo>
                    <a:pt x="1262" y="4149"/>
                    <a:pt x="4190" y="1228"/>
                    <a:pt x="7795" y="1228"/>
                  </a:cubicBezTo>
                  <a:cubicBezTo>
                    <a:pt x="11392" y="1228"/>
                    <a:pt x="14313" y="4149"/>
                    <a:pt x="14313" y="7747"/>
                  </a:cubicBezTo>
                  <a:cubicBezTo>
                    <a:pt x="14313" y="11344"/>
                    <a:pt x="11392" y="14272"/>
                    <a:pt x="7795" y="14272"/>
                  </a:cubicBezTo>
                  <a:close/>
                  <a:moveTo>
                    <a:pt x="7795" y="-2508"/>
                  </a:moveTo>
                  <a:cubicBezTo>
                    <a:pt x="2139" y="-2508"/>
                    <a:pt x="-2467" y="2098"/>
                    <a:pt x="-2467" y="7747"/>
                  </a:cubicBezTo>
                  <a:cubicBezTo>
                    <a:pt x="-2467" y="13402"/>
                    <a:pt x="2139" y="18001"/>
                    <a:pt x="7795" y="18001"/>
                  </a:cubicBezTo>
                  <a:cubicBezTo>
                    <a:pt x="13443" y="18001"/>
                    <a:pt x="18042" y="13402"/>
                    <a:pt x="18042" y="7747"/>
                  </a:cubicBezTo>
                  <a:cubicBezTo>
                    <a:pt x="18042" y="2098"/>
                    <a:pt x="13443" y="-2508"/>
                    <a:pt x="7795" y="-2508"/>
                  </a:cubicBez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FED95033-1131-8E89-09BC-D83D6B392D26}"/>
                </a:ext>
              </a:extLst>
            </p:cNvPr>
            <p:cNvSpPr/>
            <p:nvPr/>
          </p:nvSpPr>
          <p:spPr>
            <a:xfrm flipV="1">
              <a:off x="8474445" y="2856580"/>
              <a:ext cx="16780" cy="16780"/>
            </a:xfrm>
            <a:custGeom>
              <a:avLst/>
              <a:gdLst>
                <a:gd name="connsiteX0" fmla="*/ 14187 w 16780"/>
                <a:gd name="connsiteY0" fmla="*/ 5842 h 16780"/>
                <a:gd name="connsiteX1" fmla="*/ 5797 w 16780"/>
                <a:gd name="connsiteY1" fmla="*/ -2548 h 16780"/>
                <a:gd name="connsiteX2" fmla="*/ -2593 w 16780"/>
                <a:gd name="connsiteY2" fmla="*/ 5842 h 16780"/>
                <a:gd name="connsiteX3" fmla="*/ 5797 w 16780"/>
                <a:gd name="connsiteY3" fmla="*/ 14232 h 16780"/>
                <a:gd name="connsiteX4" fmla="*/ 14187 w 16780"/>
                <a:gd name="connsiteY4" fmla="*/ 5842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4187" y="5842"/>
                  </a:moveTo>
                  <a:cubicBezTo>
                    <a:pt x="14187" y="1208"/>
                    <a:pt x="10431" y="-2548"/>
                    <a:pt x="5797" y="-2548"/>
                  </a:cubicBezTo>
                  <a:cubicBezTo>
                    <a:pt x="1164" y="-2548"/>
                    <a:pt x="-2593" y="1208"/>
                    <a:pt x="-2593" y="5842"/>
                  </a:cubicBezTo>
                  <a:cubicBezTo>
                    <a:pt x="-2593" y="10476"/>
                    <a:pt x="1164" y="14232"/>
                    <a:pt x="5797" y="14232"/>
                  </a:cubicBezTo>
                  <a:cubicBezTo>
                    <a:pt x="10431" y="14232"/>
                    <a:pt x="14187" y="10476"/>
                    <a:pt x="14187" y="5842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20CEE23-0560-9B83-51C3-19683622CACD}"/>
                </a:ext>
              </a:extLst>
            </p:cNvPr>
            <p:cNvSpPr/>
            <p:nvPr/>
          </p:nvSpPr>
          <p:spPr>
            <a:xfrm flipV="1">
              <a:off x="8472581" y="2854716"/>
              <a:ext cx="20509" cy="20509"/>
            </a:xfrm>
            <a:custGeom>
              <a:avLst/>
              <a:gdLst>
                <a:gd name="connsiteX0" fmla="*/ 7662 w 20509"/>
                <a:gd name="connsiteY0" fmla="*/ 14232 h 20509"/>
                <a:gd name="connsiteX1" fmla="*/ 1143 w 20509"/>
                <a:gd name="connsiteY1" fmla="*/ 7706 h 20509"/>
                <a:gd name="connsiteX2" fmla="*/ 7662 w 20509"/>
                <a:gd name="connsiteY2" fmla="*/ 1181 h 20509"/>
                <a:gd name="connsiteX3" fmla="*/ 14187 w 20509"/>
                <a:gd name="connsiteY3" fmla="*/ 7706 h 20509"/>
                <a:gd name="connsiteX4" fmla="*/ 7662 w 20509"/>
                <a:gd name="connsiteY4" fmla="*/ 14232 h 20509"/>
                <a:gd name="connsiteX5" fmla="*/ 7662 w 20509"/>
                <a:gd name="connsiteY5" fmla="*/ -2548 h 20509"/>
                <a:gd name="connsiteX6" fmla="*/ -2593 w 20509"/>
                <a:gd name="connsiteY6" fmla="*/ 7706 h 20509"/>
                <a:gd name="connsiteX7" fmla="*/ 7662 w 20509"/>
                <a:gd name="connsiteY7" fmla="*/ 17961 h 20509"/>
                <a:gd name="connsiteX8" fmla="*/ 17916 w 20509"/>
                <a:gd name="connsiteY8" fmla="*/ 7706 h 20509"/>
                <a:gd name="connsiteX9" fmla="*/ 7662 w 20509"/>
                <a:gd name="connsiteY9" fmla="*/ -2548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7662" y="14232"/>
                  </a:moveTo>
                  <a:cubicBezTo>
                    <a:pt x="4064" y="14232"/>
                    <a:pt x="1143" y="11304"/>
                    <a:pt x="1143" y="7706"/>
                  </a:cubicBezTo>
                  <a:cubicBezTo>
                    <a:pt x="1143" y="4109"/>
                    <a:pt x="4064" y="1181"/>
                    <a:pt x="7662" y="1181"/>
                  </a:cubicBezTo>
                  <a:cubicBezTo>
                    <a:pt x="11259" y="1181"/>
                    <a:pt x="14187" y="4109"/>
                    <a:pt x="14187" y="7706"/>
                  </a:cubicBezTo>
                  <a:cubicBezTo>
                    <a:pt x="14187" y="11304"/>
                    <a:pt x="11259" y="14232"/>
                    <a:pt x="7662" y="14232"/>
                  </a:cubicBezTo>
                  <a:close/>
                  <a:moveTo>
                    <a:pt x="7662" y="-2548"/>
                  </a:moveTo>
                  <a:cubicBezTo>
                    <a:pt x="2013" y="-2548"/>
                    <a:pt x="-2593" y="2051"/>
                    <a:pt x="-2593" y="7706"/>
                  </a:cubicBezTo>
                  <a:cubicBezTo>
                    <a:pt x="-2593" y="13362"/>
                    <a:pt x="2013" y="17961"/>
                    <a:pt x="7662" y="17961"/>
                  </a:cubicBezTo>
                  <a:cubicBezTo>
                    <a:pt x="13317" y="17961"/>
                    <a:pt x="17916" y="13362"/>
                    <a:pt x="17916" y="7706"/>
                  </a:cubicBezTo>
                  <a:cubicBezTo>
                    <a:pt x="17916" y="2051"/>
                    <a:pt x="13317" y="-2548"/>
                    <a:pt x="7662" y="-2548"/>
                  </a:cubicBez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7ADD3EB3-6964-A7F5-A0A8-173E87D6F8E1}"/>
                </a:ext>
              </a:extLst>
            </p:cNvPr>
            <p:cNvSpPr/>
            <p:nvPr/>
          </p:nvSpPr>
          <p:spPr>
            <a:xfrm flipV="1">
              <a:off x="8273206" y="2870881"/>
              <a:ext cx="16780" cy="16780"/>
            </a:xfrm>
            <a:custGeom>
              <a:avLst/>
              <a:gdLst>
                <a:gd name="connsiteX0" fmla="*/ 14440 w 16780"/>
                <a:gd name="connsiteY0" fmla="*/ 5865 h 16780"/>
                <a:gd name="connsiteX1" fmla="*/ 6049 w 16780"/>
                <a:gd name="connsiteY1" fmla="*/ -2525 h 16780"/>
                <a:gd name="connsiteX2" fmla="*/ -2341 w 16780"/>
                <a:gd name="connsiteY2" fmla="*/ 5865 h 16780"/>
                <a:gd name="connsiteX3" fmla="*/ 6049 w 16780"/>
                <a:gd name="connsiteY3" fmla="*/ 14256 h 16780"/>
                <a:gd name="connsiteX4" fmla="*/ 14440 w 16780"/>
                <a:gd name="connsiteY4" fmla="*/ 5865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4440" y="5865"/>
                  </a:moveTo>
                  <a:cubicBezTo>
                    <a:pt x="14440" y="1232"/>
                    <a:pt x="10683" y="-2525"/>
                    <a:pt x="6049" y="-2525"/>
                  </a:cubicBezTo>
                  <a:cubicBezTo>
                    <a:pt x="1416" y="-2525"/>
                    <a:pt x="-2341" y="1232"/>
                    <a:pt x="-2341" y="5865"/>
                  </a:cubicBezTo>
                  <a:cubicBezTo>
                    <a:pt x="-2341" y="10499"/>
                    <a:pt x="1416" y="14256"/>
                    <a:pt x="6049" y="14256"/>
                  </a:cubicBezTo>
                  <a:cubicBezTo>
                    <a:pt x="10683" y="14256"/>
                    <a:pt x="14440" y="10499"/>
                    <a:pt x="14440" y="5865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5B4B0417-8A71-31A9-8642-E1C4C4D37F08}"/>
                </a:ext>
              </a:extLst>
            </p:cNvPr>
            <p:cNvSpPr/>
            <p:nvPr/>
          </p:nvSpPr>
          <p:spPr>
            <a:xfrm flipV="1">
              <a:off x="8271342" y="2869017"/>
              <a:ext cx="20509" cy="20509"/>
            </a:xfrm>
            <a:custGeom>
              <a:avLst/>
              <a:gdLst>
                <a:gd name="connsiteX0" fmla="*/ 7914 w 20509"/>
                <a:gd name="connsiteY0" fmla="*/ 14256 h 20509"/>
                <a:gd name="connsiteX1" fmla="*/ 1395 w 20509"/>
                <a:gd name="connsiteY1" fmla="*/ 7730 h 20509"/>
                <a:gd name="connsiteX2" fmla="*/ 7914 w 20509"/>
                <a:gd name="connsiteY2" fmla="*/ 1204 h 20509"/>
                <a:gd name="connsiteX3" fmla="*/ 14440 w 20509"/>
                <a:gd name="connsiteY3" fmla="*/ 7730 h 20509"/>
                <a:gd name="connsiteX4" fmla="*/ 7914 w 20509"/>
                <a:gd name="connsiteY4" fmla="*/ 14256 h 20509"/>
                <a:gd name="connsiteX5" fmla="*/ 7914 w 20509"/>
                <a:gd name="connsiteY5" fmla="*/ -2525 h 20509"/>
                <a:gd name="connsiteX6" fmla="*/ -2341 w 20509"/>
                <a:gd name="connsiteY6" fmla="*/ 7730 h 20509"/>
                <a:gd name="connsiteX7" fmla="*/ 7914 w 20509"/>
                <a:gd name="connsiteY7" fmla="*/ 17985 h 20509"/>
                <a:gd name="connsiteX8" fmla="*/ 18169 w 20509"/>
                <a:gd name="connsiteY8" fmla="*/ 7730 h 20509"/>
                <a:gd name="connsiteX9" fmla="*/ 7914 w 20509"/>
                <a:gd name="connsiteY9" fmla="*/ -2525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7914" y="14256"/>
                  </a:moveTo>
                  <a:cubicBezTo>
                    <a:pt x="4316" y="14256"/>
                    <a:pt x="1395" y="11328"/>
                    <a:pt x="1395" y="7730"/>
                  </a:cubicBezTo>
                  <a:cubicBezTo>
                    <a:pt x="1395" y="4132"/>
                    <a:pt x="4316" y="1204"/>
                    <a:pt x="7914" y="1204"/>
                  </a:cubicBezTo>
                  <a:cubicBezTo>
                    <a:pt x="11512" y="1204"/>
                    <a:pt x="14440" y="4132"/>
                    <a:pt x="14440" y="7730"/>
                  </a:cubicBezTo>
                  <a:cubicBezTo>
                    <a:pt x="14440" y="11328"/>
                    <a:pt x="11512" y="14256"/>
                    <a:pt x="7914" y="14256"/>
                  </a:cubicBezTo>
                  <a:close/>
                  <a:moveTo>
                    <a:pt x="7914" y="-2525"/>
                  </a:moveTo>
                  <a:cubicBezTo>
                    <a:pt x="2258" y="-2525"/>
                    <a:pt x="-2341" y="2075"/>
                    <a:pt x="-2341" y="7730"/>
                  </a:cubicBezTo>
                  <a:cubicBezTo>
                    <a:pt x="-2341" y="13379"/>
                    <a:pt x="2258" y="17985"/>
                    <a:pt x="7914" y="17985"/>
                  </a:cubicBezTo>
                  <a:cubicBezTo>
                    <a:pt x="13570" y="17985"/>
                    <a:pt x="18169" y="13379"/>
                    <a:pt x="18169" y="7730"/>
                  </a:cubicBezTo>
                  <a:cubicBezTo>
                    <a:pt x="18169" y="2075"/>
                    <a:pt x="13570" y="-2525"/>
                    <a:pt x="7914" y="-2525"/>
                  </a:cubicBez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9B55490-DA63-61A6-B896-CFF0B91A9AEE}"/>
                </a:ext>
              </a:extLst>
            </p:cNvPr>
            <p:cNvSpPr/>
            <p:nvPr/>
          </p:nvSpPr>
          <p:spPr>
            <a:xfrm flipV="1">
              <a:off x="7669504" y="2941448"/>
              <a:ext cx="16773" cy="16780"/>
            </a:xfrm>
            <a:custGeom>
              <a:avLst/>
              <a:gdLst>
                <a:gd name="connsiteX0" fmla="*/ 15190 w 16773"/>
                <a:gd name="connsiteY0" fmla="*/ 5981 h 16780"/>
                <a:gd name="connsiteX1" fmla="*/ 6807 w 16773"/>
                <a:gd name="connsiteY1" fmla="*/ -2409 h 16780"/>
                <a:gd name="connsiteX2" fmla="*/ -1583 w 16773"/>
                <a:gd name="connsiteY2" fmla="*/ 5981 h 16780"/>
                <a:gd name="connsiteX3" fmla="*/ 6807 w 16773"/>
                <a:gd name="connsiteY3" fmla="*/ 14372 h 16780"/>
                <a:gd name="connsiteX4" fmla="*/ 15190 w 16773"/>
                <a:gd name="connsiteY4" fmla="*/ 5981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73" h="16780">
                  <a:moveTo>
                    <a:pt x="15190" y="5981"/>
                  </a:moveTo>
                  <a:cubicBezTo>
                    <a:pt x="15190" y="1348"/>
                    <a:pt x="11434" y="-2409"/>
                    <a:pt x="6807" y="-2409"/>
                  </a:cubicBezTo>
                  <a:cubicBezTo>
                    <a:pt x="2174" y="-2409"/>
                    <a:pt x="-1583" y="1348"/>
                    <a:pt x="-1583" y="5981"/>
                  </a:cubicBezTo>
                  <a:cubicBezTo>
                    <a:pt x="-1583" y="10615"/>
                    <a:pt x="2174" y="14372"/>
                    <a:pt x="6807" y="14372"/>
                  </a:cubicBezTo>
                  <a:cubicBezTo>
                    <a:pt x="11434" y="14372"/>
                    <a:pt x="15190" y="10615"/>
                    <a:pt x="15190" y="5981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0CDEE72C-8D67-AB63-8D79-CDCC2075D720}"/>
                </a:ext>
              </a:extLst>
            </p:cNvPr>
            <p:cNvSpPr/>
            <p:nvPr/>
          </p:nvSpPr>
          <p:spPr>
            <a:xfrm flipV="1">
              <a:off x="7667639" y="2939584"/>
              <a:ext cx="20509" cy="20509"/>
            </a:xfrm>
            <a:custGeom>
              <a:avLst/>
              <a:gdLst>
                <a:gd name="connsiteX0" fmla="*/ 8672 w 20509"/>
                <a:gd name="connsiteY0" fmla="*/ 14372 h 20509"/>
                <a:gd name="connsiteX1" fmla="*/ 2146 w 20509"/>
                <a:gd name="connsiteY1" fmla="*/ 7846 h 20509"/>
                <a:gd name="connsiteX2" fmla="*/ 8672 w 20509"/>
                <a:gd name="connsiteY2" fmla="*/ 1320 h 20509"/>
                <a:gd name="connsiteX3" fmla="*/ 15190 w 20509"/>
                <a:gd name="connsiteY3" fmla="*/ 7846 h 20509"/>
                <a:gd name="connsiteX4" fmla="*/ 8672 w 20509"/>
                <a:gd name="connsiteY4" fmla="*/ 14372 h 20509"/>
                <a:gd name="connsiteX5" fmla="*/ 8672 w 20509"/>
                <a:gd name="connsiteY5" fmla="*/ -2409 h 20509"/>
                <a:gd name="connsiteX6" fmla="*/ -1583 w 20509"/>
                <a:gd name="connsiteY6" fmla="*/ 7846 h 20509"/>
                <a:gd name="connsiteX7" fmla="*/ 8672 w 20509"/>
                <a:gd name="connsiteY7" fmla="*/ 18100 h 20509"/>
                <a:gd name="connsiteX8" fmla="*/ 18926 w 20509"/>
                <a:gd name="connsiteY8" fmla="*/ 7846 h 20509"/>
                <a:gd name="connsiteX9" fmla="*/ 8672 w 20509"/>
                <a:gd name="connsiteY9" fmla="*/ -2409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8672" y="14372"/>
                  </a:moveTo>
                  <a:cubicBezTo>
                    <a:pt x="5074" y="14372"/>
                    <a:pt x="2146" y="11444"/>
                    <a:pt x="2146" y="7846"/>
                  </a:cubicBezTo>
                  <a:cubicBezTo>
                    <a:pt x="2146" y="4248"/>
                    <a:pt x="5074" y="1320"/>
                    <a:pt x="8672" y="1320"/>
                  </a:cubicBezTo>
                  <a:cubicBezTo>
                    <a:pt x="12269" y="1320"/>
                    <a:pt x="15190" y="4248"/>
                    <a:pt x="15190" y="7846"/>
                  </a:cubicBezTo>
                  <a:cubicBezTo>
                    <a:pt x="15190" y="11444"/>
                    <a:pt x="12269" y="14372"/>
                    <a:pt x="8672" y="14372"/>
                  </a:cubicBezTo>
                  <a:close/>
                  <a:moveTo>
                    <a:pt x="8672" y="-2409"/>
                  </a:moveTo>
                  <a:cubicBezTo>
                    <a:pt x="3016" y="-2409"/>
                    <a:pt x="-1583" y="2190"/>
                    <a:pt x="-1583" y="7846"/>
                  </a:cubicBezTo>
                  <a:cubicBezTo>
                    <a:pt x="-1583" y="13501"/>
                    <a:pt x="3016" y="18100"/>
                    <a:pt x="8672" y="18100"/>
                  </a:cubicBezTo>
                  <a:cubicBezTo>
                    <a:pt x="14320" y="18100"/>
                    <a:pt x="18926" y="13501"/>
                    <a:pt x="18926" y="7846"/>
                  </a:cubicBezTo>
                  <a:cubicBezTo>
                    <a:pt x="18926" y="2190"/>
                    <a:pt x="14320" y="-2409"/>
                    <a:pt x="8672" y="-2409"/>
                  </a:cubicBez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382E412F-3849-43E3-E758-7649B8A2F3F8}"/>
                </a:ext>
              </a:extLst>
            </p:cNvPr>
            <p:cNvSpPr/>
            <p:nvPr/>
          </p:nvSpPr>
          <p:spPr>
            <a:xfrm flipV="1">
              <a:off x="7374938" y="2781255"/>
              <a:ext cx="1209338" cy="264941"/>
            </a:xfrm>
            <a:custGeom>
              <a:avLst/>
              <a:gdLst>
                <a:gd name="connsiteX0" fmla="*/ -1962 w 1209338"/>
                <a:gd name="connsiteY0" fmla="*/ -2468 h 264941"/>
                <a:gd name="connsiteX1" fmla="*/ 99673 w 1209338"/>
                <a:gd name="connsiteY1" fmla="*/ 134840 h 264941"/>
                <a:gd name="connsiteX2" fmla="*/ 99390 w 1209338"/>
                <a:gd name="connsiteY2" fmla="*/ 134730 h 264941"/>
                <a:gd name="connsiteX3" fmla="*/ 199781 w 1209338"/>
                <a:gd name="connsiteY3" fmla="*/ 204019 h 264941"/>
                <a:gd name="connsiteX4" fmla="*/ 199885 w 1209338"/>
                <a:gd name="connsiteY4" fmla="*/ 204088 h 264941"/>
                <a:gd name="connsiteX5" fmla="*/ 200009 w 1209338"/>
                <a:gd name="connsiteY5" fmla="*/ 204136 h 264941"/>
                <a:gd name="connsiteX6" fmla="*/ 300546 w 1209338"/>
                <a:gd name="connsiteY6" fmla="*/ 241881 h 264941"/>
                <a:gd name="connsiteX7" fmla="*/ 300967 w 1209338"/>
                <a:gd name="connsiteY7" fmla="*/ 242040 h 264941"/>
                <a:gd name="connsiteX8" fmla="*/ 301402 w 1209338"/>
                <a:gd name="connsiteY8" fmla="*/ 241895 h 264941"/>
                <a:gd name="connsiteX9" fmla="*/ 402084 w 1209338"/>
                <a:gd name="connsiteY9" fmla="*/ 208176 h 264941"/>
                <a:gd name="connsiteX10" fmla="*/ 402249 w 1209338"/>
                <a:gd name="connsiteY10" fmla="*/ 208121 h 264941"/>
                <a:gd name="connsiteX11" fmla="*/ 402401 w 1209338"/>
                <a:gd name="connsiteY11" fmla="*/ 208024 h 264941"/>
                <a:gd name="connsiteX12" fmla="*/ 503131 w 1209338"/>
                <a:gd name="connsiteY12" fmla="*/ 145550 h 264941"/>
                <a:gd name="connsiteX13" fmla="*/ 501598 w 1209338"/>
                <a:gd name="connsiteY13" fmla="*/ 145689 h 264941"/>
                <a:gd name="connsiteX14" fmla="*/ 602190 w 1209338"/>
                <a:gd name="connsiteY14" fmla="*/ 185561 h 264941"/>
                <a:gd name="connsiteX15" fmla="*/ 602936 w 1209338"/>
                <a:gd name="connsiteY15" fmla="*/ 185851 h 264941"/>
                <a:gd name="connsiteX16" fmla="*/ 603640 w 1209338"/>
                <a:gd name="connsiteY16" fmla="*/ 185505 h 264941"/>
                <a:gd name="connsiteX17" fmla="*/ 704156 w 1209338"/>
                <a:gd name="connsiteY17" fmla="*/ 135600 h 264941"/>
                <a:gd name="connsiteX18" fmla="*/ 702264 w 1209338"/>
                <a:gd name="connsiteY18" fmla="*/ 135206 h 264941"/>
                <a:gd name="connsiteX19" fmla="*/ 803049 w 1209338"/>
                <a:gd name="connsiteY19" fmla="*/ 253586 h 264941"/>
                <a:gd name="connsiteX20" fmla="*/ 803664 w 1209338"/>
                <a:gd name="connsiteY20" fmla="*/ 254311 h 264941"/>
                <a:gd name="connsiteX21" fmla="*/ 804554 w 1209338"/>
                <a:gd name="connsiteY21" fmla="*/ 253980 h 264941"/>
                <a:gd name="connsiteX22" fmla="*/ 905091 w 1209338"/>
                <a:gd name="connsiteY22" fmla="*/ 216110 h 264941"/>
                <a:gd name="connsiteX23" fmla="*/ 904559 w 1209338"/>
                <a:gd name="connsiteY23" fmla="*/ 216172 h 264941"/>
                <a:gd name="connsiteX24" fmla="*/ 1005213 w 1209338"/>
                <a:gd name="connsiteY24" fmla="*/ 228402 h 264941"/>
                <a:gd name="connsiteX25" fmla="*/ 1005289 w 1209338"/>
                <a:gd name="connsiteY25" fmla="*/ 228416 h 264941"/>
                <a:gd name="connsiteX26" fmla="*/ 1005358 w 1209338"/>
                <a:gd name="connsiteY26" fmla="*/ 228409 h 264941"/>
                <a:gd name="connsiteX27" fmla="*/ 1105943 w 1209338"/>
                <a:gd name="connsiteY27" fmla="*/ 223223 h 264941"/>
                <a:gd name="connsiteX28" fmla="*/ 1105860 w 1209338"/>
                <a:gd name="connsiteY28" fmla="*/ 223209 h 264941"/>
                <a:gd name="connsiteX29" fmla="*/ 1207377 w 1209338"/>
                <a:gd name="connsiteY29" fmla="*/ 262474 h 264941"/>
                <a:gd name="connsiteX30" fmla="*/ 1106012 w 1209338"/>
                <a:gd name="connsiteY30" fmla="*/ 222774 h 264941"/>
                <a:gd name="connsiteX31" fmla="*/ 1105971 w 1209338"/>
                <a:gd name="connsiteY31" fmla="*/ 222760 h 264941"/>
                <a:gd name="connsiteX32" fmla="*/ 1105922 w 1209338"/>
                <a:gd name="connsiteY32" fmla="*/ 222760 h 264941"/>
                <a:gd name="connsiteX33" fmla="*/ 1005282 w 1209338"/>
                <a:gd name="connsiteY33" fmla="*/ 226676 h 264941"/>
                <a:gd name="connsiteX34" fmla="*/ 1005427 w 1209338"/>
                <a:gd name="connsiteY34" fmla="*/ 226683 h 264941"/>
                <a:gd name="connsiteX35" fmla="*/ 904835 w 1209338"/>
                <a:gd name="connsiteY35" fmla="*/ 213935 h 264941"/>
                <a:gd name="connsiteX36" fmla="*/ 904566 w 1209338"/>
                <a:gd name="connsiteY36" fmla="*/ 213901 h 264941"/>
                <a:gd name="connsiteX37" fmla="*/ 904304 w 1209338"/>
                <a:gd name="connsiteY37" fmla="*/ 213997 h 264941"/>
                <a:gd name="connsiteX38" fmla="*/ 803608 w 1209338"/>
                <a:gd name="connsiteY38" fmla="*/ 251446 h 264941"/>
                <a:gd name="connsiteX39" fmla="*/ 805114 w 1209338"/>
                <a:gd name="connsiteY39" fmla="*/ 251832 h 264941"/>
                <a:gd name="connsiteX40" fmla="*/ 704667 w 1209338"/>
                <a:gd name="connsiteY40" fmla="*/ 133176 h 264941"/>
                <a:gd name="connsiteX41" fmla="*/ 703873 w 1209338"/>
                <a:gd name="connsiteY41" fmla="*/ 132244 h 264941"/>
                <a:gd name="connsiteX42" fmla="*/ 702768 w 1209338"/>
                <a:gd name="connsiteY42" fmla="*/ 132782 h 264941"/>
                <a:gd name="connsiteX43" fmla="*/ 602059 w 1209338"/>
                <a:gd name="connsiteY43" fmla="*/ 182301 h 264941"/>
                <a:gd name="connsiteX44" fmla="*/ 603502 w 1209338"/>
                <a:gd name="connsiteY44" fmla="*/ 182239 h 264941"/>
                <a:gd name="connsiteX45" fmla="*/ 502855 w 1209338"/>
                <a:gd name="connsiteY45" fmla="*/ 142519 h 264941"/>
                <a:gd name="connsiteX46" fmla="*/ 502054 w 1209338"/>
                <a:gd name="connsiteY46" fmla="*/ 142201 h 264941"/>
                <a:gd name="connsiteX47" fmla="*/ 501329 w 1209338"/>
                <a:gd name="connsiteY47" fmla="*/ 142657 h 264941"/>
                <a:gd name="connsiteX48" fmla="*/ 400820 w 1209338"/>
                <a:gd name="connsiteY48" fmla="*/ 205490 h 264941"/>
                <a:gd name="connsiteX49" fmla="*/ 401138 w 1209338"/>
                <a:gd name="connsiteY49" fmla="*/ 205345 h 264941"/>
                <a:gd name="connsiteX50" fmla="*/ 300580 w 1209338"/>
                <a:gd name="connsiteY50" fmla="*/ 239471 h 264941"/>
                <a:gd name="connsiteX51" fmla="*/ 301437 w 1209338"/>
                <a:gd name="connsiteY51" fmla="*/ 239485 h 264941"/>
                <a:gd name="connsiteX52" fmla="*/ 200741 w 1209338"/>
                <a:gd name="connsiteY52" fmla="*/ 202175 h 264941"/>
                <a:gd name="connsiteX53" fmla="*/ 200969 w 1209338"/>
                <a:gd name="connsiteY53" fmla="*/ 202286 h 264941"/>
                <a:gd name="connsiteX54" fmla="*/ 100129 w 1209338"/>
                <a:gd name="connsiteY54" fmla="*/ 133652 h 264941"/>
                <a:gd name="connsiteX55" fmla="*/ 99991 w 1209338"/>
                <a:gd name="connsiteY55" fmla="*/ 133563 h 264941"/>
                <a:gd name="connsiteX56" fmla="*/ 99839 w 1209338"/>
                <a:gd name="connsiteY56" fmla="*/ 133549 h 264941"/>
                <a:gd name="connsiteX57" fmla="*/ -1962 w 1209338"/>
                <a:gd name="connsiteY57" fmla="*/ -2468 h 26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209338" h="264941">
                  <a:moveTo>
                    <a:pt x="-1962" y="-2468"/>
                  </a:moveTo>
                  <a:lnTo>
                    <a:pt x="99673" y="134840"/>
                  </a:lnTo>
                  <a:lnTo>
                    <a:pt x="99390" y="134730"/>
                  </a:lnTo>
                  <a:lnTo>
                    <a:pt x="199781" y="204019"/>
                  </a:lnTo>
                  <a:lnTo>
                    <a:pt x="199885" y="204088"/>
                  </a:lnTo>
                  <a:lnTo>
                    <a:pt x="200009" y="204136"/>
                  </a:lnTo>
                  <a:lnTo>
                    <a:pt x="300546" y="241881"/>
                  </a:lnTo>
                  <a:lnTo>
                    <a:pt x="300967" y="242040"/>
                  </a:lnTo>
                  <a:lnTo>
                    <a:pt x="301402" y="241895"/>
                  </a:lnTo>
                  <a:lnTo>
                    <a:pt x="402084" y="208176"/>
                  </a:lnTo>
                  <a:lnTo>
                    <a:pt x="402249" y="208121"/>
                  </a:lnTo>
                  <a:lnTo>
                    <a:pt x="402401" y="208024"/>
                  </a:lnTo>
                  <a:lnTo>
                    <a:pt x="503131" y="145550"/>
                  </a:lnTo>
                  <a:lnTo>
                    <a:pt x="501598" y="145689"/>
                  </a:lnTo>
                  <a:cubicBezTo>
                    <a:pt x="535117" y="159016"/>
                    <a:pt x="568595" y="172440"/>
                    <a:pt x="602190" y="185561"/>
                  </a:cubicBezTo>
                  <a:lnTo>
                    <a:pt x="602936" y="185851"/>
                  </a:lnTo>
                  <a:lnTo>
                    <a:pt x="603640" y="185505"/>
                  </a:lnTo>
                  <a:lnTo>
                    <a:pt x="704156" y="135600"/>
                  </a:lnTo>
                  <a:lnTo>
                    <a:pt x="702264" y="135206"/>
                  </a:lnTo>
                  <a:lnTo>
                    <a:pt x="803049" y="253586"/>
                  </a:lnTo>
                  <a:lnTo>
                    <a:pt x="803664" y="254311"/>
                  </a:lnTo>
                  <a:lnTo>
                    <a:pt x="804554" y="253980"/>
                  </a:lnTo>
                  <a:lnTo>
                    <a:pt x="905091" y="216110"/>
                  </a:lnTo>
                  <a:lnTo>
                    <a:pt x="904559" y="216172"/>
                  </a:lnTo>
                  <a:lnTo>
                    <a:pt x="1005213" y="228402"/>
                  </a:lnTo>
                  <a:lnTo>
                    <a:pt x="1005289" y="228416"/>
                  </a:lnTo>
                  <a:lnTo>
                    <a:pt x="1005358" y="228409"/>
                  </a:lnTo>
                  <a:lnTo>
                    <a:pt x="1105943" y="223223"/>
                  </a:lnTo>
                  <a:lnTo>
                    <a:pt x="1105860" y="223209"/>
                  </a:lnTo>
                  <a:lnTo>
                    <a:pt x="1207377" y="262474"/>
                  </a:lnTo>
                  <a:lnTo>
                    <a:pt x="1106012" y="222774"/>
                  </a:lnTo>
                  <a:lnTo>
                    <a:pt x="1105971" y="222760"/>
                  </a:lnTo>
                  <a:lnTo>
                    <a:pt x="1105922" y="222760"/>
                  </a:lnTo>
                  <a:lnTo>
                    <a:pt x="1005282" y="226676"/>
                  </a:lnTo>
                  <a:lnTo>
                    <a:pt x="1005427" y="226683"/>
                  </a:lnTo>
                  <a:lnTo>
                    <a:pt x="904835" y="213935"/>
                  </a:lnTo>
                  <a:lnTo>
                    <a:pt x="904566" y="213901"/>
                  </a:lnTo>
                  <a:lnTo>
                    <a:pt x="904304" y="213997"/>
                  </a:lnTo>
                  <a:lnTo>
                    <a:pt x="803608" y="251446"/>
                  </a:lnTo>
                  <a:lnTo>
                    <a:pt x="805114" y="251832"/>
                  </a:lnTo>
                  <a:lnTo>
                    <a:pt x="704667" y="133176"/>
                  </a:lnTo>
                  <a:lnTo>
                    <a:pt x="703873" y="132244"/>
                  </a:lnTo>
                  <a:lnTo>
                    <a:pt x="702768" y="132782"/>
                  </a:lnTo>
                  <a:lnTo>
                    <a:pt x="602059" y="182301"/>
                  </a:lnTo>
                  <a:lnTo>
                    <a:pt x="603502" y="182239"/>
                  </a:lnTo>
                  <a:cubicBezTo>
                    <a:pt x="570017" y="168836"/>
                    <a:pt x="536416" y="155729"/>
                    <a:pt x="502855" y="142519"/>
                  </a:cubicBezTo>
                  <a:lnTo>
                    <a:pt x="502054" y="142201"/>
                  </a:lnTo>
                  <a:lnTo>
                    <a:pt x="501329" y="142657"/>
                  </a:lnTo>
                  <a:lnTo>
                    <a:pt x="400820" y="205490"/>
                  </a:lnTo>
                  <a:lnTo>
                    <a:pt x="401138" y="205345"/>
                  </a:lnTo>
                  <a:lnTo>
                    <a:pt x="300580" y="239471"/>
                  </a:lnTo>
                  <a:lnTo>
                    <a:pt x="301437" y="239485"/>
                  </a:lnTo>
                  <a:lnTo>
                    <a:pt x="200741" y="202175"/>
                  </a:lnTo>
                  <a:lnTo>
                    <a:pt x="200969" y="202286"/>
                  </a:lnTo>
                  <a:lnTo>
                    <a:pt x="100129" y="133652"/>
                  </a:lnTo>
                  <a:lnTo>
                    <a:pt x="99991" y="133563"/>
                  </a:lnTo>
                  <a:lnTo>
                    <a:pt x="99839" y="133549"/>
                  </a:lnTo>
                  <a:lnTo>
                    <a:pt x="-1962" y="-246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3BD4DBB-ED88-16AF-B0BF-50411694F26D}"/>
                </a:ext>
              </a:extLst>
            </p:cNvPr>
            <p:cNvSpPr/>
            <p:nvPr/>
          </p:nvSpPr>
          <p:spPr>
            <a:xfrm flipV="1">
              <a:off x="7468265" y="2901148"/>
              <a:ext cx="16780" cy="16780"/>
            </a:xfrm>
            <a:custGeom>
              <a:avLst/>
              <a:gdLst>
                <a:gd name="connsiteX0" fmla="*/ 15450 w 16780"/>
                <a:gd name="connsiteY0" fmla="*/ 5915 h 16780"/>
                <a:gd name="connsiteX1" fmla="*/ 7060 w 16780"/>
                <a:gd name="connsiteY1" fmla="*/ -2475 h 16780"/>
                <a:gd name="connsiteX2" fmla="*/ -1330 w 16780"/>
                <a:gd name="connsiteY2" fmla="*/ 5915 h 16780"/>
                <a:gd name="connsiteX3" fmla="*/ 7060 w 16780"/>
                <a:gd name="connsiteY3" fmla="*/ 14305 h 16780"/>
                <a:gd name="connsiteX4" fmla="*/ 15450 w 16780"/>
                <a:gd name="connsiteY4" fmla="*/ 5915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5450" y="5915"/>
                  </a:moveTo>
                  <a:cubicBezTo>
                    <a:pt x="15450" y="1282"/>
                    <a:pt x="11693" y="-2475"/>
                    <a:pt x="7060" y="-2475"/>
                  </a:cubicBezTo>
                  <a:cubicBezTo>
                    <a:pt x="2426" y="-2475"/>
                    <a:pt x="-1330" y="1282"/>
                    <a:pt x="-1330" y="5915"/>
                  </a:cubicBezTo>
                  <a:cubicBezTo>
                    <a:pt x="-1330" y="10549"/>
                    <a:pt x="2426" y="14305"/>
                    <a:pt x="7060" y="14305"/>
                  </a:cubicBezTo>
                  <a:cubicBezTo>
                    <a:pt x="11693" y="14305"/>
                    <a:pt x="15450" y="10549"/>
                    <a:pt x="15450" y="5915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3282742B-36B8-ECC7-D753-0A3D4FF01C9E}"/>
                </a:ext>
              </a:extLst>
            </p:cNvPr>
            <p:cNvSpPr/>
            <p:nvPr/>
          </p:nvSpPr>
          <p:spPr>
            <a:xfrm flipV="1">
              <a:off x="7466401" y="2899283"/>
              <a:ext cx="20509" cy="20509"/>
            </a:xfrm>
            <a:custGeom>
              <a:avLst/>
              <a:gdLst>
                <a:gd name="connsiteX0" fmla="*/ 8924 w 20509"/>
                <a:gd name="connsiteY0" fmla="*/ 14305 h 20509"/>
                <a:gd name="connsiteX1" fmla="*/ 2399 w 20509"/>
                <a:gd name="connsiteY1" fmla="*/ 7780 h 20509"/>
                <a:gd name="connsiteX2" fmla="*/ 8924 w 20509"/>
                <a:gd name="connsiteY2" fmla="*/ 1254 h 20509"/>
                <a:gd name="connsiteX3" fmla="*/ 15450 w 20509"/>
                <a:gd name="connsiteY3" fmla="*/ 7780 h 20509"/>
                <a:gd name="connsiteX4" fmla="*/ 8924 w 20509"/>
                <a:gd name="connsiteY4" fmla="*/ 14305 h 20509"/>
                <a:gd name="connsiteX5" fmla="*/ 8924 w 20509"/>
                <a:gd name="connsiteY5" fmla="*/ -2475 h 20509"/>
                <a:gd name="connsiteX6" fmla="*/ -1330 w 20509"/>
                <a:gd name="connsiteY6" fmla="*/ 7780 h 20509"/>
                <a:gd name="connsiteX7" fmla="*/ 8924 w 20509"/>
                <a:gd name="connsiteY7" fmla="*/ 18034 h 20509"/>
                <a:gd name="connsiteX8" fmla="*/ 19179 w 20509"/>
                <a:gd name="connsiteY8" fmla="*/ 7780 h 20509"/>
                <a:gd name="connsiteX9" fmla="*/ 8924 w 20509"/>
                <a:gd name="connsiteY9" fmla="*/ -2475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8924" y="14305"/>
                  </a:moveTo>
                  <a:cubicBezTo>
                    <a:pt x="5327" y="14305"/>
                    <a:pt x="2399" y="11377"/>
                    <a:pt x="2399" y="7780"/>
                  </a:cubicBezTo>
                  <a:cubicBezTo>
                    <a:pt x="2399" y="4182"/>
                    <a:pt x="5327" y="1254"/>
                    <a:pt x="8924" y="1254"/>
                  </a:cubicBezTo>
                  <a:cubicBezTo>
                    <a:pt x="12522" y="1254"/>
                    <a:pt x="15450" y="4182"/>
                    <a:pt x="15450" y="7780"/>
                  </a:cubicBezTo>
                  <a:cubicBezTo>
                    <a:pt x="15450" y="11377"/>
                    <a:pt x="12522" y="14305"/>
                    <a:pt x="8924" y="14305"/>
                  </a:cubicBezTo>
                  <a:close/>
                  <a:moveTo>
                    <a:pt x="8924" y="-2475"/>
                  </a:moveTo>
                  <a:cubicBezTo>
                    <a:pt x="3269" y="-2475"/>
                    <a:pt x="-1330" y="2124"/>
                    <a:pt x="-1330" y="7780"/>
                  </a:cubicBezTo>
                  <a:cubicBezTo>
                    <a:pt x="-1330" y="13435"/>
                    <a:pt x="3269" y="18034"/>
                    <a:pt x="8924" y="18034"/>
                  </a:cubicBezTo>
                  <a:cubicBezTo>
                    <a:pt x="14580" y="18034"/>
                    <a:pt x="19179" y="13435"/>
                    <a:pt x="19179" y="7780"/>
                  </a:cubicBezTo>
                  <a:cubicBezTo>
                    <a:pt x="19179" y="2124"/>
                    <a:pt x="14580" y="-2475"/>
                    <a:pt x="8924" y="-2475"/>
                  </a:cubicBezTo>
                </a:path>
              </a:pathLst>
            </a:custGeom>
            <a:solidFill>
              <a:srgbClr val="273E47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EC5A6017-48CA-27A9-6D1B-D7B4ABC70FA7}"/>
                </a:ext>
              </a:extLst>
            </p:cNvPr>
            <p:cNvSpPr/>
            <p:nvPr/>
          </p:nvSpPr>
          <p:spPr>
            <a:xfrm flipV="1">
              <a:off x="7568884" y="2832190"/>
              <a:ext cx="16780" cy="16773"/>
            </a:xfrm>
            <a:custGeom>
              <a:avLst/>
              <a:gdLst>
                <a:gd name="connsiteX0" fmla="*/ 15324 w 16780"/>
                <a:gd name="connsiteY0" fmla="*/ 5802 h 16773"/>
                <a:gd name="connsiteX1" fmla="*/ 6933 w 16780"/>
                <a:gd name="connsiteY1" fmla="*/ -2588 h 16773"/>
                <a:gd name="connsiteX2" fmla="*/ -1457 w 16780"/>
                <a:gd name="connsiteY2" fmla="*/ 5802 h 16773"/>
                <a:gd name="connsiteX3" fmla="*/ 6933 w 16780"/>
                <a:gd name="connsiteY3" fmla="*/ 14185 h 16773"/>
                <a:gd name="connsiteX4" fmla="*/ 15324 w 16780"/>
                <a:gd name="connsiteY4" fmla="*/ 5802 h 16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73">
                  <a:moveTo>
                    <a:pt x="15324" y="5802"/>
                  </a:moveTo>
                  <a:cubicBezTo>
                    <a:pt x="15324" y="1169"/>
                    <a:pt x="11567" y="-2588"/>
                    <a:pt x="6933" y="-2588"/>
                  </a:cubicBezTo>
                  <a:cubicBezTo>
                    <a:pt x="2300" y="-2588"/>
                    <a:pt x="-1457" y="1169"/>
                    <a:pt x="-1457" y="5802"/>
                  </a:cubicBezTo>
                  <a:cubicBezTo>
                    <a:pt x="-1457" y="10436"/>
                    <a:pt x="2300" y="14185"/>
                    <a:pt x="6933" y="14185"/>
                  </a:cubicBezTo>
                  <a:cubicBezTo>
                    <a:pt x="11567" y="14185"/>
                    <a:pt x="15324" y="10436"/>
                    <a:pt x="15324" y="5802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AEB6991-41BE-ED79-1D9A-7667B69AF356}"/>
                </a:ext>
              </a:extLst>
            </p:cNvPr>
            <p:cNvSpPr/>
            <p:nvPr/>
          </p:nvSpPr>
          <p:spPr>
            <a:xfrm flipV="1">
              <a:off x="7567020" y="2830326"/>
              <a:ext cx="20509" cy="20502"/>
            </a:xfrm>
            <a:custGeom>
              <a:avLst/>
              <a:gdLst>
                <a:gd name="connsiteX0" fmla="*/ 8798 w 20509"/>
                <a:gd name="connsiteY0" fmla="*/ 14185 h 20502"/>
                <a:gd name="connsiteX1" fmla="*/ 2272 w 20509"/>
                <a:gd name="connsiteY1" fmla="*/ 7667 h 20502"/>
                <a:gd name="connsiteX2" fmla="*/ 8798 w 20509"/>
                <a:gd name="connsiteY2" fmla="*/ 1141 h 20502"/>
                <a:gd name="connsiteX3" fmla="*/ 15324 w 20509"/>
                <a:gd name="connsiteY3" fmla="*/ 7667 h 20502"/>
                <a:gd name="connsiteX4" fmla="*/ 8798 w 20509"/>
                <a:gd name="connsiteY4" fmla="*/ 14185 h 20502"/>
                <a:gd name="connsiteX5" fmla="*/ 8798 w 20509"/>
                <a:gd name="connsiteY5" fmla="*/ -2588 h 20502"/>
                <a:gd name="connsiteX6" fmla="*/ -1457 w 20509"/>
                <a:gd name="connsiteY6" fmla="*/ 7667 h 20502"/>
                <a:gd name="connsiteX7" fmla="*/ 8798 w 20509"/>
                <a:gd name="connsiteY7" fmla="*/ 17914 h 20502"/>
                <a:gd name="connsiteX8" fmla="*/ 19053 w 20509"/>
                <a:gd name="connsiteY8" fmla="*/ 7667 h 20502"/>
                <a:gd name="connsiteX9" fmla="*/ 8798 w 20509"/>
                <a:gd name="connsiteY9" fmla="*/ -2588 h 20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2">
                  <a:moveTo>
                    <a:pt x="8798" y="14185"/>
                  </a:moveTo>
                  <a:cubicBezTo>
                    <a:pt x="5200" y="14185"/>
                    <a:pt x="2272" y="11264"/>
                    <a:pt x="2272" y="7667"/>
                  </a:cubicBezTo>
                  <a:cubicBezTo>
                    <a:pt x="2272" y="4069"/>
                    <a:pt x="5200" y="1141"/>
                    <a:pt x="8798" y="1141"/>
                  </a:cubicBezTo>
                  <a:cubicBezTo>
                    <a:pt x="12396" y="1141"/>
                    <a:pt x="15324" y="4069"/>
                    <a:pt x="15324" y="7667"/>
                  </a:cubicBezTo>
                  <a:cubicBezTo>
                    <a:pt x="15324" y="11264"/>
                    <a:pt x="12396" y="14185"/>
                    <a:pt x="8798" y="14185"/>
                  </a:cubicBezTo>
                  <a:close/>
                  <a:moveTo>
                    <a:pt x="8798" y="-2588"/>
                  </a:moveTo>
                  <a:cubicBezTo>
                    <a:pt x="3142" y="-2588"/>
                    <a:pt x="-1457" y="2011"/>
                    <a:pt x="-1457" y="7667"/>
                  </a:cubicBezTo>
                  <a:cubicBezTo>
                    <a:pt x="-1457" y="13315"/>
                    <a:pt x="3142" y="17914"/>
                    <a:pt x="8798" y="17914"/>
                  </a:cubicBezTo>
                  <a:cubicBezTo>
                    <a:pt x="14454" y="17914"/>
                    <a:pt x="19053" y="13315"/>
                    <a:pt x="19053" y="7667"/>
                  </a:cubicBezTo>
                  <a:cubicBezTo>
                    <a:pt x="19053" y="2011"/>
                    <a:pt x="14454" y="-2588"/>
                    <a:pt x="8798" y="-2588"/>
                  </a:cubicBezTo>
                </a:path>
              </a:pathLst>
            </a:custGeom>
            <a:solidFill>
              <a:srgbClr val="273E47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B9F3FD8E-9D79-DF7E-6C65-A969CC1AEA1B}"/>
                </a:ext>
              </a:extLst>
            </p:cNvPr>
            <p:cNvSpPr/>
            <p:nvPr/>
          </p:nvSpPr>
          <p:spPr>
            <a:xfrm flipV="1">
              <a:off x="7770123" y="2829200"/>
              <a:ext cx="16773" cy="16780"/>
            </a:xfrm>
            <a:custGeom>
              <a:avLst/>
              <a:gdLst>
                <a:gd name="connsiteX0" fmla="*/ 15064 w 16773"/>
                <a:gd name="connsiteY0" fmla="*/ 5797 h 16780"/>
                <a:gd name="connsiteX1" fmla="*/ 6674 w 16773"/>
                <a:gd name="connsiteY1" fmla="*/ -2593 h 16780"/>
                <a:gd name="connsiteX2" fmla="*/ -1709 w 16773"/>
                <a:gd name="connsiteY2" fmla="*/ 5797 h 16780"/>
                <a:gd name="connsiteX3" fmla="*/ 6674 w 16773"/>
                <a:gd name="connsiteY3" fmla="*/ 14187 h 16780"/>
                <a:gd name="connsiteX4" fmla="*/ 15064 w 16773"/>
                <a:gd name="connsiteY4" fmla="*/ 5797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73" h="16780">
                  <a:moveTo>
                    <a:pt x="15064" y="5797"/>
                  </a:moveTo>
                  <a:cubicBezTo>
                    <a:pt x="15064" y="1164"/>
                    <a:pt x="11308" y="-2593"/>
                    <a:pt x="6674" y="-2593"/>
                  </a:cubicBezTo>
                  <a:cubicBezTo>
                    <a:pt x="2041" y="-2593"/>
                    <a:pt x="-1709" y="1164"/>
                    <a:pt x="-1709" y="5797"/>
                  </a:cubicBezTo>
                  <a:cubicBezTo>
                    <a:pt x="-1709" y="10431"/>
                    <a:pt x="2041" y="14187"/>
                    <a:pt x="6674" y="14187"/>
                  </a:cubicBezTo>
                  <a:cubicBezTo>
                    <a:pt x="11308" y="14187"/>
                    <a:pt x="15064" y="10431"/>
                    <a:pt x="15064" y="5797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19AB044-04D0-DBB3-7ADD-F709C568EDEF}"/>
                </a:ext>
              </a:extLst>
            </p:cNvPr>
            <p:cNvSpPr/>
            <p:nvPr/>
          </p:nvSpPr>
          <p:spPr>
            <a:xfrm flipV="1">
              <a:off x="7768252" y="2827335"/>
              <a:ext cx="20516" cy="20509"/>
            </a:xfrm>
            <a:custGeom>
              <a:avLst/>
              <a:gdLst>
                <a:gd name="connsiteX0" fmla="*/ 8545 w 20516"/>
                <a:gd name="connsiteY0" fmla="*/ 14187 h 20509"/>
                <a:gd name="connsiteX1" fmla="*/ 2027 w 20516"/>
                <a:gd name="connsiteY1" fmla="*/ 7662 h 20509"/>
                <a:gd name="connsiteX2" fmla="*/ 8545 w 20516"/>
                <a:gd name="connsiteY2" fmla="*/ 1136 h 20509"/>
                <a:gd name="connsiteX3" fmla="*/ 15071 w 20516"/>
                <a:gd name="connsiteY3" fmla="*/ 7662 h 20509"/>
                <a:gd name="connsiteX4" fmla="*/ 8545 w 20516"/>
                <a:gd name="connsiteY4" fmla="*/ 14187 h 20509"/>
                <a:gd name="connsiteX5" fmla="*/ 8545 w 20516"/>
                <a:gd name="connsiteY5" fmla="*/ -2593 h 20509"/>
                <a:gd name="connsiteX6" fmla="*/ -1709 w 20516"/>
                <a:gd name="connsiteY6" fmla="*/ 7662 h 20509"/>
                <a:gd name="connsiteX7" fmla="*/ 8545 w 20516"/>
                <a:gd name="connsiteY7" fmla="*/ 17916 h 20509"/>
                <a:gd name="connsiteX8" fmla="*/ 18807 w 20516"/>
                <a:gd name="connsiteY8" fmla="*/ 7662 h 20509"/>
                <a:gd name="connsiteX9" fmla="*/ 8545 w 20516"/>
                <a:gd name="connsiteY9" fmla="*/ -2593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16" h="20509">
                  <a:moveTo>
                    <a:pt x="8545" y="14187"/>
                  </a:moveTo>
                  <a:cubicBezTo>
                    <a:pt x="4948" y="14187"/>
                    <a:pt x="2027" y="11259"/>
                    <a:pt x="2027" y="7662"/>
                  </a:cubicBezTo>
                  <a:cubicBezTo>
                    <a:pt x="2027" y="4064"/>
                    <a:pt x="4948" y="1136"/>
                    <a:pt x="8545" y="1136"/>
                  </a:cubicBezTo>
                  <a:cubicBezTo>
                    <a:pt x="12143" y="1136"/>
                    <a:pt x="15071" y="4064"/>
                    <a:pt x="15071" y="7662"/>
                  </a:cubicBezTo>
                  <a:cubicBezTo>
                    <a:pt x="15071" y="11259"/>
                    <a:pt x="12143" y="14187"/>
                    <a:pt x="8545" y="14187"/>
                  </a:cubicBezTo>
                  <a:close/>
                  <a:moveTo>
                    <a:pt x="8545" y="-2593"/>
                  </a:moveTo>
                  <a:cubicBezTo>
                    <a:pt x="2897" y="-2593"/>
                    <a:pt x="-1709" y="2006"/>
                    <a:pt x="-1709" y="7662"/>
                  </a:cubicBezTo>
                  <a:cubicBezTo>
                    <a:pt x="-1709" y="13317"/>
                    <a:pt x="2897" y="17916"/>
                    <a:pt x="8545" y="17916"/>
                  </a:cubicBezTo>
                  <a:cubicBezTo>
                    <a:pt x="14201" y="17916"/>
                    <a:pt x="18807" y="13317"/>
                    <a:pt x="18807" y="7662"/>
                  </a:cubicBezTo>
                  <a:cubicBezTo>
                    <a:pt x="18807" y="2006"/>
                    <a:pt x="14201" y="-2593"/>
                    <a:pt x="8545" y="-2593"/>
                  </a:cubicBezTo>
                </a:path>
              </a:pathLst>
            </a:custGeom>
            <a:solidFill>
              <a:srgbClr val="273E47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FD48CC73-3508-9D0B-9583-39A6FFFEE0AD}"/>
                </a:ext>
              </a:extLst>
            </p:cNvPr>
            <p:cNvSpPr/>
            <p:nvPr/>
          </p:nvSpPr>
          <p:spPr>
            <a:xfrm flipV="1">
              <a:off x="7970727" y="2852748"/>
              <a:ext cx="16780" cy="16780"/>
            </a:xfrm>
            <a:custGeom>
              <a:avLst/>
              <a:gdLst>
                <a:gd name="connsiteX0" fmla="*/ 14819 w 16780"/>
                <a:gd name="connsiteY0" fmla="*/ 5836 h 16780"/>
                <a:gd name="connsiteX1" fmla="*/ 6429 w 16780"/>
                <a:gd name="connsiteY1" fmla="*/ -2554 h 16780"/>
                <a:gd name="connsiteX2" fmla="*/ -1961 w 16780"/>
                <a:gd name="connsiteY2" fmla="*/ 5836 h 16780"/>
                <a:gd name="connsiteX3" fmla="*/ 6429 w 16780"/>
                <a:gd name="connsiteY3" fmla="*/ 14226 h 16780"/>
                <a:gd name="connsiteX4" fmla="*/ 14819 w 16780"/>
                <a:gd name="connsiteY4" fmla="*/ 5836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4819" y="5836"/>
                  </a:moveTo>
                  <a:cubicBezTo>
                    <a:pt x="14819" y="1202"/>
                    <a:pt x="11063" y="-2554"/>
                    <a:pt x="6429" y="-2554"/>
                  </a:cubicBezTo>
                  <a:cubicBezTo>
                    <a:pt x="1796" y="-2554"/>
                    <a:pt x="-1961" y="1202"/>
                    <a:pt x="-1961" y="5836"/>
                  </a:cubicBezTo>
                  <a:cubicBezTo>
                    <a:pt x="-1961" y="10469"/>
                    <a:pt x="1796" y="14226"/>
                    <a:pt x="6429" y="14226"/>
                  </a:cubicBezTo>
                  <a:cubicBezTo>
                    <a:pt x="11063" y="14226"/>
                    <a:pt x="14819" y="10469"/>
                    <a:pt x="14819" y="5836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105C3CD9-C4BD-6C23-49B8-83E4A3E47EC5}"/>
                </a:ext>
              </a:extLst>
            </p:cNvPr>
            <p:cNvSpPr/>
            <p:nvPr/>
          </p:nvSpPr>
          <p:spPr>
            <a:xfrm flipV="1">
              <a:off x="7968862" y="2850883"/>
              <a:ext cx="20509" cy="20509"/>
            </a:xfrm>
            <a:custGeom>
              <a:avLst/>
              <a:gdLst>
                <a:gd name="connsiteX0" fmla="*/ 8294 w 20509"/>
                <a:gd name="connsiteY0" fmla="*/ 14226 h 20509"/>
                <a:gd name="connsiteX1" fmla="*/ 1768 w 20509"/>
                <a:gd name="connsiteY1" fmla="*/ 7700 h 20509"/>
                <a:gd name="connsiteX2" fmla="*/ 8294 w 20509"/>
                <a:gd name="connsiteY2" fmla="*/ 1175 h 20509"/>
                <a:gd name="connsiteX3" fmla="*/ 14819 w 20509"/>
                <a:gd name="connsiteY3" fmla="*/ 7700 h 20509"/>
                <a:gd name="connsiteX4" fmla="*/ 8294 w 20509"/>
                <a:gd name="connsiteY4" fmla="*/ 14226 h 20509"/>
                <a:gd name="connsiteX5" fmla="*/ 8294 w 20509"/>
                <a:gd name="connsiteY5" fmla="*/ -2554 h 20509"/>
                <a:gd name="connsiteX6" fmla="*/ -1961 w 20509"/>
                <a:gd name="connsiteY6" fmla="*/ 7700 h 20509"/>
                <a:gd name="connsiteX7" fmla="*/ 8294 w 20509"/>
                <a:gd name="connsiteY7" fmla="*/ 17955 h 20509"/>
                <a:gd name="connsiteX8" fmla="*/ 18548 w 20509"/>
                <a:gd name="connsiteY8" fmla="*/ 7700 h 20509"/>
                <a:gd name="connsiteX9" fmla="*/ 8294 w 20509"/>
                <a:gd name="connsiteY9" fmla="*/ -2554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8294" y="14226"/>
                  </a:moveTo>
                  <a:cubicBezTo>
                    <a:pt x="4696" y="14226"/>
                    <a:pt x="1768" y="11298"/>
                    <a:pt x="1768" y="7700"/>
                  </a:cubicBezTo>
                  <a:cubicBezTo>
                    <a:pt x="1768" y="4103"/>
                    <a:pt x="4696" y="1175"/>
                    <a:pt x="8294" y="1175"/>
                  </a:cubicBezTo>
                  <a:cubicBezTo>
                    <a:pt x="11891" y="1175"/>
                    <a:pt x="14819" y="4103"/>
                    <a:pt x="14819" y="7700"/>
                  </a:cubicBezTo>
                  <a:cubicBezTo>
                    <a:pt x="14819" y="11298"/>
                    <a:pt x="11891" y="14226"/>
                    <a:pt x="8294" y="14226"/>
                  </a:cubicBezTo>
                  <a:close/>
                  <a:moveTo>
                    <a:pt x="8294" y="-2554"/>
                  </a:moveTo>
                  <a:cubicBezTo>
                    <a:pt x="2638" y="-2554"/>
                    <a:pt x="-1961" y="2045"/>
                    <a:pt x="-1961" y="7700"/>
                  </a:cubicBezTo>
                  <a:cubicBezTo>
                    <a:pt x="-1961" y="13356"/>
                    <a:pt x="2638" y="17955"/>
                    <a:pt x="8294" y="17955"/>
                  </a:cubicBezTo>
                  <a:cubicBezTo>
                    <a:pt x="13949" y="17955"/>
                    <a:pt x="18548" y="13356"/>
                    <a:pt x="18548" y="7700"/>
                  </a:cubicBezTo>
                  <a:cubicBezTo>
                    <a:pt x="18548" y="2045"/>
                    <a:pt x="13949" y="-2554"/>
                    <a:pt x="8294" y="-2554"/>
                  </a:cubicBezTo>
                </a:path>
              </a:pathLst>
            </a:custGeom>
            <a:solidFill>
              <a:srgbClr val="273E47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A50E8DB3-8AB1-42BB-5025-11137CD6C7B9}"/>
                </a:ext>
              </a:extLst>
            </p:cNvPr>
            <p:cNvSpPr/>
            <p:nvPr/>
          </p:nvSpPr>
          <p:spPr>
            <a:xfrm flipV="1">
              <a:off x="8172594" y="2782630"/>
              <a:ext cx="16773" cy="16773"/>
            </a:xfrm>
            <a:custGeom>
              <a:avLst/>
              <a:gdLst>
                <a:gd name="connsiteX0" fmla="*/ 14559 w 16773"/>
                <a:gd name="connsiteY0" fmla="*/ 5714 h 16773"/>
                <a:gd name="connsiteX1" fmla="*/ 6176 w 16773"/>
                <a:gd name="connsiteY1" fmla="*/ -2669 h 16773"/>
                <a:gd name="connsiteX2" fmla="*/ -2214 w 16773"/>
                <a:gd name="connsiteY2" fmla="*/ 5714 h 16773"/>
                <a:gd name="connsiteX3" fmla="*/ 6176 w 16773"/>
                <a:gd name="connsiteY3" fmla="*/ 14104 h 16773"/>
                <a:gd name="connsiteX4" fmla="*/ 14559 w 16773"/>
                <a:gd name="connsiteY4" fmla="*/ 5714 h 16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73" h="16773">
                  <a:moveTo>
                    <a:pt x="14559" y="5714"/>
                  </a:moveTo>
                  <a:cubicBezTo>
                    <a:pt x="14559" y="1080"/>
                    <a:pt x="10802" y="-2669"/>
                    <a:pt x="6176" y="-2669"/>
                  </a:cubicBezTo>
                  <a:cubicBezTo>
                    <a:pt x="1542" y="-2669"/>
                    <a:pt x="-2214" y="1080"/>
                    <a:pt x="-2214" y="5714"/>
                  </a:cubicBezTo>
                  <a:cubicBezTo>
                    <a:pt x="-2214" y="10347"/>
                    <a:pt x="1542" y="14104"/>
                    <a:pt x="6176" y="14104"/>
                  </a:cubicBezTo>
                  <a:cubicBezTo>
                    <a:pt x="10802" y="14104"/>
                    <a:pt x="14559" y="10347"/>
                    <a:pt x="14559" y="5714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00CC9FAF-BAB6-2F34-1976-191CD787098E}"/>
                </a:ext>
              </a:extLst>
            </p:cNvPr>
            <p:cNvSpPr/>
            <p:nvPr/>
          </p:nvSpPr>
          <p:spPr>
            <a:xfrm flipV="1">
              <a:off x="8170723" y="2780765"/>
              <a:ext cx="20509" cy="20509"/>
            </a:xfrm>
            <a:custGeom>
              <a:avLst/>
              <a:gdLst>
                <a:gd name="connsiteX0" fmla="*/ 8047 w 20509"/>
                <a:gd name="connsiteY0" fmla="*/ 14111 h 20509"/>
                <a:gd name="connsiteX1" fmla="*/ 1522 w 20509"/>
                <a:gd name="connsiteY1" fmla="*/ 7585 h 20509"/>
                <a:gd name="connsiteX2" fmla="*/ 8047 w 20509"/>
                <a:gd name="connsiteY2" fmla="*/ 1067 h 20509"/>
                <a:gd name="connsiteX3" fmla="*/ 14566 w 20509"/>
                <a:gd name="connsiteY3" fmla="*/ 7585 h 20509"/>
                <a:gd name="connsiteX4" fmla="*/ 8047 w 20509"/>
                <a:gd name="connsiteY4" fmla="*/ 14111 h 20509"/>
                <a:gd name="connsiteX5" fmla="*/ 8047 w 20509"/>
                <a:gd name="connsiteY5" fmla="*/ -2669 h 20509"/>
                <a:gd name="connsiteX6" fmla="*/ -2214 w 20509"/>
                <a:gd name="connsiteY6" fmla="*/ 7585 h 20509"/>
                <a:gd name="connsiteX7" fmla="*/ 8047 w 20509"/>
                <a:gd name="connsiteY7" fmla="*/ 17840 h 20509"/>
                <a:gd name="connsiteX8" fmla="*/ 18295 w 20509"/>
                <a:gd name="connsiteY8" fmla="*/ 7585 h 20509"/>
                <a:gd name="connsiteX9" fmla="*/ 8047 w 20509"/>
                <a:gd name="connsiteY9" fmla="*/ -2669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8047" y="14111"/>
                  </a:moveTo>
                  <a:cubicBezTo>
                    <a:pt x="4443" y="14111"/>
                    <a:pt x="1522" y="11183"/>
                    <a:pt x="1522" y="7585"/>
                  </a:cubicBezTo>
                  <a:cubicBezTo>
                    <a:pt x="1522" y="3988"/>
                    <a:pt x="4443" y="1067"/>
                    <a:pt x="8047" y="1067"/>
                  </a:cubicBezTo>
                  <a:cubicBezTo>
                    <a:pt x="11645" y="1067"/>
                    <a:pt x="14566" y="3988"/>
                    <a:pt x="14566" y="7585"/>
                  </a:cubicBezTo>
                  <a:cubicBezTo>
                    <a:pt x="14566" y="11183"/>
                    <a:pt x="11645" y="14111"/>
                    <a:pt x="8047" y="14111"/>
                  </a:cubicBezTo>
                  <a:close/>
                  <a:moveTo>
                    <a:pt x="8047" y="-2669"/>
                  </a:moveTo>
                  <a:cubicBezTo>
                    <a:pt x="2392" y="-2669"/>
                    <a:pt x="-2214" y="1936"/>
                    <a:pt x="-2214" y="7585"/>
                  </a:cubicBezTo>
                  <a:cubicBezTo>
                    <a:pt x="-2214" y="13241"/>
                    <a:pt x="2392" y="17840"/>
                    <a:pt x="8047" y="17840"/>
                  </a:cubicBezTo>
                  <a:cubicBezTo>
                    <a:pt x="13696" y="17840"/>
                    <a:pt x="18295" y="13241"/>
                    <a:pt x="18295" y="7585"/>
                  </a:cubicBezTo>
                  <a:cubicBezTo>
                    <a:pt x="18295" y="1936"/>
                    <a:pt x="13696" y="-2669"/>
                    <a:pt x="8047" y="-2669"/>
                  </a:cubicBezTo>
                </a:path>
              </a:pathLst>
            </a:custGeom>
            <a:solidFill>
              <a:srgbClr val="273E47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C05E1E3-F2C9-D732-6179-5BE3F109FA56}"/>
                </a:ext>
              </a:extLst>
            </p:cNvPr>
            <p:cNvSpPr/>
            <p:nvPr/>
          </p:nvSpPr>
          <p:spPr>
            <a:xfrm flipV="1">
              <a:off x="7870736" y="2889982"/>
              <a:ext cx="16780" cy="16780"/>
            </a:xfrm>
            <a:custGeom>
              <a:avLst/>
              <a:gdLst>
                <a:gd name="connsiteX0" fmla="*/ 14945 w 16780"/>
                <a:gd name="connsiteY0" fmla="*/ 5897 h 16780"/>
                <a:gd name="connsiteX1" fmla="*/ 6555 w 16780"/>
                <a:gd name="connsiteY1" fmla="*/ -2493 h 16780"/>
                <a:gd name="connsiteX2" fmla="*/ -1835 w 16780"/>
                <a:gd name="connsiteY2" fmla="*/ 5897 h 16780"/>
                <a:gd name="connsiteX3" fmla="*/ 6555 w 16780"/>
                <a:gd name="connsiteY3" fmla="*/ 14287 h 16780"/>
                <a:gd name="connsiteX4" fmla="*/ 14945 w 16780"/>
                <a:gd name="connsiteY4" fmla="*/ 5897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4945" y="5897"/>
                  </a:moveTo>
                  <a:cubicBezTo>
                    <a:pt x="14945" y="1263"/>
                    <a:pt x="11188" y="-2493"/>
                    <a:pt x="6555" y="-2493"/>
                  </a:cubicBezTo>
                  <a:cubicBezTo>
                    <a:pt x="1921" y="-2493"/>
                    <a:pt x="-1835" y="1263"/>
                    <a:pt x="-1835" y="5897"/>
                  </a:cubicBezTo>
                  <a:cubicBezTo>
                    <a:pt x="-1835" y="10531"/>
                    <a:pt x="1921" y="14287"/>
                    <a:pt x="6555" y="14287"/>
                  </a:cubicBezTo>
                  <a:cubicBezTo>
                    <a:pt x="11188" y="14287"/>
                    <a:pt x="14945" y="10531"/>
                    <a:pt x="14945" y="5897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2017A5FC-4ED8-6717-2A16-7F4817EEDE01}"/>
                </a:ext>
              </a:extLst>
            </p:cNvPr>
            <p:cNvSpPr/>
            <p:nvPr/>
          </p:nvSpPr>
          <p:spPr>
            <a:xfrm flipV="1">
              <a:off x="7868871" y="2888117"/>
              <a:ext cx="20509" cy="20509"/>
            </a:xfrm>
            <a:custGeom>
              <a:avLst/>
              <a:gdLst>
                <a:gd name="connsiteX0" fmla="*/ 8419 w 20509"/>
                <a:gd name="connsiteY0" fmla="*/ 14287 h 20509"/>
                <a:gd name="connsiteX1" fmla="*/ 1894 w 20509"/>
                <a:gd name="connsiteY1" fmla="*/ 7761 h 20509"/>
                <a:gd name="connsiteX2" fmla="*/ 8419 w 20509"/>
                <a:gd name="connsiteY2" fmla="*/ 1236 h 20509"/>
                <a:gd name="connsiteX3" fmla="*/ 14945 w 20509"/>
                <a:gd name="connsiteY3" fmla="*/ 7761 h 20509"/>
                <a:gd name="connsiteX4" fmla="*/ 8419 w 20509"/>
                <a:gd name="connsiteY4" fmla="*/ 14287 h 20509"/>
                <a:gd name="connsiteX5" fmla="*/ 8419 w 20509"/>
                <a:gd name="connsiteY5" fmla="*/ -2493 h 20509"/>
                <a:gd name="connsiteX6" fmla="*/ -1835 w 20509"/>
                <a:gd name="connsiteY6" fmla="*/ 7761 h 20509"/>
                <a:gd name="connsiteX7" fmla="*/ 8419 w 20509"/>
                <a:gd name="connsiteY7" fmla="*/ 18016 h 20509"/>
                <a:gd name="connsiteX8" fmla="*/ 18674 w 20509"/>
                <a:gd name="connsiteY8" fmla="*/ 7761 h 20509"/>
                <a:gd name="connsiteX9" fmla="*/ 8419 w 20509"/>
                <a:gd name="connsiteY9" fmla="*/ -2493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8419" y="14287"/>
                  </a:moveTo>
                  <a:cubicBezTo>
                    <a:pt x="4822" y="14287"/>
                    <a:pt x="1894" y="11359"/>
                    <a:pt x="1894" y="7761"/>
                  </a:cubicBezTo>
                  <a:cubicBezTo>
                    <a:pt x="1894" y="4164"/>
                    <a:pt x="4822" y="1236"/>
                    <a:pt x="8419" y="1236"/>
                  </a:cubicBezTo>
                  <a:cubicBezTo>
                    <a:pt x="12017" y="1236"/>
                    <a:pt x="14945" y="4164"/>
                    <a:pt x="14945" y="7761"/>
                  </a:cubicBezTo>
                  <a:cubicBezTo>
                    <a:pt x="14945" y="11359"/>
                    <a:pt x="12017" y="14287"/>
                    <a:pt x="8419" y="14287"/>
                  </a:cubicBezTo>
                  <a:close/>
                  <a:moveTo>
                    <a:pt x="8419" y="-2493"/>
                  </a:moveTo>
                  <a:cubicBezTo>
                    <a:pt x="2764" y="-2493"/>
                    <a:pt x="-1835" y="2106"/>
                    <a:pt x="-1835" y="7761"/>
                  </a:cubicBezTo>
                  <a:cubicBezTo>
                    <a:pt x="-1835" y="13417"/>
                    <a:pt x="2764" y="18016"/>
                    <a:pt x="8419" y="18016"/>
                  </a:cubicBezTo>
                  <a:cubicBezTo>
                    <a:pt x="14075" y="18016"/>
                    <a:pt x="18674" y="13417"/>
                    <a:pt x="18674" y="7761"/>
                  </a:cubicBezTo>
                  <a:cubicBezTo>
                    <a:pt x="18674" y="2106"/>
                    <a:pt x="14075" y="-2493"/>
                    <a:pt x="8419" y="-2493"/>
                  </a:cubicBezTo>
                </a:path>
              </a:pathLst>
            </a:custGeom>
            <a:solidFill>
              <a:srgbClr val="273E47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7A6AE7EF-B4AD-67E7-D0DC-8C6A831520BE}"/>
                </a:ext>
              </a:extLst>
            </p:cNvPr>
            <p:cNvSpPr/>
            <p:nvPr/>
          </p:nvSpPr>
          <p:spPr>
            <a:xfrm flipV="1">
              <a:off x="8071975" y="2899622"/>
              <a:ext cx="16780" cy="16780"/>
            </a:xfrm>
            <a:custGeom>
              <a:avLst/>
              <a:gdLst>
                <a:gd name="connsiteX0" fmla="*/ 14692 w 16780"/>
                <a:gd name="connsiteY0" fmla="*/ 5913 h 16780"/>
                <a:gd name="connsiteX1" fmla="*/ 6302 w 16780"/>
                <a:gd name="connsiteY1" fmla="*/ -2477 h 16780"/>
                <a:gd name="connsiteX2" fmla="*/ -2088 w 16780"/>
                <a:gd name="connsiteY2" fmla="*/ 5913 h 16780"/>
                <a:gd name="connsiteX3" fmla="*/ 6302 w 16780"/>
                <a:gd name="connsiteY3" fmla="*/ 14303 h 16780"/>
                <a:gd name="connsiteX4" fmla="*/ 14692 w 16780"/>
                <a:gd name="connsiteY4" fmla="*/ 5913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4692" y="5913"/>
                  </a:moveTo>
                  <a:cubicBezTo>
                    <a:pt x="14692" y="1279"/>
                    <a:pt x="10936" y="-2477"/>
                    <a:pt x="6302" y="-2477"/>
                  </a:cubicBezTo>
                  <a:cubicBezTo>
                    <a:pt x="1669" y="-2477"/>
                    <a:pt x="-2088" y="1279"/>
                    <a:pt x="-2088" y="5913"/>
                  </a:cubicBezTo>
                  <a:cubicBezTo>
                    <a:pt x="-2088" y="10546"/>
                    <a:pt x="1669" y="14303"/>
                    <a:pt x="6302" y="14303"/>
                  </a:cubicBezTo>
                  <a:cubicBezTo>
                    <a:pt x="10936" y="14303"/>
                    <a:pt x="14692" y="10546"/>
                    <a:pt x="14692" y="5913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6028EAC2-ADB9-03BC-16BD-FC801DEAD8AB}"/>
                </a:ext>
              </a:extLst>
            </p:cNvPr>
            <p:cNvSpPr/>
            <p:nvPr/>
          </p:nvSpPr>
          <p:spPr>
            <a:xfrm flipV="1">
              <a:off x="8070110" y="2897757"/>
              <a:ext cx="20509" cy="20509"/>
            </a:xfrm>
            <a:custGeom>
              <a:avLst/>
              <a:gdLst>
                <a:gd name="connsiteX0" fmla="*/ 8167 w 20509"/>
                <a:gd name="connsiteY0" fmla="*/ 14303 h 20509"/>
                <a:gd name="connsiteX1" fmla="*/ 1641 w 20509"/>
                <a:gd name="connsiteY1" fmla="*/ 7770 h 20509"/>
                <a:gd name="connsiteX2" fmla="*/ 8167 w 20509"/>
                <a:gd name="connsiteY2" fmla="*/ 1251 h 20509"/>
                <a:gd name="connsiteX3" fmla="*/ 14692 w 20509"/>
                <a:gd name="connsiteY3" fmla="*/ 7770 h 20509"/>
                <a:gd name="connsiteX4" fmla="*/ 8167 w 20509"/>
                <a:gd name="connsiteY4" fmla="*/ 14303 h 20509"/>
                <a:gd name="connsiteX5" fmla="*/ 8167 w 20509"/>
                <a:gd name="connsiteY5" fmla="*/ -2477 h 20509"/>
                <a:gd name="connsiteX6" fmla="*/ -2088 w 20509"/>
                <a:gd name="connsiteY6" fmla="*/ 7770 h 20509"/>
                <a:gd name="connsiteX7" fmla="*/ 8167 w 20509"/>
                <a:gd name="connsiteY7" fmla="*/ 18032 h 20509"/>
                <a:gd name="connsiteX8" fmla="*/ 18421 w 20509"/>
                <a:gd name="connsiteY8" fmla="*/ 7770 h 20509"/>
                <a:gd name="connsiteX9" fmla="*/ 8167 w 20509"/>
                <a:gd name="connsiteY9" fmla="*/ -2477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8167" y="14303"/>
                  </a:moveTo>
                  <a:cubicBezTo>
                    <a:pt x="4562" y="14303"/>
                    <a:pt x="1641" y="11368"/>
                    <a:pt x="1641" y="7770"/>
                  </a:cubicBezTo>
                  <a:cubicBezTo>
                    <a:pt x="1641" y="4179"/>
                    <a:pt x="4562" y="1251"/>
                    <a:pt x="8167" y="1251"/>
                  </a:cubicBezTo>
                  <a:cubicBezTo>
                    <a:pt x="11764" y="1251"/>
                    <a:pt x="14692" y="4179"/>
                    <a:pt x="14692" y="7770"/>
                  </a:cubicBezTo>
                  <a:cubicBezTo>
                    <a:pt x="14692" y="11368"/>
                    <a:pt x="11764" y="14303"/>
                    <a:pt x="8167" y="14303"/>
                  </a:cubicBezTo>
                  <a:close/>
                  <a:moveTo>
                    <a:pt x="8167" y="-2477"/>
                  </a:moveTo>
                  <a:cubicBezTo>
                    <a:pt x="2511" y="-2477"/>
                    <a:pt x="-2088" y="2122"/>
                    <a:pt x="-2088" y="7770"/>
                  </a:cubicBezTo>
                  <a:cubicBezTo>
                    <a:pt x="-2088" y="13426"/>
                    <a:pt x="2511" y="18032"/>
                    <a:pt x="8167" y="18032"/>
                  </a:cubicBezTo>
                  <a:cubicBezTo>
                    <a:pt x="13822" y="18032"/>
                    <a:pt x="18421" y="13426"/>
                    <a:pt x="18421" y="7770"/>
                  </a:cubicBezTo>
                  <a:cubicBezTo>
                    <a:pt x="18421" y="2122"/>
                    <a:pt x="13822" y="-2477"/>
                    <a:pt x="8167" y="-2477"/>
                  </a:cubicBezTo>
                </a:path>
              </a:pathLst>
            </a:custGeom>
            <a:solidFill>
              <a:srgbClr val="273E47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1D7D194-A568-5144-3832-7B9DE08C352C}"/>
                </a:ext>
              </a:extLst>
            </p:cNvPr>
            <p:cNvSpPr/>
            <p:nvPr/>
          </p:nvSpPr>
          <p:spPr>
            <a:xfrm flipV="1">
              <a:off x="8373826" y="2807848"/>
              <a:ext cx="16780" cy="16780"/>
            </a:xfrm>
            <a:custGeom>
              <a:avLst/>
              <a:gdLst>
                <a:gd name="connsiteX0" fmla="*/ 14313 w 16780"/>
                <a:gd name="connsiteY0" fmla="*/ 5762 h 16780"/>
                <a:gd name="connsiteX1" fmla="*/ 5923 w 16780"/>
                <a:gd name="connsiteY1" fmla="*/ -2628 h 16780"/>
                <a:gd name="connsiteX2" fmla="*/ -2467 w 16780"/>
                <a:gd name="connsiteY2" fmla="*/ 5762 h 16780"/>
                <a:gd name="connsiteX3" fmla="*/ 5923 w 16780"/>
                <a:gd name="connsiteY3" fmla="*/ 14152 h 16780"/>
                <a:gd name="connsiteX4" fmla="*/ 14313 w 16780"/>
                <a:gd name="connsiteY4" fmla="*/ 5762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4313" y="5762"/>
                  </a:moveTo>
                  <a:cubicBezTo>
                    <a:pt x="14313" y="1129"/>
                    <a:pt x="10557" y="-2628"/>
                    <a:pt x="5923" y="-2628"/>
                  </a:cubicBezTo>
                  <a:cubicBezTo>
                    <a:pt x="1290" y="-2628"/>
                    <a:pt x="-2467" y="1129"/>
                    <a:pt x="-2467" y="5762"/>
                  </a:cubicBezTo>
                  <a:cubicBezTo>
                    <a:pt x="-2467" y="10396"/>
                    <a:pt x="1290" y="14152"/>
                    <a:pt x="5923" y="14152"/>
                  </a:cubicBezTo>
                  <a:cubicBezTo>
                    <a:pt x="10557" y="14152"/>
                    <a:pt x="14313" y="10396"/>
                    <a:pt x="14313" y="5762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2A23C44E-64FE-B30D-20C1-7E5D0F5A9526}"/>
                </a:ext>
              </a:extLst>
            </p:cNvPr>
            <p:cNvSpPr/>
            <p:nvPr/>
          </p:nvSpPr>
          <p:spPr>
            <a:xfrm flipV="1">
              <a:off x="8371961" y="2805984"/>
              <a:ext cx="20509" cy="20509"/>
            </a:xfrm>
            <a:custGeom>
              <a:avLst/>
              <a:gdLst>
                <a:gd name="connsiteX0" fmla="*/ 7795 w 20509"/>
                <a:gd name="connsiteY0" fmla="*/ 14152 h 20509"/>
                <a:gd name="connsiteX1" fmla="*/ 1262 w 20509"/>
                <a:gd name="connsiteY1" fmla="*/ 7627 h 20509"/>
                <a:gd name="connsiteX2" fmla="*/ 7795 w 20509"/>
                <a:gd name="connsiteY2" fmla="*/ 1101 h 20509"/>
                <a:gd name="connsiteX3" fmla="*/ 14313 w 20509"/>
                <a:gd name="connsiteY3" fmla="*/ 7627 h 20509"/>
                <a:gd name="connsiteX4" fmla="*/ 7795 w 20509"/>
                <a:gd name="connsiteY4" fmla="*/ 14152 h 20509"/>
                <a:gd name="connsiteX5" fmla="*/ 7795 w 20509"/>
                <a:gd name="connsiteY5" fmla="*/ -2628 h 20509"/>
                <a:gd name="connsiteX6" fmla="*/ -2467 w 20509"/>
                <a:gd name="connsiteY6" fmla="*/ 7627 h 20509"/>
                <a:gd name="connsiteX7" fmla="*/ 7795 w 20509"/>
                <a:gd name="connsiteY7" fmla="*/ 17881 h 20509"/>
                <a:gd name="connsiteX8" fmla="*/ 18042 w 20509"/>
                <a:gd name="connsiteY8" fmla="*/ 7627 h 20509"/>
                <a:gd name="connsiteX9" fmla="*/ 7795 w 20509"/>
                <a:gd name="connsiteY9" fmla="*/ -2628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7795" y="14152"/>
                  </a:moveTo>
                  <a:cubicBezTo>
                    <a:pt x="4190" y="14152"/>
                    <a:pt x="1262" y="11224"/>
                    <a:pt x="1262" y="7627"/>
                  </a:cubicBezTo>
                  <a:cubicBezTo>
                    <a:pt x="1262" y="4029"/>
                    <a:pt x="4190" y="1101"/>
                    <a:pt x="7795" y="1101"/>
                  </a:cubicBezTo>
                  <a:cubicBezTo>
                    <a:pt x="11392" y="1101"/>
                    <a:pt x="14313" y="4029"/>
                    <a:pt x="14313" y="7627"/>
                  </a:cubicBezTo>
                  <a:cubicBezTo>
                    <a:pt x="14313" y="11224"/>
                    <a:pt x="11392" y="14152"/>
                    <a:pt x="7795" y="14152"/>
                  </a:cubicBezTo>
                  <a:close/>
                  <a:moveTo>
                    <a:pt x="7795" y="-2628"/>
                  </a:moveTo>
                  <a:cubicBezTo>
                    <a:pt x="2139" y="-2628"/>
                    <a:pt x="-2467" y="1978"/>
                    <a:pt x="-2467" y="7627"/>
                  </a:cubicBezTo>
                  <a:cubicBezTo>
                    <a:pt x="-2467" y="13282"/>
                    <a:pt x="2139" y="17881"/>
                    <a:pt x="7795" y="17881"/>
                  </a:cubicBezTo>
                  <a:cubicBezTo>
                    <a:pt x="13443" y="17881"/>
                    <a:pt x="18042" y="13282"/>
                    <a:pt x="18042" y="7627"/>
                  </a:cubicBezTo>
                  <a:cubicBezTo>
                    <a:pt x="18042" y="1978"/>
                    <a:pt x="13443" y="-2628"/>
                    <a:pt x="7795" y="-2628"/>
                  </a:cubicBezTo>
                </a:path>
              </a:pathLst>
            </a:custGeom>
            <a:solidFill>
              <a:srgbClr val="273E47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1B6A45FF-50E2-1B00-084F-02A788AAB448}"/>
                </a:ext>
              </a:extLst>
            </p:cNvPr>
            <p:cNvSpPr/>
            <p:nvPr/>
          </p:nvSpPr>
          <p:spPr>
            <a:xfrm flipV="1">
              <a:off x="8474445" y="2812344"/>
              <a:ext cx="16780" cy="16780"/>
            </a:xfrm>
            <a:custGeom>
              <a:avLst/>
              <a:gdLst>
                <a:gd name="connsiteX0" fmla="*/ 14187 w 16780"/>
                <a:gd name="connsiteY0" fmla="*/ 5770 h 16780"/>
                <a:gd name="connsiteX1" fmla="*/ 5797 w 16780"/>
                <a:gd name="connsiteY1" fmla="*/ -2621 h 16780"/>
                <a:gd name="connsiteX2" fmla="*/ -2593 w 16780"/>
                <a:gd name="connsiteY2" fmla="*/ 5770 h 16780"/>
                <a:gd name="connsiteX3" fmla="*/ 5797 w 16780"/>
                <a:gd name="connsiteY3" fmla="*/ 14160 h 16780"/>
                <a:gd name="connsiteX4" fmla="*/ 14187 w 16780"/>
                <a:gd name="connsiteY4" fmla="*/ 5770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4187" y="5770"/>
                  </a:moveTo>
                  <a:cubicBezTo>
                    <a:pt x="14187" y="1136"/>
                    <a:pt x="10431" y="-2621"/>
                    <a:pt x="5797" y="-2621"/>
                  </a:cubicBezTo>
                  <a:cubicBezTo>
                    <a:pt x="1164" y="-2621"/>
                    <a:pt x="-2593" y="1136"/>
                    <a:pt x="-2593" y="5770"/>
                  </a:cubicBezTo>
                  <a:cubicBezTo>
                    <a:pt x="-2593" y="10403"/>
                    <a:pt x="1164" y="14160"/>
                    <a:pt x="5797" y="14160"/>
                  </a:cubicBezTo>
                  <a:cubicBezTo>
                    <a:pt x="10431" y="14160"/>
                    <a:pt x="14187" y="10403"/>
                    <a:pt x="14187" y="5770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E78C0CC7-1900-3553-B02D-CE03EF257F5C}"/>
                </a:ext>
              </a:extLst>
            </p:cNvPr>
            <p:cNvSpPr/>
            <p:nvPr/>
          </p:nvSpPr>
          <p:spPr>
            <a:xfrm flipV="1">
              <a:off x="8472581" y="2810479"/>
              <a:ext cx="20509" cy="20509"/>
            </a:xfrm>
            <a:custGeom>
              <a:avLst/>
              <a:gdLst>
                <a:gd name="connsiteX0" fmla="*/ 7662 w 20509"/>
                <a:gd name="connsiteY0" fmla="*/ 14160 h 20509"/>
                <a:gd name="connsiteX1" fmla="*/ 1143 w 20509"/>
                <a:gd name="connsiteY1" fmla="*/ 7634 h 20509"/>
                <a:gd name="connsiteX2" fmla="*/ 7662 w 20509"/>
                <a:gd name="connsiteY2" fmla="*/ 1108 h 20509"/>
                <a:gd name="connsiteX3" fmla="*/ 14187 w 20509"/>
                <a:gd name="connsiteY3" fmla="*/ 7634 h 20509"/>
                <a:gd name="connsiteX4" fmla="*/ 7662 w 20509"/>
                <a:gd name="connsiteY4" fmla="*/ 14160 h 20509"/>
                <a:gd name="connsiteX5" fmla="*/ 7662 w 20509"/>
                <a:gd name="connsiteY5" fmla="*/ -2621 h 20509"/>
                <a:gd name="connsiteX6" fmla="*/ -2593 w 20509"/>
                <a:gd name="connsiteY6" fmla="*/ 7634 h 20509"/>
                <a:gd name="connsiteX7" fmla="*/ 7662 w 20509"/>
                <a:gd name="connsiteY7" fmla="*/ 17889 h 20509"/>
                <a:gd name="connsiteX8" fmla="*/ 17916 w 20509"/>
                <a:gd name="connsiteY8" fmla="*/ 7634 h 20509"/>
                <a:gd name="connsiteX9" fmla="*/ 7662 w 20509"/>
                <a:gd name="connsiteY9" fmla="*/ -2621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7662" y="14160"/>
                  </a:moveTo>
                  <a:cubicBezTo>
                    <a:pt x="4064" y="14160"/>
                    <a:pt x="1143" y="11232"/>
                    <a:pt x="1143" y="7634"/>
                  </a:cubicBezTo>
                  <a:cubicBezTo>
                    <a:pt x="1143" y="4036"/>
                    <a:pt x="4064" y="1108"/>
                    <a:pt x="7662" y="1108"/>
                  </a:cubicBezTo>
                  <a:cubicBezTo>
                    <a:pt x="11259" y="1108"/>
                    <a:pt x="14187" y="4036"/>
                    <a:pt x="14187" y="7634"/>
                  </a:cubicBezTo>
                  <a:cubicBezTo>
                    <a:pt x="14187" y="11232"/>
                    <a:pt x="11259" y="14160"/>
                    <a:pt x="7662" y="14160"/>
                  </a:cubicBezTo>
                  <a:close/>
                  <a:moveTo>
                    <a:pt x="7662" y="-2621"/>
                  </a:moveTo>
                  <a:cubicBezTo>
                    <a:pt x="2013" y="-2621"/>
                    <a:pt x="-2593" y="1978"/>
                    <a:pt x="-2593" y="7634"/>
                  </a:cubicBezTo>
                  <a:cubicBezTo>
                    <a:pt x="-2593" y="13283"/>
                    <a:pt x="2013" y="17889"/>
                    <a:pt x="7662" y="17889"/>
                  </a:cubicBezTo>
                  <a:cubicBezTo>
                    <a:pt x="13317" y="17889"/>
                    <a:pt x="17916" y="13283"/>
                    <a:pt x="17916" y="7634"/>
                  </a:cubicBezTo>
                  <a:cubicBezTo>
                    <a:pt x="17916" y="1978"/>
                    <a:pt x="13317" y="-2621"/>
                    <a:pt x="7662" y="-2621"/>
                  </a:cubicBezTo>
                </a:path>
              </a:pathLst>
            </a:custGeom>
            <a:solidFill>
              <a:srgbClr val="273E47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322EA5A-B007-FB45-FD41-13EE495DE56F}"/>
                </a:ext>
              </a:extLst>
            </p:cNvPr>
            <p:cNvSpPr/>
            <p:nvPr/>
          </p:nvSpPr>
          <p:spPr>
            <a:xfrm flipV="1">
              <a:off x="8273206" y="2820734"/>
              <a:ext cx="16780" cy="16780"/>
            </a:xfrm>
            <a:custGeom>
              <a:avLst/>
              <a:gdLst>
                <a:gd name="connsiteX0" fmla="*/ 14440 w 16780"/>
                <a:gd name="connsiteY0" fmla="*/ 5783 h 16780"/>
                <a:gd name="connsiteX1" fmla="*/ 6049 w 16780"/>
                <a:gd name="connsiteY1" fmla="*/ -2607 h 16780"/>
                <a:gd name="connsiteX2" fmla="*/ -2341 w 16780"/>
                <a:gd name="connsiteY2" fmla="*/ 5783 h 16780"/>
                <a:gd name="connsiteX3" fmla="*/ 6049 w 16780"/>
                <a:gd name="connsiteY3" fmla="*/ 14173 h 16780"/>
                <a:gd name="connsiteX4" fmla="*/ 14440 w 16780"/>
                <a:gd name="connsiteY4" fmla="*/ 5783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80" h="16780">
                  <a:moveTo>
                    <a:pt x="14440" y="5783"/>
                  </a:moveTo>
                  <a:cubicBezTo>
                    <a:pt x="14440" y="1150"/>
                    <a:pt x="10683" y="-2607"/>
                    <a:pt x="6049" y="-2607"/>
                  </a:cubicBezTo>
                  <a:cubicBezTo>
                    <a:pt x="1416" y="-2607"/>
                    <a:pt x="-2341" y="1150"/>
                    <a:pt x="-2341" y="5783"/>
                  </a:cubicBezTo>
                  <a:cubicBezTo>
                    <a:pt x="-2341" y="10417"/>
                    <a:pt x="1416" y="14173"/>
                    <a:pt x="6049" y="14173"/>
                  </a:cubicBezTo>
                  <a:cubicBezTo>
                    <a:pt x="10683" y="14173"/>
                    <a:pt x="14440" y="10417"/>
                    <a:pt x="14440" y="5783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BF99A584-FB6B-1F4E-5659-FB8CFDCB3660}"/>
                </a:ext>
              </a:extLst>
            </p:cNvPr>
            <p:cNvSpPr/>
            <p:nvPr/>
          </p:nvSpPr>
          <p:spPr>
            <a:xfrm flipV="1">
              <a:off x="8271342" y="2818869"/>
              <a:ext cx="20509" cy="20509"/>
            </a:xfrm>
            <a:custGeom>
              <a:avLst/>
              <a:gdLst>
                <a:gd name="connsiteX0" fmla="*/ 7914 w 20509"/>
                <a:gd name="connsiteY0" fmla="*/ 14173 h 20509"/>
                <a:gd name="connsiteX1" fmla="*/ 1395 w 20509"/>
                <a:gd name="connsiteY1" fmla="*/ 7648 h 20509"/>
                <a:gd name="connsiteX2" fmla="*/ 7914 w 20509"/>
                <a:gd name="connsiteY2" fmla="*/ 1122 h 20509"/>
                <a:gd name="connsiteX3" fmla="*/ 14440 w 20509"/>
                <a:gd name="connsiteY3" fmla="*/ 7648 h 20509"/>
                <a:gd name="connsiteX4" fmla="*/ 7914 w 20509"/>
                <a:gd name="connsiteY4" fmla="*/ 14173 h 20509"/>
                <a:gd name="connsiteX5" fmla="*/ 7914 w 20509"/>
                <a:gd name="connsiteY5" fmla="*/ -2607 h 20509"/>
                <a:gd name="connsiteX6" fmla="*/ -2341 w 20509"/>
                <a:gd name="connsiteY6" fmla="*/ 7648 h 20509"/>
                <a:gd name="connsiteX7" fmla="*/ 7914 w 20509"/>
                <a:gd name="connsiteY7" fmla="*/ 17902 h 20509"/>
                <a:gd name="connsiteX8" fmla="*/ 18169 w 20509"/>
                <a:gd name="connsiteY8" fmla="*/ 7648 h 20509"/>
                <a:gd name="connsiteX9" fmla="*/ 7914 w 20509"/>
                <a:gd name="connsiteY9" fmla="*/ -2607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7914" y="14173"/>
                  </a:moveTo>
                  <a:cubicBezTo>
                    <a:pt x="4316" y="14173"/>
                    <a:pt x="1395" y="11246"/>
                    <a:pt x="1395" y="7648"/>
                  </a:cubicBezTo>
                  <a:cubicBezTo>
                    <a:pt x="1395" y="4050"/>
                    <a:pt x="4316" y="1122"/>
                    <a:pt x="7914" y="1122"/>
                  </a:cubicBezTo>
                  <a:cubicBezTo>
                    <a:pt x="11512" y="1122"/>
                    <a:pt x="14440" y="4050"/>
                    <a:pt x="14440" y="7648"/>
                  </a:cubicBezTo>
                  <a:cubicBezTo>
                    <a:pt x="14440" y="11246"/>
                    <a:pt x="11512" y="14173"/>
                    <a:pt x="7914" y="14173"/>
                  </a:cubicBezTo>
                  <a:close/>
                  <a:moveTo>
                    <a:pt x="7914" y="-2607"/>
                  </a:moveTo>
                  <a:cubicBezTo>
                    <a:pt x="2258" y="-2607"/>
                    <a:pt x="-2341" y="1992"/>
                    <a:pt x="-2341" y="7648"/>
                  </a:cubicBezTo>
                  <a:cubicBezTo>
                    <a:pt x="-2341" y="13303"/>
                    <a:pt x="2258" y="17902"/>
                    <a:pt x="7914" y="17902"/>
                  </a:cubicBezTo>
                  <a:cubicBezTo>
                    <a:pt x="13570" y="17902"/>
                    <a:pt x="18169" y="13303"/>
                    <a:pt x="18169" y="7648"/>
                  </a:cubicBezTo>
                  <a:cubicBezTo>
                    <a:pt x="18169" y="1992"/>
                    <a:pt x="13570" y="-2607"/>
                    <a:pt x="7914" y="-2607"/>
                  </a:cubicBezTo>
                </a:path>
              </a:pathLst>
            </a:custGeom>
            <a:solidFill>
              <a:srgbClr val="273E47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47F737A0-8A25-E23D-10BD-C4373E40AED6}"/>
                </a:ext>
              </a:extLst>
            </p:cNvPr>
            <p:cNvSpPr/>
            <p:nvPr/>
          </p:nvSpPr>
          <p:spPr>
            <a:xfrm flipV="1">
              <a:off x="7669504" y="2794652"/>
              <a:ext cx="16773" cy="16780"/>
            </a:xfrm>
            <a:custGeom>
              <a:avLst/>
              <a:gdLst>
                <a:gd name="connsiteX0" fmla="*/ 15190 w 16773"/>
                <a:gd name="connsiteY0" fmla="*/ 5740 h 16780"/>
                <a:gd name="connsiteX1" fmla="*/ 6807 w 16773"/>
                <a:gd name="connsiteY1" fmla="*/ -2650 h 16780"/>
                <a:gd name="connsiteX2" fmla="*/ -1583 w 16773"/>
                <a:gd name="connsiteY2" fmla="*/ 5740 h 16780"/>
                <a:gd name="connsiteX3" fmla="*/ 6807 w 16773"/>
                <a:gd name="connsiteY3" fmla="*/ 14131 h 16780"/>
                <a:gd name="connsiteX4" fmla="*/ 15190 w 16773"/>
                <a:gd name="connsiteY4" fmla="*/ 5740 h 1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73" h="16780">
                  <a:moveTo>
                    <a:pt x="15190" y="5740"/>
                  </a:moveTo>
                  <a:cubicBezTo>
                    <a:pt x="15190" y="1107"/>
                    <a:pt x="11434" y="-2650"/>
                    <a:pt x="6807" y="-2650"/>
                  </a:cubicBezTo>
                  <a:cubicBezTo>
                    <a:pt x="2174" y="-2650"/>
                    <a:pt x="-1583" y="1107"/>
                    <a:pt x="-1583" y="5740"/>
                  </a:cubicBezTo>
                  <a:cubicBezTo>
                    <a:pt x="-1583" y="10374"/>
                    <a:pt x="2174" y="14131"/>
                    <a:pt x="6807" y="14131"/>
                  </a:cubicBezTo>
                  <a:cubicBezTo>
                    <a:pt x="11434" y="14131"/>
                    <a:pt x="15190" y="10374"/>
                    <a:pt x="15190" y="5740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4F157F14-2574-C9ED-AB07-89FBF700028F}"/>
                </a:ext>
              </a:extLst>
            </p:cNvPr>
            <p:cNvSpPr/>
            <p:nvPr/>
          </p:nvSpPr>
          <p:spPr>
            <a:xfrm flipV="1">
              <a:off x="7667639" y="2792787"/>
              <a:ext cx="20509" cy="20509"/>
            </a:xfrm>
            <a:custGeom>
              <a:avLst/>
              <a:gdLst>
                <a:gd name="connsiteX0" fmla="*/ 8672 w 20509"/>
                <a:gd name="connsiteY0" fmla="*/ 14124 h 20509"/>
                <a:gd name="connsiteX1" fmla="*/ 2146 w 20509"/>
                <a:gd name="connsiteY1" fmla="*/ 7605 h 20509"/>
                <a:gd name="connsiteX2" fmla="*/ 8672 w 20509"/>
                <a:gd name="connsiteY2" fmla="*/ 1079 h 20509"/>
                <a:gd name="connsiteX3" fmla="*/ 15190 w 20509"/>
                <a:gd name="connsiteY3" fmla="*/ 7605 h 20509"/>
                <a:gd name="connsiteX4" fmla="*/ 8672 w 20509"/>
                <a:gd name="connsiteY4" fmla="*/ 14124 h 20509"/>
                <a:gd name="connsiteX5" fmla="*/ 8672 w 20509"/>
                <a:gd name="connsiteY5" fmla="*/ -2650 h 20509"/>
                <a:gd name="connsiteX6" fmla="*/ -1583 w 20509"/>
                <a:gd name="connsiteY6" fmla="*/ 7605 h 20509"/>
                <a:gd name="connsiteX7" fmla="*/ 8672 w 20509"/>
                <a:gd name="connsiteY7" fmla="*/ 17859 h 20509"/>
                <a:gd name="connsiteX8" fmla="*/ 18926 w 20509"/>
                <a:gd name="connsiteY8" fmla="*/ 7605 h 20509"/>
                <a:gd name="connsiteX9" fmla="*/ 8672 w 20509"/>
                <a:gd name="connsiteY9" fmla="*/ -2650 h 2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9" h="20509">
                  <a:moveTo>
                    <a:pt x="8672" y="14124"/>
                  </a:moveTo>
                  <a:cubicBezTo>
                    <a:pt x="5074" y="14124"/>
                    <a:pt x="2146" y="11203"/>
                    <a:pt x="2146" y="7605"/>
                  </a:cubicBezTo>
                  <a:cubicBezTo>
                    <a:pt x="2146" y="4007"/>
                    <a:pt x="5074" y="1079"/>
                    <a:pt x="8672" y="1079"/>
                  </a:cubicBezTo>
                  <a:cubicBezTo>
                    <a:pt x="12269" y="1079"/>
                    <a:pt x="15190" y="4007"/>
                    <a:pt x="15190" y="7605"/>
                  </a:cubicBezTo>
                  <a:cubicBezTo>
                    <a:pt x="15190" y="11203"/>
                    <a:pt x="12269" y="14124"/>
                    <a:pt x="8672" y="14124"/>
                  </a:cubicBezTo>
                  <a:close/>
                  <a:moveTo>
                    <a:pt x="8672" y="-2650"/>
                  </a:moveTo>
                  <a:cubicBezTo>
                    <a:pt x="3016" y="-2650"/>
                    <a:pt x="-1583" y="1949"/>
                    <a:pt x="-1583" y="7605"/>
                  </a:cubicBezTo>
                  <a:cubicBezTo>
                    <a:pt x="-1583" y="13261"/>
                    <a:pt x="3016" y="17859"/>
                    <a:pt x="8672" y="17859"/>
                  </a:cubicBezTo>
                  <a:cubicBezTo>
                    <a:pt x="14320" y="17859"/>
                    <a:pt x="18926" y="13261"/>
                    <a:pt x="18926" y="7605"/>
                  </a:cubicBezTo>
                  <a:cubicBezTo>
                    <a:pt x="18926" y="1949"/>
                    <a:pt x="14320" y="-2650"/>
                    <a:pt x="8672" y="-2650"/>
                  </a:cubicBezTo>
                </a:path>
              </a:pathLst>
            </a:custGeom>
            <a:solidFill>
              <a:srgbClr val="273E47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A6A210A4-D1E7-76B4-1C93-CB6FAC517906}"/>
                </a:ext>
              </a:extLst>
            </p:cNvPr>
            <p:cNvSpPr/>
            <p:nvPr/>
          </p:nvSpPr>
          <p:spPr>
            <a:xfrm flipV="1">
              <a:off x="7374938" y="2602218"/>
              <a:ext cx="1256634" cy="444738"/>
            </a:xfrm>
            <a:custGeom>
              <a:avLst/>
              <a:gdLst>
                <a:gd name="connsiteX0" fmla="*/ -893 w 1256634"/>
                <a:gd name="connsiteY0" fmla="*/ 442125 h 444738"/>
                <a:gd name="connsiteX1" fmla="*/ -196 w 1256634"/>
                <a:gd name="connsiteY1" fmla="*/ 143429 h 444738"/>
                <a:gd name="connsiteX2" fmla="*/ 198 w 1256634"/>
                <a:gd name="connsiteY2" fmla="*/ -770 h 444738"/>
                <a:gd name="connsiteX3" fmla="*/ -893 w 1256634"/>
                <a:gd name="connsiteY3" fmla="*/ 327 h 444738"/>
                <a:gd name="connsiteX4" fmla="*/ 312994 w 1256634"/>
                <a:gd name="connsiteY4" fmla="*/ 831 h 444738"/>
                <a:gd name="connsiteX5" fmla="*/ 469935 w 1256634"/>
                <a:gd name="connsiteY5" fmla="*/ 1087 h 444738"/>
                <a:gd name="connsiteX6" fmla="*/ 626875 w 1256634"/>
                <a:gd name="connsiteY6" fmla="*/ 859 h 444738"/>
                <a:gd name="connsiteX7" fmla="*/ 940755 w 1256634"/>
                <a:gd name="connsiteY7" fmla="*/ 355 h 444738"/>
                <a:gd name="connsiteX8" fmla="*/ 1254643 w 1256634"/>
                <a:gd name="connsiteY8" fmla="*/ -770 h 444738"/>
                <a:gd name="connsiteX9" fmla="*/ 940755 w 1256634"/>
                <a:gd name="connsiteY9" fmla="*/ -1889 h 444738"/>
                <a:gd name="connsiteX10" fmla="*/ 626875 w 1256634"/>
                <a:gd name="connsiteY10" fmla="*/ -2393 h 444738"/>
                <a:gd name="connsiteX11" fmla="*/ 469935 w 1256634"/>
                <a:gd name="connsiteY11" fmla="*/ -2614 h 444738"/>
                <a:gd name="connsiteX12" fmla="*/ 312994 w 1256634"/>
                <a:gd name="connsiteY12" fmla="*/ -2359 h 444738"/>
                <a:gd name="connsiteX13" fmla="*/ -893 w 1256634"/>
                <a:gd name="connsiteY13" fmla="*/ -1862 h 444738"/>
                <a:gd name="connsiteX14" fmla="*/ -1991 w 1256634"/>
                <a:gd name="connsiteY14" fmla="*/ -1855 h 444738"/>
                <a:gd name="connsiteX15" fmla="*/ -1984 w 1256634"/>
                <a:gd name="connsiteY15" fmla="*/ -770 h 444738"/>
                <a:gd name="connsiteX16" fmla="*/ -1591 w 1256634"/>
                <a:gd name="connsiteY16" fmla="*/ 143429 h 444738"/>
                <a:gd name="connsiteX17" fmla="*/ -893 w 1256634"/>
                <a:gd name="connsiteY17" fmla="*/ 442125 h 444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56634" h="444738">
                  <a:moveTo>
                    <a:pt x="-893" y="442125"/>
                  </a:moveTo>
                  <a:lnTo>
                    <a:pt x="-196" y="143429"/>
                  </a:lnTo>
                  <a:lnTo>
                    <a:pt x="198" y="-770"/>
                  </a:lnTo>
                  <a:lnTo>
                    <a:pt x="-893" y="327"/>
                  </a:lnTo>
                  <a:lnTo>
                    <a:pt x="312994" y="831"/>
                  </a:lnTo>
                  <a:lnTo>
                    <a:pt x="469935" y="1087"/>
                  </a:lnTo>
                  <a:lnTo>
                    <a:pt x="626875" y="859"/>
                  </a:lnTo>
                  <a:lnTo>
                    <a:pt x="940755" y="355"/>
                  </a:lnTo>
                  <a:cubicBezTo>
                    <a:pt x="1045387" y="320"/>
                    <a:pt x="1150012" y="-280"/>
                    <a:pt x="1254643" y="-770"/>
                  </a:cubicBezTo>
                  <a:cubicBezTo>
                    <a:pt x="1150012" y="-1254"/>
                    <a:pt x="1045387" y="-1855"/>
                    <a:pt x="940755" y="-1889"/>
                  </a:cubicBezTo>
                  <a:lnTo>
                    <a:pt x="626875" y="-2393"/>
                  </a:lnTo>
                  <a:lnTo>
                    <a:pt x="469935" y="-2614"/>
                  </a:lnTo>
                  <a:lnTo>
                    <a:pt x="312994" y="-2359"/>
                  </a:lnTo>
                  <a:lnTo>
                    <a:pt x="-893" y="-1862"/>
                  </a:lnTo>
                  <a:lnTo>
                    <a:pt x="-1991" y="-1855"/>
                  </a:lnTo>
                  <a:lnTo>
                    <a:pt x="-1984" y="-770"/>
                  </a:lnTo>
                  <a:lnTo>
                    <a:pt x="-1591" y="143429"/>
                  </a:lnTo>
                  <a:lnTo>
                    <a:pt x="-893" y="442125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659032DE-DEA9-3FCB-B36A-643B2BF10EF0}"/>
                </a:ext>
              </a:extLst>
            </p:cNvPr>
            <p:cNvSpPr/>
            <p:nvPr/>
          </p:nvSpPr>
          <p:spPr>
            <a:xfrm flipV="1">
              <a:off x="7366762" y="2769730"/>
              <a:ext cx="18548" cy="3728"/>
            </a:xfrm>
            <a:custGeom>
              <a:avLst/>
              <a:gdLst>
                <a:gd name="connsiteX0" fmla="*/ -1204 w 18548"/>
                <a:gd name="connsiteY0" fmla="*/ -837 h 3728"/>
                <a:gd name="connsiteX1" fmla="*/ 8070 w 18548"/>
                <a:gd name="connsiteY1" fmla="*/ 1028 h 3728"/>
                <a:gd name="connsiteX2" fmla="*/ 17344 w 18548"/>
                <a:gd name="connsiteY2" fmla="*/ -837 h 3728"/>
                <a:gd name="connsiteX3" fmla="*/ 8070 w 18548"/>
                <a:gd name="connsiteY3" fmla="*/ -2701 h 3728"/>
                <a:gd name="connsiteX4" fmla="*/ -1204 w 18548"/>
                <a:gd name="connsiteY4" fmla="*/ -837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8" h="3728">
                  <a:moveTo>
                    <a:pt x="-1204" y="-837"/>
                  </a:moveTo>
                  <a:cubicBezTo>
                    <a:pt x="1890" y="634"/>
                    <a:pt x="4976" y="966"/>
                    <a:pt x="8070" y="1028"/>
                  </a:cubicBezTo>
                  <a:cubicBezTo>
                    <a:pt x="11164" y="972"/>
                    <a:pt x="14257" y="641"/>
                    <a:pt x="17344" y="-837"/>
                  </a:cubicBezTo>
                  <a:cubicBezTo>
                    <a:pt x="14257" y="-2315"/>
                    <a:pt x="11164" y="-2646"/>
                    <a:pt x="8070" y="-2701"/>
                  </a:cubicBezTo>
                  <a:cubicBezTo>
                    <a:pt x="4976" y="-2639"/>
                    <a:pt x="1890" y="-2308"/>
                    <a:pt x="-1204" y="-837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5A0A5AE6-6237-2712-3487-0A1481DCA892}"/>
                </a:ext>
              </a:extLst>
            </p:cNvPr>
            <p:cNvSpPr/>
            <p:nvPr/>
          </p:nvSpPr>
          <p:spPr>
            <a:xfrm flipV="1">
              <a:off x="7366762" y="2839821"/>
              <a:ext cx="18548" cy="3728"/>
            </a:xfrm>
            <a:custGeom>
              <a:avLst/>
              <a:gdLst>
                <a:gd name="connsiteX0" fmla="*/ -1204 w 18548"/>
                <a:gd name="connsiteY0" fmla="*/ -722 h 3728"/>
                <a:gd name="connsiteX1" fmla="*/ 8070 w 18548"/>
                <a:gd name="connsiteY1" fmla="*/ 1143 h 3728"/>
                <a:gd name="connsiteX2" fmla="*/ 17344 w 18548"/>
                <a:gd name="connsiteY2" fmla="*/ -722 h 3728"/>
                <a:gd name="connsiteX3" fmla="*/ 8070 w 18548"/>
                <a:gd name="connsiteY3" fmla="*/ -2586 h 3728"/>
                <a:gd name="connsiteX4" fmla="*/ -1204 w 18548"/>
                <a:gd name="connsiteY4" fmla="*/ -722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8" h="3728">
                  <a:moveTo>
                    <a:pt x="-1204" y="-722"/>
                  </a:moveTo>
                  <a:cubicBezTo>
                    <a:pt x="1890" y="749"/>
                    <a:pt x="4976" y="1081"/>
                    <a:pt x="8070" y="1143"/>
                  </a:cubicBezTo>
                  <a:cubicBezTo>
                    <a:pt x="11164" y="1087"/>
                    <a:pt x="14257" y="756"/>
                    <a:pt x="17344" y="-722"/>
                  </a:cubicBezTo>
                  <a:cubicBezTo>
                    <a:pt x="14257" y="-2200"/>
                    <a:pt x="11164" y="-2531"/>
                    <a:pt x="8070" y="-2586"/>
                  </a:cubicBezTo>
                  <a:cubicBezTo>
                    <a:pt x="4976" y="-2524"/>
                    <a:pt x="1890" y="-2193"/>
                    <a:pt x="-1204" y="-72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0BD9A4A1-2597-2577-8D96-C3CDEB3C6E52}"/>
                </a:ext>
              </a:extLst>
            </p:cNvPr>
            <p:cNvSpPr/>
            <p:nvPr/>
          </p:nvSpPr>
          <p:spPr>
            <a:xfrm flipV="1">
              <a:off x="7366762" y="2699640"/>
              <a:ext cx="18548" cy="3728"/>
            </a:xfrm>
            <a:custGeom>
              <a:avLst/>
              <a:gdLst>
                <a:gd name="connsiteX0" fmla="*/ -1204 w 18548"/>
                <a:gd name="connsiteY0" fmla="*/ -952 h 3728"/>
                <a:gd name="connsiteX1" fmla="*/ 8070 w 18548"/>
                <a:gd name="connsiteY1" fmla="*/ 913 h 3728"/>
                <a:gd name="connsiteX2" fmla="*/ 17344 w 18548"/>
                <a:gd name="connsiteY2" fmla="*/ -952 h 3728"/>
                <a:gd name="connsiteX3" fmla="*/ 8070 w 18548"/>
                <a:gd name="connsiteY3" fmla="*/ -2816 h 3728"/>
                <a:gd name="connsiteX4" fmla="*/ -1204 w 18548"/>
                <a:gd name="connsiteY4" fmla="*/ -952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8" h="3728">
                  <a:moveTo>
                    <a:pt x="-1204" y="-952"/>
                  </a:moveTo>
                  <a:cubicBezTo>
                    <a:pt x="1890" y="519"/>
                    <a:pt x="4976" y="851"/>
                    <a:pt x="8070" y="913"/>
                  </a:cubicBezTo>
                  <a:cubicBezTo>
                    <a:pt x="11164" y="857"/>
                    <a:pt x="14257" y="526"/>
                    <a:pt x="17344" y="-952"/>
                  </a:cubicBezTo>
                  <a:cubicBezTo>
                    <a:pt x="14257" y="-2436"/>
                    <a:pt x="11164" y="-2761"/>
                    <a:pt x="8070" y="-2816"/>
                  </a:cubicBezTo>
                  <a:cubicBezTo>
                    <a:pt x="4976" y="-2754"/>
                    <a:pt x="1890" y="-2430"/>
                    <a:pt x="-1204" y="-95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082810C2-C4F7-AD0D-297C-0581E52220E6}"/>
                </a:ext>
              </a:extLst>
            </p:cNvPr>
            <p:cNvSpPr/>
            <p:nvPr/>
          </p:nvSpPr>
          <p:spPr>
            <a:xfrm flipV="1">
              <a:off x="7366762" y="2629556"/>
              <a:ext cx="18548" cy="3728"/>
            </a:xfrm>
            <a:custGeom>
              <a:avLst/>
              <a:gdLst>
                <a:gd name="connsiteX0" fmla="*/ -1204 w 18548"/>
                <a:gd name="connsiteY0" fmla="*/ -1067 h 3728"/>
                <a:gd name="connsiteX1" fmla="*/ 8070 w 18548"/>
                <a:gd name="connsiteY1" fmla="*/ 798 h 3728"/>
                <a:gd name="connsiteX2" fmla="*/ 17344 w 18548"/>
                <a:gd name="connsiteY2" fmla="*/ -1067 h 3728"/>
                <a:gd name="connsiteX3" fmla="*/ 8070 w 18548"/>
                <a:gd name="connsiteY3" fmla="*/ -2931 h 3728"/>
                <a:gd name="connsiteX4" fmla="*/ -1204 w 18548"/>
                <a:gd name="connsiteY4" fmla="*/ -1067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8" h="3728">
                  <a:moveTo>
                    <a:pt x="-1204" y="-1067"/>
                  </a:moveTo>
                  <a:cubicBezTo>
                    <a:pt x="1890" y="411"/>
                    <a:pt x="4976" y="735"/>
                    <a:pt x="8070" y="798"/>
                  </a:cubicBezTo>
                  <a:cubicBezTo>
                    <a:pt x="11164" y="742"/>
                    <a:pt x="14257" y="418"/>
                    <a:pt x="17344" y="-1067"/>
                  </a:cubicBezTo>
                  <a:cubicBezTo>
                    <a:pt x="14257" y="-2545"/>
                    <a:pt x="11164" y="-2876"/>
                    <a:pt x="8070" y="-2931"/>
                  </a:cubicBezTo>
                  <a:cubicBezTo>
                    <a:pt x="4976" y="-2869"/>
                    <a:pt x="1890" y="-2538"/>
                    <a:pt x="-1204" y="-1067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3B22EA56-E80B-37E2-6346-46886D3965EB}"/>
                </a:ext>
              </a:extLst>
            </p:cNvPr>
            <p:cNvSpPr/>
            <p:nvPr/>
          </p:nvSpPr>
          <p:spPr>
            <a:xfrm flipV="1">
              <a:off x="7366762" y="2909904"/>
              <a:ext cx="18548" cy="3728"/>
            </a:xfrm>
            <a:custGeom>
              <a:avLst/>
              <a:gdLst>
                <a:gd name="connsiteX0" fmla="*/ -1204 w 18548"/>
                <a:gd name="connsiteY0" fmla="*/ -607 h 3728"/>
                <a:gd name="connsiteX1" fmla="*/ 8070 w 18548"/>
                <a:gd name="connsiteY1" fmla="*/ 1258 h 3728"/>
                <a:gd name="connsiteX2" fmla="*/ 17344 w 18548"/>
                <a:gd name="connsiteY2" fmla="*/ -607 h 3728"/>
                <a:gd name="connsiteX3" fmla="*/ 8070 w 18548"/>
                <a:gd name="connsiteY3" fmla="*/ -2471 h 3728"/>
                <a:gd name="connsiteX4" fmla="*/ -1204 w 18548"/>
                <a:gd name="connsiteY4" fmla="*/ -607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8" h="3728">
                  <a:moveTo>
                    <a:pt x="-1204" y="-607"/>
                  </a:moveTo>
                  <a:cubicBezTo>
                    <a:pt x="1890" y="857"/>
                    <a:pt x="4976" y="1189"/>
                    <a:pt x="8070" y="1258"/>
                  </a:cubicBezTo>
                  <a:cubicBezTo>
                    <a:pt x="11164" y="1203"/>
                    <a:pt x="14257" y="871"/>
                    <a:pt x="17344" y="-607"/>
                  </a:cubicBezTo>
                  <a:cubicBezTo>
                    <a:pt x="14257" y="-2084"/>
                    <a:pt x="11164" y="-2423"/>
                    <a:pt x="8070" y="-2471"/>
                  </a:cubicBezTo>
                  <a:cubicBezTo>
                    <a:pt x="4976" y="-2409"/>
                    <a:pt x="1890" y="-2078"/>
                    <a:pt x="-1204" y="-607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AD2D9940-8C17-B61B-C86B-8B68DE9BF28E}"/>
                </a:ext>
              </a:extLst>
            </p:cNvPr>
            <p:cNvSpPr/>
            <p:nvPr/>
          </p:nvSpPr>
          <p:spPr>
            <a:xfrm flipV="1">
              <a:off x="7366762" y="2979994"/>
              <a:ext cx="18548" cy="3728"/>
            </a:xfrm>
            <a:custGeom>
              <a:avLst/>
              <a:gdLst>
                <a:gd name="connsiteX0" fmla="*/ -1204 w 18548"/>
                <a:gd name="connsiteY0" fmla="*/ -492 h 3728"/>
                <a:gd name="connsiteX1" fmla="*/ 8070 w 18548"/>
                <a:gd name="connsiteY1" fmla="*/ 1373 h 3728"/>
                <a:gd name="connsiteX2" fmla="*/ 17344 w 18548"/>
                <a:gd name="connsiteY2" fmla="*/ -492 h 3728"/>
                <a:gd name="connsiteX3" fmla="*/ 8070 w 18548"/>
                <a:gd name="connsiteY3" fmla="*/ -2356 h 3728"/>
                <a:gd name="connsiteX4" fmla="*/ -1204 w 18548"/>
                <a:gd name="connsiteY4" fmla="*/ -492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8" h="3728">
                  <a:moveTo>
                    <a:pt x="-1204" y="-492"/>
                  </a:moveTo>
                  <a:cubicBezTo>
                    <a:pt x="1890" y="979"/>
                    <a:pt x="4976" y="1311"/>
                    <a:pt x="8070" y="1373"/>
                  </a:cubicBezTo>
                  <a:cubicBezTo>
                    <a:pt x="11164" y="1318"/>
                    <a:pt x="14257" y="986"/>
                    <a:pt x="17344" y="-492"/>
                  </a:cubicBezTo>
                  <a:cubicBezTo>
                    <a:pt x="14257" y="-1969"/>
                    <a:pt x="11164" y="-2301"/>
                    <a:pt x="8070" y="-2356"/>
                  </a:cubicBezTo>
                  <a:cubicBezTo>
                    <a:pt x="4976" y="-2294"/>
                    <a:pt x="1890" y="-1963"/>
                    <a:pt x="-1204" y="-49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FAA66618-74ED-5EC8-FC21-1EB3A598DE13}"/>
                </a:ext>
              </a:extLst>
            </p:cNvPr>
            <p:cNvSpPr/>
            <p:nvPr/>
          </p:nvSpPr>
          <p:spPr>
            <a:xfrm flipV="1">
              <a:off x="7451713" y="3069178"/>
              <a:ext cx="5192" cy="7851"/>
            </a:xfrm>
            <a:custGeom>
              <a:avLst/>
              <a:gdLst>
                <a:gd name="connsiteX0" fmla="*/ -1123 w 5192"/>
                <a:gd name="connsiteY0" fmla="*/ -17 h 7851"/>
                <a:gd name="connsiteX1" fmla="*/ -791 w 5192"/>
                <a:gd name="connsiteY1" fmla="*/ -183 h 7851"/>
                <a:gd name="connsiteX2" fmla="*/ 1225 w 5192"/>
                <a:gd name="connsiteY2" fmla="*/ -1654 h 7851"/>
                <a:gd name="connsiteX3" fmla="*/ 3345 w 5192"/>
                <a:gd name="connsiteY3" fmla="*/ 459 h 7851"/>
                <a:gd name="connsiteX4" fmla="*/ 3345 w 5192"/>
                <a:gd name="connsiteY4" fmla="*/ 5383 h 7851"/>
                <a:gd name="connsiteX5" fmla="*/ 3621 w 5192"/>
                <a:gd name="connsiteY5" fmla="*/ 5645 h 7851"/>
                <a:gd name="connsiteX6" fmla="*/ 3891 w 5192"/>
                <a:gd name="connsiteY6" fmla="*/ 5383 h 7851"/>
                <a:gd name="connsiteX7" fmla="*/ 3891 w 5192"/>
                <a:gd name="connsiteY7" fmla="*/ 459 h 7851"/>
                <a:gd name="connsiteX8" fmla="*/ 1225 w 5192"/>
                <a:gd name="connsiteY8" fmla="*/ -2206 h 7851"/>
                <a:gd name="connsiteX9" fmla="*/ -1302 w 5192"/>
                <a:gd name="connsiteY9" fmla="*/ -363 h 7851"/>
                <a:gd name="connsiteX10" fmla="*/ -1123 w 5192"/>
                <a:gd name="connsiteY10" fmla="*/ -17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92" h="7851">
                  <a:moveTo>
                    <a:pt x="-1123" y="-17"/>
                  </a:moveTo>
                  <a:lnTo>
                    <a:pt x="-791" y="-183"/>
                  </a:lnTo>
                  <a:cubicBezTo>
                    <a:pt x="-508" y="-1046"/>
                    <a:pt x="286" y="-1661"/>
                    <a:pt x="1225" y="-1654"/>
                  </a:cubicBezTo>
                  <a:cubicBezTo>
                    <a:pt x="2399" y="-1654"/>
                    <a:pt x="3345" y="-708"/>
                    <a:pt x="3345" y="459"/>
                  </a:cubicBezTo>
                  <a:lnTo>
                    <a:pt x="3345" y="5383"/>
                  </a:lnTo>
                  <a:lnTo>
                    <a:pt x="3621" y="5645"/>
                  </a:lnTo>
                  <a:lnTo>
                    <a:pt x="3891" y="5383"/>
                  </a:lnTo>
                  <a:lnTo>
                    <a:pt x="3891" y="459"/>
                  </a:lnTo>
                  <a:cubicBezTo>
                    <a:pt x="3891" y="-1025"/>
                    <a:pt x="2696" y="-2206"/>
                    <a:pt x="1225" y="-2206"/>
                  </a:cubicBezTo>
                  <a:cubicBezTo>
                    <a:pt x="51" y="-2206"/>
                    <a:pt x="-971" y="-1426"/>
                    <a:pt x="-1302" y="-363"/>
                  </a:cubicBezTo>
                  <a:lnTo>
                    <a:pt x="-1123" y="-17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07676E9D-A967-2BDF-FAE6-BEA6175DC1FB}"/>
                </a:ext>
              </a:extLst>
            </p:cNvPr>
            <p:cNvSpPr/>
            <p:nvPr/>
          </p:nvSpPr>
          <p:spPr>
            <a:xfrm flipV="1">
              <a:off x="7458231" y="3069213"/>
              <a:ext cx="5993" cy="7817"/>
            </a:xfrm>
            <a:custGeom>
              <a:avLst/>
              <a:gdLst>
                <a:gd name="connsiteX0" fmla="*/ 105 w 5993"/>
                <a:gd name="connsiteY0" fmla="*/ 376 h 7817"/>
                <a:gd name="connsiteX1" fmla="*/ 3281 w 5993"/>
                <a:gd name="connsiteY1" fmla="*/ 376 h 7817"/>
                <a:gd name="connsiteX2" fmla="*/ 1700 w 5993"/>
                <a:gd name="connsiteY2" fmla="*/ 4596 h 7817"/>
                <a:gd name="connsiteX3" fmla="*/ 3481 w 5993"/>
                <a:gd name="connsiteY3" fmla="*/ -176 h 7817"/>
                <a:gd name="connsiteX4" fmla="*/ -96 w 5993"/>
                <a:gd name="connsiteY4" fmla="*/ -176 h 7817"/>
                <a:gd name="connsiteX5" fmla="*/ -793 w 5993"/>
                <a:gd name="connsiteY5" fmla="*/ -2020 h 7817"/>
                <a:gd name="connsiteX6" fmla="*/ -1049 w 5993"/>
                <a:gd name="connsiteY6" fmla="*/ -2206 h 7817"/>
                <a:gd name="connsiteX7" fmla="*/ -1152 w 5993"/>
                <a:gd name="connsiteY7" fmla="*/ -2193 h 7817"/>
                <a:gd name="connsiteX8" fmla="*/ -1311 w 5993"/>
                <a:gd name="connsiteY8" fmla="*/ -1834 h 7817"/>
                <a:gd name="connsiteX9" fmla="*/ 1417 w 5993"/>
                <a:gd name="connsiteY9" fmla="*/ 5445 h 7817"/>
                <a:gd name="connsiteX10" fmla="*/ 1686 w 5993"/>
                <a:gd name="connsiteY10" fmla="*/ 5611 h 7817"/>
                <a:gd name="connsiteX11" fmla="*/ 1955 w 5993"/>
                <a:gd name="connsiteY11" fmla="*/ 5445 h 7817"/>
                <a:gd name="connsiteX12" fmla="*/ 4683 w 5993"/>
                <a:gd name="connsiteY12" fmla="*/ -1834 h 7817"/>
                <a:gd name="connsiteX13" fmla="*/ 4538 w 5993"/>
                <a:gd name="connsiteY13" fmla="*/ -2193 h 7817"/>
                <a:gd name="connsiteX14" fmla="*/ 4434 w 5993"/>
                <a:gd name="connsiteY14" fmla="*/ -2206 h 7817"/>
                <a:gd name="connsiteX15" fmla="*/ 4179 w 5993"/>
                <a:gd name="connsiteY15" fmla="*/ -2020 h 7817"/>
                <a:gd name="connsiteX16" fmla="*/ 3481 w 5993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93" h="7817">
                  <a:moveTo>
                    <a:pt x="105" y="376"/>
                  </a:moveTo>
                  <a:lnTo>
                    <a:pt x="3281" y="376"/>
                  </a:lnTo>
                  <a:lnTo>
                    <a:pt x="1700" y="4596"/>
                  </a:lnTo>
                  <a:close/>
                  <a:moveTo>
                    <a:pt x="3481" y="-176"/>
                  </a:moveTo>
                  <a:lnTo>
                    <a:pt x="-96" y="-176"/>
                  </a:lnTo>
                  <a:lnTo>
                    <a:pt x="-793" y="-2020"/>
                  </a:lnTo>
                  <a:lnTo>
                    <a:pt x="-1049" y="-2206"/>
                  </a:lnTo>
                  <a:lnTo>
                    <a:pt x="-1152" y="-2193"/>
                  </a:lnTo>
                  <a:lnTo>
                    <a:pt x="-1311" y="-1834"/>
                  </a:lnTo>
                  <a:lnTo>
                    <a:pt x="1417" y="5445"/>
                  </a:lnTo>
                  <a:lnTo>
                    <a:pt x="1686" y="5611"/>
                  </a:lnTo>
                  <a:lnTo>
                    <a:pt x="1955" y="5445"/>
                  </a:lnTo>
                  <a:lnTo>
                    <a:pt x="4683" y="-1834"/>
                  </a:lnTo>
                  <a:lnTo>
                    <a:pt x="4538" y="-2193"/>
                  </a:lnTo>
                  <a:lnTo>
                    <a:pt x="4434" y="-2206"/>
                  </a:lnTo>
                  <a:lnTo>
                    <a:pt x="4179" y="-2020"/>
                  </a:lnTo>
                  <a:lnTo>
                    <a:pt x="3481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AF980054-2887-3839-1FF4-7AD60410C6FE}"/>
                </a:ext>
              </a:extLst>
            </p:cNvPr>
            <p:cNvSpPr/>
            <p:nvPr/>
          </p:nvSpPr>
          <p:spPr>
            <a:xfrm flipV="1">
              <a:off x="7465993" y="3069254"/>
              <a:ext cx="5779" cy="7775"/>
            </a:xfrm>
            <a:custGeom>
              <a:avLst/>
              <a:gdLst>
                <a:gd name="connsiteX0" fmla="*/ -782 w 5779"/>
                <a:gd name="connsiteY0" fmla="*/ 4492 h 7775"/>
                <a:gd name="connsiteX1" fmla="*/ -782 w 5779"/>
                <a:gd name="connsiteY1" fmla="*/ -1937 h 7775"/>
                <a:gd name="connsiteX2" fmla="*/ -1051 w 5779"/>
                <a:gd name="connsiteY2" fmla="*/ -2206 h 7775"/>
                <a:gd name="connsiteX3" fmla="*/ -1321 w 5779"/>
                <a:gd name="connsiteY3" fmla="*/ -1937 h 7775"/>
                <a:gd name="connsiteX4" fmla="*/ -1321 w 5779"/>
                <a:gd name="connsiteY4" fmla="*/ 5265 h 7775"/>
                <a:gd name="connsiteX5" fmla="*/ -1224 w 5779"/>
                <a:gd name="connsiteY5" fmla="*/ 5569 h 7775"/>
                <a:gd name="connsiteX6" fmla="*/ -844 w 5779"/>
                <a:gd name="connsiteY6" fmla="*/ 5500 h 7775"/>
                <a:gd name="connsiteX7" fmla="*/ 3914 w 5779"/>
                <a:gd name="connsiteY7" fmla="*/ -1095 h 7775"/>
                <a:gd name="connsiteX8" fmla="*/ 3914 w 5779"/>
                <a:gd name="connsiteY8" fmla="*/ 5300 h 7775"/>
                <a:gd name="connsiteX9" fmla="*/ 4183 w 5779"/>
                <a:gd name="connsiteY9" fmla="*/ 5569 h 7775"/>
                <a:gd name="connsiteX10" fmla="*/ 4459 w 5779"/>
                <a:gd name="connsiteY10" fmla="*/ 5300 h 7775"/>
                <a:gd name="connsiteX11" fmla="*/ 4459 w 5779"/>
                <a:gd name="connsiteY11" fmla="*/ -1937 h 7775"/>
                <a:gd name="connsiteX12" fmla="*/ 4183 w 5779"/>
                <a:gd name="connsiteY12" fmla="*/ -2206 h 7775"/>
                <a:gd name="connsiteX13" fmla="*/ 3969 w 5779"/>
                <a:gd name="connsiteY13" fmla="*/ -2103 h 7775"/>
                <a:gd name="connsiteX14" fmla="*/ 3928 w 5779"/>
                <a:gd name="connsiteY14" fmla="*/ -2054 h 7775"/>
                <a:gd name="connsiteX15" fmla="*/ -782 w 5779"/>
                <a:gd name="connsiteY15" fmla="*/ 4492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79" h="7775">
                  <a:moveTo>
                    <a:pt x="-782" y="4492"/>
                  </a:moveTo>
                  <a:lnTo>
                    <a:pt x="-782" y="-1937"/>
                  </a:lnTo>
                  <a:lnTo>
                    <a:pt x="-1051" y="-2206"/>
                  </a:lnTo>
                  <a:lnTo>
                    <a:pt x="-1321" y="-1937"/>
                  </a:lnTo>
                  <a:lnTo>
                    <a:pt x="-1321" y="5265"/>
                  </a:lnTo>
                  <a:lnTo>
                    <a:pt x="-1224" y="5569"/>
                  </a:lnTo>
                  <a:lnTo>
                    <a:pt x="-844" y="5500"/>
                  </a:lnTo>
                  <a:lnTo>
                    <a:pt x="3914" y="-1095"/>
                  </a:lnTo>
                  <a:lnTo>
                    <a:pt x="3914" y="5300"/>
                  </a:lnTo>
                  <a:lnTo>
                    <a:pt x="4183" y="5569"/>
                  </a:lnTo>
                  <a:lnTo>
                    <a:pt x="4459" y="5300"/>
                  </a:lnTo>
                  <a:lnTo>
                    <a:pt x="4459" y="-1937"/>
                  </a:lnTo>
                  <a:lnTo>
                    <a:pt x="4183" y="-2206"/>
                  </a:lnTo>
                  <a:lnTo>
                    <a:pt x="3969" y="-2103"/>
                  </a:lnTo>
                  <a:lnTo>
                    <a:pt x="3928" y="-2054"/>
                  </a:lnTo>
                  <a:lnTo>
                    <a:pt x="-782" y="4492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203658D2-291F-40E2-186A-9B9EC0B37516}"/>
                </a:ext>
              </a:extLst>
            </p:cNvPr>
            <p:cNvSpPr/>
            <p:nvPr/>
          </p:nvSpPr>
          <p:spPr>
            <a:xfrm flipV="1">
              <a:off x="7474038" y="3069178"/>
              <a:ext cx="6346" cy="7851"/>
            </a:xfrm>
            <a:custGeom>
              <a:avLst/>
              <a:gdLst>
                <a:gd name="connsiteX0" fmla="*/ -1331 w 6346"/>
                <a:gd name="connsiteY0" fmla="*/ 5383 h 7851"/>
                <a:gd name="connsiteX1" fmla="*/ -1062 w 6346"/>
                <a:gd name="connsiteY1" fmla="*/ 5645 h 7851"/>
                <a:gd name="connsiteX2" fmla="*/ -779 w 6346"/>
                <a:gd name="connsiteY2" fmla="*/ 5383 h 7851"/>
                <a:gd name="connsiteX3" fmla="*/ -779 w 6346"/>
                <a:gd name="connsiteY3" fmla="*/ 970 h 7851"/>
                <a:gd name="connsiteX4" fmla="*/ 1832 w 6346"/>
                <a:gd name="connsiteY4" fmla="*/ -1654 h 7851"/>
                <a:gd name="connsiteX5" fmla="*/ 4463 w 6346"/>
                <a:gd name="connsiteY5" fmla="*/ 970 h 7851"/>
                <a:gd name="connsiteX6" fmla="*/ 4463 w 6346"/>
                <a:gd name="connsiteY6" fmla="*/ 5383 h 7851"/>
                <a:gd name="connsiteX7" fmla="*/ 4732 w 6346"/>
                <a:gd name="connsiteY7" fmla="*/ 5645 h 7851"/>
                <a:gd name="connsiteX8" fmla="*/ 5015 w 6346"/>
                <a:gd name="connsiteY8" fmla="*/ 5383 h 7851"/>
                <a:gd name="connsiteX9" fmla="*/ 5015 w 6346"/>
                <a:gd name="connsiteY9" fmla="*/ 970 h 7851"/>
                <a:gd name="connsiteX10" fmla="*/ 1832 w 6346"/>
                <a:gd name="connsiteY10" fmla="*/ -2206 h 7851"/>
                <a:gd name="connsiteX11" fmla="*/ -1331 w 6346"/>
                <a:gd name="connsiteY11" fmla="*/ 970 h 7851"/>
                <a:gd name="connsiteX12" fmla="*/ -1331 w 6346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46" h="7851">
                  <a:moveTo>
                    <a:pt x="-1331" y="5383"/>
                  </a:moveTo>
                  <a:lnTo>
                    <a:pt x="-1062" y="5645"/>
                  </a:lnTo>
                  <a:lnTo>
                    <a:pt x="-779" y="5383"/>
                  </a:lnTo>
                  <a:lnTo>
                    <a:pt x="-779" y="970"/>
                  </a:lnTo>
                  <a:cubicBezTo>
                    <a:pt x="-779" y="-480"/>
                    <a:pt x="395" y="-1640"/>
                    <a:pt x="1832" y="-1654"/>
                  </a:cubicBezTo>
                  <a:cubicBezTo>
                    <a:pt x="3289" y="-1640"/>
                    <a:pt x="4463" y="-480"/>
                    <a:pt x="4463" y="970"/>
                  </a:cubicBezTo>
                  <a:lnTo>
                    <a:pt x="4463" y="5383"/>
                  </a:lnTo>
                  <a:lnTo>
                    <a:pt x="4732" y="5645"/>
                  </a:lnTo>
                  <a:lnTo>
                    <a:pt x="5015" y="5383"/>
                  </a:lnTo>
                  <a:lnTo>
                    <a:pt x="5015" y="970"/>
                  </a:lnTo>
                  <a:cubicBezTo>
                    <a:pt x="5015" y="-777"/>
                    <a:pt x="3593" y="-2206"/>
                    <a:pt x="1832" y="-2206"/>
                  </a:cubicBezTo>
                  <a:cubicBezTo>
                    <a:pt x="92" y="-2206"/>
                    <a:pt x="-1331" y="-777"/>
                    <a:pt x="-1331" y="970"/>
                  </a:cubicBezTo>
                  <a:lnTo>
                    <a:pt x="-1331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3D1EE005-A10A-6A1B-98AE-B6ED4DD7127B}"/>
                </a:ext>
              </a:extLst>
            </p:cNvPr>
            <p:cNvSpPr/>
            <p:nvPr/>
          </p:nvSpPr>
          <p:spPr>
            <a:xfrm flipV="1">
              <a:off x="7482083" y="3069213"/>
              <a:ext cx="5987" cy="7817"/>
            </a:xfrm>
            <a:custGeom>
              <a:avLst/>
              <a:gdLst>
                <a:gd name="connsiteX0" fmla="*/ 75 w 5987"/>
                <a:gd name="connsiteY0" fmla="*/ 376 h 7817"/>
                <a:gd name="connsiteX1" fmla="*/ 3244 w 5987"/>
                <a:gd name="connsiteY1" fmla="*/ 376 h 7817"/>
                <a:gd name="connsiteX2" fmla="*/ 1663 w 5987"/>
                <a:gd name="connsiteY2" fmla="*/ 4596 h 7817"/>
                <a:gd name="connsiteX3" fmla="*/ 3445 w 5987"/>
                <a:gd name="connsiteY3" fmla="*/ -176 h 7817"/>
                <a:gd name="connsiteX4" fmla="*/ -132 w 5987"/>
                <a:gd name="connsiteY4" fmla="*/ -176 h 7817"/>
                <a:gd name="connsiteX5" fmla="*/ -823 w 5987"/>
                <a:gd name="connsiteY5" fmla="*/ -2020 h 7817"/>
                <a:gd name="connsiteX6" fmla="*/ -1078 w 5987"/>
                <a:gd name="connsiteY6" fmla="*/ -2206 h 7817"/>
                <a:gd name="connsiteX7" fmla="*/ -1182 w 5987"/>
                <a:gd name="connsiteY7" fmla="*/ -2193 h 7817"/>
                <a:gd name="connsiteX8" fmla="*/ -1341 w 5987"/>
                <a:gd name="connsiteY8" fmla="*/ -1834 h 7817"/>
                <a:gd name="connsiteX9" fmla="*/ 1387 w 5987"/>
                <a:gd name="connsiteY9" fmla="*/ 5445 h 7817"/>
                <a:gd name="connsiteX10" fmla="*/ 1656 w 5987"/>
                <a:gd name="connsiteY10" fmla="*/ 5611 h 7817"/>
                <a:gd name="connsiteX11" fmla="*/ 1925 w 5987"/>
                <a:gd name="connsiteY11" fmla="*/ 5445 h 7817"/>
                <a:gd name="connsiteX12" fmla="*/ 4646 w 5987"/>
                <a:gd name="connsiteY12" fmla="*/ -1834 h 7817"/>
                <a:gd name="connsiteX13" fmla="*/ 4501 w 5987"/>
                <a:gd name="connsiteY13" fmla="*/ -2193 h 7817"/>
                <a:gd name="connsiteX14" fmla="*/ 4404 w 5987"/>
                <a:gd name="connsiteY14" fmla="*/ -2206 h 7817"/>
                <a:gd name="connsiteX15" fmla="*/ 4142 w 5987"/>
                <a:gd name="connsiteY15" fmla="*/ -2020 h 7817"/>
                <a:gd name="connsiteX16" fmla="*/ 3445 w 5987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87" h="7817">
                  <a:moveTo>
                    <a:pt x="75" y="376"/>
                  </a:moveTo>
                  <a:lnTo>
                    <a:pt x="3244" y="376"/>
                  </a:lnTo>
                  <a:lnTo>
                    <a:pt x="1663" y="4596"/>
                  </a:lnTo>
                  <a:close/>
                  <a:moveTo>
                    <a:pt x="3445" y="-176"/>
                  </a:moveTo>
                  <a:lnTo>
                    <a:pt x="-132" y="-176"/>
                  </a:lnTo>
                  <a:lnTo>
                    <a:pt x="-823" y="-2020"/>
                  </a:lnTo>
                  <a:lnTo>
                    <a:pt x="-1078" y="-2206"/>
                  </a:lnTo>
                  <a:lnTo>
                    <a:pt x="-1182" y="-2193"/>
                  </a:lnTo>
                  <a:lnTo>
                    <a:pt x="-1341" y="-1834"/>
                  </a:lnTo>
                  <a:lnTo>
                    <a:pt x="1387" y="5445"/>
                  </a:lnTo>
                  <a:lnTo>
                    <a:pt x="1656" y="5611"/>
                  </a:lnTo>
                  <a:lnTo>
                    <a:pt x="1925" y="5445"/>
                  </a:lnTo>
                  <a:lnTo>
                    <a:pt x="4646" y="-1834"/>
                  </a:lnTo>
                  <a:lnTo>
                    <a:pt x="4501" y="-2193"/>
                  </a:lnTo>
                  <a:lnTo>
                    <a:pt x="4404" y="-2206"/>
                  </a:lnTo>
                  <a:lnTo>
                    <a:pt x="4142" y="-2020"/>
                  </a:lnTo>
                  <a:lnTo>
                    <a:pt x="3445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150B0F1A-A1C2-5268-3357-B06556B2AD46}"/>
                </a:ext>
              </a:extLst>
            </p:cNvPr>
            <p:cNvSpPr/>
            <p:nvPr/>
          </p:nvSpPr>
          <p:spPr>
            <a:xfrm flipV="1">
              <a:off x="7489651" y="3069178"/>
              <a:ext cx="5109" cy="7851"/>
            </a:xfrm>
            <a:custGeom>
              <a:avLst/>
              <a:gdLst>
                <a:gd name="connsiteX0" fmla="*/ 1136 w 5109"/>
                <a:gd name="connsiteY0" fmla="*/ 5100 h 7851"/>
                <a:gd name="connsiteX1" fmla="*/ -804 w 5109"/>
                <a:gd name="connsiteY1" fmla="*/ 5100 h 7851"/>
                <a:gd name="connsiteX2" fmla="*/ -804 w 5109"/>
                <a:gd name="connsiteY2" fmla="*/ 1709 h 7851"/>
                <a:gd name="connsiteX3" fmla="*/ 1177 w 5109"/>
                <a:gd name="connsiteY3" fmla="*/ 1709 h 7851"/>
                <a:gd name="connsiteX4" fmla="*/ 2828 w 5109"/>
                <a:gd name="connsiteY4" fmla="*/ 3401 h 7851"/>
                <a:gd name="connsiteX5" fmla="*/ 1136 w 5109"/>
                <a:gd name="connsiteY5" fmla="*/ 5100 h 7851"/>
                <a:gd name="connsiteX6" fmla="*/ 2710 w 5109"/>
                <a:gd name="connsiteY6" fmla="*/ -432 h 7851"/>
                <a:gd name="connsiteX7" fmla="*/ 2068 w 5109"/>
                <a:gd name="connsiteY7" fmla="*/ 756 h 7851"/>
                <a:gd name="connsiteX8" fmla="*/ 1164 w 5109"/>
                <a:gd name="connsiteY8" fmla="*/ 1150 h 7851"/>
                <a:gd name="connsiteX9" fmla="*/ 1102 w 5109"/>
                <a:gd name="connsiteY9" fmla="*/ 1170 h 7851"/>
                <a:gd name="connsiteX10" fmla="*/ -804 w 5109"/>
                <a:gd name="connsiteY10" fmla="*/ 1170 h 7851"/>
                <a:gd name="connsiteX11" fmla="*/ -804 w 5109"/>
                <a:gd name="connsiteY11" fmla="*/ -1937 h 7851"/>
                <a:gd name="connsiteX12" fmla="*/ -1081 w 5109"/>
                <a:gd name="connsiteY12" fmla="*/ -2206 h 7851"/>
                <a:gd name="connsiteX13" fmla="*/ -1350 w 5109"/>
                <a:gd name="connsiteY13" fmla="*/ -1937 h 7851"/>
                <a:gd name="connsiteX14" fmla="*/ -1350 w 5109"/>
                <a:gd name="connsiteY14" fmla="*/ 5383 h 7851"/>
                <a:gd name="connsiteX15" fmla="*/ -1108 w 5109"/>
                <a:gd name="connsiteY15" fmla="*/ 5645 h 7851"/>
                <a:gd name="connsiteX16" fmla="*/ -1081 w 5109"/>
                <a:gd name="connsiteY16" fmla="*/ 5645 h 7851"/>
                <a:gd name="connsiteX17" fmla="*/ -1046 w 5109"/>
                <a:gd name="connsiteY17" fmla="*/ 5645 h 7851"/>
                <a:gd name="connsiteX18" fmla="*/ 1136 w 5109"/>
                <a:gd name="connsiteY18" fmla="*/ 5645 h 7851"/>
                <a:gd name="connsiteX19" fmla="*/ 3367 w 5109"/>
                <a:gd name="connsiteY19" fmla="*/ 3401 h 7851"/>
                <a:gd name="connsiteX20" fmla="*/ 2082 w 5109"/>
                <a:gd name="connsiteY20" fmla="*/ 1371 h 7851"/>
                <a:gd name="connsiteX21" fmla="*/ 2193 w 5109"/>
                <a:gd name="connsiteY21" fmla="*/ 1322 h 7851"/>
                <a:gd name="connsiteX22" fmla="*/ 3242 w 5109"/>
                <a:gd name="connsiteY22" fmla="*/ -432 h 7851"/>
                <a:gd name="connsiteX23" fmla="*/ 3346 w 5109"/>
                <a:gd name="connsiteY23" fmla="*/ -1343 h 7851"/>
                <a:gd name="connsiteX24" fmla="*/ 3463 w 5109"/>
                <a:gd name="connsiteY24" fmla="*/ -1530 h 7851"/>
                <a:gd name="connsiteX25" fmla="*/ 3760 w 5109"/>
                <a:gd name="connsiteY25" fmla="*/ -1709 h 7851"/>
                <a:gd name="connsiteX26" fmla="*/ 3581 w 5109"/>
                <a:gd name="connsiteY26" fmla="*/ -2068 h 7851"/>
                <a:gd name="connsiteX27" fmla="*/ 3449 w 5109"/>
                <a:gd name="connsiteY27" fmla="*/ -2082 h 7851"/>
                <a:gd name="connsiteX28" fmla="*/ 3429 w 5109"/>
                <a:gd name="connsiteY28" fmla="*/ -2082 h 7851"/>
                <a:gd name="connsiteX29" fmla="*/ 2918 w 5109"/>
                <a:gd name="connsiteY29" fmla="*/ -1716 h 7851"/>
                <a:gd name="connsiteX30" fmla="*/ 2710 w 5109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09" h="7851">
                  <a:moveTo>
                    <a:pt x="1136" y="5100"/>
                  </a:moveTo>
                  <a:lnTo>
                    <a:pt x="-804" y="5100"/>
                  </a:lnTo>
                  <a:lnTo>
                    <a:pt x="-804" y="1709"/>
                  </a:lnTo>
                  <a:lnTo>
                    <a:pt x="1177" y="1709"/>
                  </a:lnTo>
                  <a:cubicBezTo>
                    <a:pt x="2089" y="1737"/>
                    <a:pt x="2828" y="2482"/>
                    <a:pt x="2828" y="3401"/>
                  </a:cubicBezTo>
                  <a:cubicBezTo>
                    <a:pt x="2828" y="4347"/>
                    <a:pt x="2068" y="5100"/>
                    <a:pt x="1136" y="5100"/>
                  </a:cubicBezTo>
                  <a:close/>
                  <a:moveTo>
                    <a:pt x="2710" y="-432"/>
                  </a:moveTo>
                  <a:lnTo>
                    <a:pt x="2068" y="756"/>
                  </a:lnTo>
                  <a:lnTo>
                    <a:pt x="1164" y="1150"/>
                  </a:lnTo>
                  <a:lnTo>
                    <a:pt x="1102" y="1170"/>
                  </a:lnTo>
                  <a:lnTo>
                    <a:pt x="-804" y="1170"/>
                  </a:lnTo>
                  <a:lnTo>
                    <a:pt x="-804" y="-1937"/>
                  </a:lnTo>
                  <a:lnTo>
                    <a:pt x="-1081" y="-2206"/>
                  </a:lnTo>
                  <a:lnTo>
                    <a:pt x="-1350" y="-1937"/>
                  </a:lnTo>
                  <a:lnTo>
                    <a:pt x="-1350" y="5383"/>
                  </a:lnTo>
                  <a:lnTo>
                    <a:pt x="-1108" y="5645"/>
                  </a:lnTo>
                  <a:lnTo>
                    <a:pt x="-1081" y="5645"/>
                  </a:lnTo>
                  <a:lnTo>
                    <a:pt x="-1046" y="5645"/>
                  </a:lnTo>
                  <a:lnTo>
                    <a:pt x="1136" y="5645"/>
                  </a:lnTo>
                  <a:cubicBezTo>
                    <a:pt x="2372" y="5645"/>
                    <a:pt x="3367" y="4651"/>
                    <a:pt x="3367" y="3401"/>
                  </a:cubicBezTo>
                  <a:cubicBezTo>
                    <a:pt x="3367" y="2510"/>
                    <a:pt x="2842" y="1737"/>
                    <a:pt x="2082" y="1371"/>
                  </a:cubicBezTo>
                  <a:lnTo>
                    <a:pt x="2193" y="1322"/>
                  </a:lnTo>
                  <a:cubicBezTo>
                    <a:pt x="2710" y="1025"/>
                    <a:pt x="3242" y="459"/>
                    <a:pt x="3242" y="-432"/>
                  </a:cubicBezTo>
                  <a:lnTo>
                    <a:pt x="3346" y="-1343"/>
                  </a:lnTo>
                  <a:lnTo>
                    <a:pt x="3463" y="-1530"/>
                  </a:lnTo>
                  <a:lnTo>
                    <a:pt x="3760" y="-1709"/>
                  </a:lnTo>
                  <a:lnTo>
                    <a:pt x="3581" y="-2068"/>
                  </a:lnTo>
                  <a:lnTo>
                    <a:pt x="3449" y="-2082"/>
                  </a:lnTo>
                  <a:lnTo>
                    <a:pt x="3429" y="-2082"/>
                  </a:lnTo>
                  <a:lnTo>
                    <a:pt x="2918" y="-1716"/>
                  </a:lnTo>
                  <a:cubicBezTo>
                    <a:pt x="2787" y="-1461"/>
                    <a:pt x="2710" y="-1095"/>
                    <a:pt x="2710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6DD7468F-E49A-08AB-C774-7071A74EB62E}"/>
                </a:ext>
              </a:extLst>
            </p:cNvPr>
            <p:cNvSpPr/>
            <p:nvPr/>
          </p:nvSpPr>
          <p:spPr>
            <a:xfrm flipV="1">
              <a:off x="7496039" y="3069282"/>
              <a:ext cx="5793" cy="7748"/>
            </a:xfrm>
            <a:custGeom>
              <a:avLst/>
              <a:gdLst>
                <a:gd name="connsiteX0" fmla="*/ 1273 w 5793"/>
                <a:gd name="connsiteY0" fmla="*/ 1564 h 7748"/>
                <a:gd name="connsiteX1" fmla="*/ -1358 w 5793"/>
                <a:gd name="connsiteY1" fmla="*/ 5169 h 7748"/>
                <a:gd name="connsiteX2" fmla="*/ -1303 w 5793"/>
                <a:gd name="connsiteY2" fmla="*/ 5542 h 7748"/>
                <a:gd name="connsiteX3" fmla="*/ -916 w 5793"/>
                <a:gd name="connsiteY3" fmla="*/ 5500 h 7748"/>
                <a:gd name="connsiteX4" fmla="*/ 1535 w 5793"/>
                <a:gd name="connsiteY4" fmla="*/ 2123 h 7748"/>
                <a:gd name="connsiteX5" fmla="*/ 4000 w 5793"/>
                <a:gd name="connsiteY5" fmla="*/ 5500 h 7748"/>
                <a:gd name="connsiteX6" fmla="*/ 4387 w 5793"/>
                <a:gd name="connsiteY6" fmla="*/ 5542 h 7748"/>
                <a:gd name="connsiteX7" fmla="*/ 4435 w 5793"/>
                <a:gd name="connsiteY7" fmla="*/ 5169 h 7748"/>
                <a:gd name="connsiteX8" fmla="*/ 1818 w 5793"/>
                <a:gd name="connsiteY8" fmla="*/ 1585 h 7748"/>
                <a:gd name="connsiteX9" fmla="*/ 1818 w 5793"/>
                <a:gd name="connsiteY9" fmla="*/ -1937 h 7748"/>
                <a:gd name="connsiteX10" fmla="*/ 1542 w 5793"/>
                <a:gd name="connsiteY10" fmla="*/ -2206 h 7748"/>
                <a:gd name="connsiteX11" fmla="*/ 1273 w 5793"/>
                <a:gd name="connsiteY11" fmla="*/ -1937 h 7748"/>
                <a:gd name="connsiteX12" fmla="*/ 1273 w 5793"/>
                <a:gd name="connsiteY12" fmla="*/ 1564 h 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93" h="7748">
                  <a:moveTo>
                    <a:pt x="1273" y="1564"/>
                  </a:moveTo>
                  <a:lnTo>
                    <a:pt x="-1358" y="5169"/>
                  </a:lnTo>
                  <a:lnTo>
                    <a:pt x="-1303" y="5542"/>
                  </a:lnTo>
                  <a:lnTo>
                    <a:pt x="-916" y="5500"/>
                  </a:lnTo>
                  <a:lnTo>
                    <a:pt x="1535" y="2123"/>
                  </a:lnTo>
                  <a:lnTo>
                    <a:pt x="4000" y="5500"/>
                  </a:lnTo>
                  <a:lnTo>
                    <a:pt x="4387" y="5542"/>
                  </a:lnTo>
                  <a:lnTo>
                    <a:pt x="4435" y="5169"/>
                  </a:lnTo>
                  <a:lnTo>
                    <a:pt x="1818" y="1585"/>
                  </a:lnTo>
                  <a:lnTo>
                    <a:pt x="1818" y="-1937"/>
                  </a:lnTo>
                  <a:lnTo>
                    <a:pt x="1542" y="-2206"/>
                  </a:lnTo>
                  <a:lnTo>
                    <a:pt x="1273" y="-1937"/>
                  </a:lnTo>
                  <a:lnTo>
                    <a:pt x="1273" y="156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B149A09F-0300-A938-4F94-3868F223A393}"/>
                </a:ext>
              </a:extLst>
            </p:cNvPr>
            <p:cNvSpPr/>
            <p:nvPr/>
          </p:nvSpPr>
          <p:spPr>
            <a:xfrm flipV="1">
              <a:off x="7550619" y="3069178"/>
              <a:ext cx="4592" cy="7851"/>
            </a:xfrm>
            <a:custGeom>
              <a:avLst/>
              <a:gdLst>
                <a:gd name="connsiteX0" fmla="*/ -1426 w 4592"/>
                <a:gd name="connsiteY0" fmla="*/ 5383 h 7851"/>
                <a:gd name="connsiteX1" fmla="*/ -1164 w 4592"/>
                <a:gd name="connsiteY1" fmla="*/ 5645 h 7851"/>
                <a:gd name="connsiteX2" fmla="*/ 2897 w 4592"/>
                <a:gd name="connsiteY2" fmla="*/ 5645 h 7851"/>
                <a:gd name="connsiteX3" fmla="*/ 3166 w 4592"/>
                <a:gd name="connsiteY3" fmla="*/ 5383 h 7851"/>
                <a:gd name="connsiteX4" fmla="*/ 2897 w 4592"/>
                <a:gd name="connsiteY4" fmla="*/ 5100 h 7851"/>
                <a:gd name="connsiteX5" fmla="*/ -874 w 4592"/>
                <a:gd name="connsiteY5" fmla="*/ 5100 h 7851"/>
                <a:gd name="connsiteX6" fmla="*/ -874 w 4592"/>
                <a:gd name="connsiteY6" fmla="*/ 1992 h 7851"/>
                <a:gd name="connsiteX7" fmla="*/ 2427 w 4592"/>
                <a:gd name="connsiteY7" fmla="*/ 1992 h 7851"/>
                <a:gd name="connsiteX8" fmla="*/ 2703 w 4592"/>
                <a:gd name="connsiteY8" fmla="*/ 1709 h 7851"/>
                <a:gd name="connsiteX9" fmla="*/ 2427 w 4592"/>
                <a:gd name="connsiteY9" fmla="*/ 1440 h 7851"/>
                <a:gd name="connsiteX10" fmla="*/ -874 w 4592"/>
                <a:gd name="connsiteY10" fmla="*/ 1440 h 7851"/>
                <a:gd name="connsiteX11" fmla="*/ -874 w 4592"/>
                <a:gd name="connsiteY11" fmla="*/ -1937 h 7851"/>
                <a:gd name="connsiteX12" fmla="*/ -1157 w 4592"/>
                <a:gd name="connsiteY12" fmla="*/ -2206 h 7851"/>
                <a:gd name="connsiteX13" fmla="*/ -1426 w 4592"/>
                <a:gd name="connsiteY13" fmla="*/ -1937 h 7851"/>
                <a:gd name="connsiteX14" fmla="*/ -1426 w 4592"/>
                <a:gd name="connsiteY14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592" h="7851">
                  <a:moveTo>
                    <a:pt x="-1426" y="5383"/>
                  </a:moveTo>
                  <a:lnTo>
                    <a:pt x="-1164" y="5645"/>
                  </a:lnTo>
                  <a:lnTo>
                    <a:pt x="2897" y="5645"/>
                  </a:lnTo>
                  <a:lnTo>
                    <a:pt x="3166" y="5383"/>
                  </a:lnTo>
                  <a:lnTo>
                    <a:pt x="2897" y="5100"/>
                  </a:lnTo>
                  <a:lnTo>
                    <a:pt x="-874" y="5100"/>
                  </a:lnTo>
                  <a:lnTo>
                    <a:pt x="-874" y="1992"/>
                  </a:lnTo>
                  <a:lnTo>
                    <a:pt x="2427" y="1992"/>
                  </a:lnTo>
                  <a:lnTo>
                    <a:pt x="2703" y="1709"/>
                  </a:lnTo>
                  <a:lnTo>
                    <a:pt x="2427" y="1440"/>
                  </a:lnTo>
                  <a:lnTo>
                    <a:pt x="-874" y="1440"/>
                  </a:lnTo>
                  <a:lnTo>
                    <a:pt x="-874" y="-1937"/>
                  </a:lnTo>
                  <a:lnTo>
                    <a:pt x="-1157" y="-2206"/>
                  </a:lnTo>
                  <a:lnTo>
                    <a:pt x="-1426" y="-1937"/>
                  </a:lnTo>
                  <a:lnTo>
                    <a:pt x="-1426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C254F59-A682-EFD7-D5C7-84668E3499C5}"/>
                </a:ext>
              </a:extLst>
            </p:cNvPr>
            <p:cNvSpPr/>
            <p:nvPr/>
          </p:nvSpPr>
          <p:spPr>
            <a:xfrm flipV="1">
              <a:off x="7557394" y="3069178"/>
              <a:ext cx="4571" cy="7851"/>
            </a:xfrm>
            <a:custGeom>
              <a:avLst/>
              <a:gdLst>
                <a:gd name="connsiteX0" fmla="*/ -1435 w 4571"/>
                <a:gd name="connsiteY0" fmla="*/ 5383 h 7851"/>
                <a:gd name="connsiteX1" fmla="*/ -1165 w 4571"/>
                <a:gd name="connsiteY1" fmla="*/ 5645 h 7851"/>
                <a:gd name="connsiteX2" fmla="*/ 2868 w 4571"/>
                <a:gd name="connsiteY2" fmla="*/ 5645 h 7851"/>
                <a:gd name="connsiteX3" fmla="*/ 3137 w 4571"/>
                <a:gd name="connsiteY3" fmla="*/ 5383 h 7851"/>
                <a:gd name="connsiteX4" fmla="*/ 2868 w 4571"/>
                <a:gd name="connsiteY4" fmla="*/ 5100 h 7851"/>
                <a:gd name="connsiteX5" fmla="*/ -889 w 4571"/>
                <a:gd name="connsiteY5" fmla="*/ 5100 h 7851"/>
                <a:gd name="connsiteX6" fmla="*/ -889 w 4571"/>
                <a:gd name="connsiteY6" fmla="*/ 1992 h 7851"/>
                <a:gd name="connsiteX7" fmla="*/ 2405 w 4571"/>
                <a:gd name="connsiteY7" fmla="*/ 1992 h 7851"/>
                <a:gd name="connsiteX8" fmla="*/ 2667 w 4571"/>
                <a:gd name="connsiteY8" fmla="*/ 1709 h 7851"/>
                <a:gd name="connsiteX9" fmla="*/ 2405 w 4571"/>
                <a:gd name="connsiteY9" fmla="*/ 1440 h 7851"/>
                <a:gd name="connsiteX10" fmla="*/ -889 w 4571"/>
                <a:gd name="connsiteY10" fmla="*/ 1440 h 7851"/>
                <a:gd name="connsiteX11" fmla="*/ -889 w 4571"/>
                <a:gd name="connsiteY11" fmla="*/ -1654 h 7851"/>
                <a:gd name="connsiteX12" fmla="*/ 2868 w 4571"/>
                <a:gd name="connsiteY12" fmla="*/ -1654 h 7851"/>
                <a:gd name="connsiteX13" fmla="*/ 3137 w 4571"/>
                <a:gd name="connsiteY13" fmla="*/ -1937 h 7851"/>
                <a:gd name="connsiteX14" fmla="*/ 2868 w 4571"/>
                <a:gd name="connsiteY14" fmla="*/ -2206 h 7851"/>
                <a:gd name="connsiteX15" fmla="*/ -1131 w 4571"/>
                <a:gd name="connsiteY15" fmla="*/ -2206 h 7851"/>
                <a:gd name="connsiteX16" fmla="*/ -1165 w 4571"/>
                <a:gd name="connsiteY16" fmla="*/ -2206 h 7851"/>
                <a:gd name="connsiteX17" fmla="*/ -1186 w 4571"/>
                <a:gd name="connsiteY17" fmla="*/ -2206 h 7851"/>
                <a:gd name="connsiteX18" fmla="*/ -1435 w 4571"/>
                <a:gd name="connsiteY18" fmla="*/ -1937 h 7851"/>
                <a:gd name="connsiteX19" fmla="*/ -1435 w 4571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1" h="7851">
                  <a:moveTo>
                    <a:pt x="-1435" y="5383"/>
                  </a:moveTo>
                  <a:lnTo>
                    <a:pt x="-1165" y="5645"/>
                  </a:lnTo>
                  <a:lnTo>
                    <a:pt x="2868" y="5645"/>
                  </a:lnTo>
                  <a:lnTo>
                    <a:pt x="3137" y="5383"/>
                  </a:lnTo>
                  <a:lnTo>
                    <a:pt x="2868" y="5100"/>
                  </a:lnTo>
                  <a:lnTo>
                    <a:pt x="-889" y="5100"/>
                  </a:lnTo>
                  <a:lnTo>
                    <a:pt x="-889" y="1992"/>
                  </a:lnTo>
                  <a:lnTo>
                    <a:pt x="2405" y="1992"/>
                  </a:lnTo>
                  <a:lnTo>
                    <a:pt x="2667" y="1709"/>
                  </a:lnTo>
                  <a:lnTo>
                    <a:pt x="2405" y="1440"/>
                  </a:lnTo>
                  <a:lnTo>
                    <a:pt x="-889" y="1440"/>
                  </a:lnTo>
                  <a:lnTo>
                    <a:pt x="-889" y="-1654"/>
                  </a:lnTo>
                  <a:lnTo>
                    <a:pt x="2868" y="-1654"/>
                  </a:lnTo>
                  <a:lnTo>
                    <a:pt x="3137" y="-1937"/>
                  </a:lnTo>
                  <a:lnTo>
                    <a:pt x="2868" y="-2206"/>
                  </a:lnTo>
                  <a:lnTo>
                    <a:pt x="-1131" y="-2206"/>
                  </a:lnTo>
                  <a:lnTo>
                    <a:pt x="-1165" y="-2206"/>
                  </a:lnTo>
                  <a:lnTo>
                    <a:pt x="-1186" y="-2206"/>
                  </a:lnTo>
                  <a:lnTo>
                    <a:pt x="-1435" y="-1937"/>
                  </a:lnTo>
                  <a:lnTo>
                    <a:pt x="-1435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00F57DE6-061F-89D2-2818-732670C2769D}"/>
                </a:ext>
              </a:extLst>
            </p:cNvPr>
            <p:cNvSpPr/>
            <p:nvPr/>
          </p:nvSpPr>
          <p:spPr>
            <a:xfrm flipV="1">
              <a:off x="7564030" y="3069178"/>
              <a:ext cx="4757" cy="7851"/>
            </a:xfrm>
            <a:custGeom>
              <a:avLst/>
              <a:gdLst>
                <a:gd name="connsiteX0" fmla="*/ 1071 w 4757"/>
                <a:gd name="connsiteY0" fmla="*/ -1654 h 7851"/>
                <a:gd name="connsiteX1" fmla="*/ 2762 w 4757"/>
                <a:gd name="connsiteY1" fmla="*/ 38 h 7851"/>
                <a:gd name="connsiteX2" fmla="*/ 1071 w 4757"/>
                <a:gd name="connsiteY2" fmla="*/ 1737 h 7851"/>
                <a:gd name="connsiteX3" fmla="*/ -897 w 4757"/>
                <a:gd name="connsiteY3" fmla="*/ 1737 h 7851"/>
                <a:gd name="connsiteX4" fmla="*/ -897 w 4757"/>
                <a:gd name="connsiteY4" fmla="*/ -1654 h 7851"/>
                <a:gd name="connsiteX5" fmla="*/ 573 w 4757"/>
                <a:gd name="connsiteY5" fmla="*/ 2296 h 7851"/>
                <a:gd name="connsiteX6" fmla="*/ 1975 w 4757"/>
                <a:gd name="connsiteY6" fmla="*/ 3684 h 7851"/>
                <a:gd name="connsiteX7" fmla="*/ 573 w 4757"/>
                <a:gd name="connsiteY7" fmla="*/ 5100 h 7851"/>
                <a:gd name="connsiteX8" fmla="*/ -897 w 4757"/>
                <a:gd name="connsiteY8" fmla="*/ 5100 h 7851"/>
                <a:gd name="connsiteX9" fmla="*/ -897 w 4757"/>
                <a:gd name="connsiteY9" fmla="*/ 2296 h 7851"/>
                <a:gd name="connsiteX10" fmla="*/ -1443 w 4757"/>
                <a:gd name="connsiteY10" fmla="*/ 5383 h 7851"/>
                <a:gd name="connsiteX11" fmla="*/ -1174 w 4757"/>
                <a:gd name="connsiteY11" fmla="*/ 5645 h 7851"/>
                <a:gd name="connsiteX12" fmla="*/ 573 w 4757"/>
                <a:gd name="connsiteY12" fmla="*/ 5645 h 7851"/>
                <a:gd name="connsiteX13" fmla="*/ 2528 w 4757"/>
                <a:gd name="connsiteY13" fmla="*/ 3684 h 7851"/>
                <a:gd name="connsiteX14" fmla="*/ 1775 w 4757"/>
                <a:gd name="connsiteY14" fmla="*/ 2158 h 7851"/>
                <a:gd name="connsiteX15" fmla="*/ 3315 w 4757"/>
                <a:gd name="connsiteY15" fmla="*/ 38 h 7851"/>
                <a:gd name="connsiteX16" fmla="*/ 1071 w 4757"/>
                <a:gd name="connsiteY16" fmla="*/ -2206 h 7851"/>
                <a:gd name="connsiteX17" fmla="*/ -1139 w 4757"/>
                <a:gd name="connsiteY17" fmla="*/ -2206 h 7851"/>
                <a:gd name="connsiteX18" fmla="*/ -1174 w 4757"/>
                <a:gd name="connsiteY18" fmla="*/ -2206 h 7851"/>
                <a:gd name="connsiteX19" fmla="*/ -1187 w 4757"/>
                <a:gd name="connsiteY19" fmla="*/ -2206 h 7851"/>
                <a:gd name="connsiteX20" fmla="*/ -1443 w 4757"/>
                <a:gd name="connsiteY20" fmla="*/ -1937 h 7851"/>
                <a:gd name="connsiteX21" fmla="*/ -1443 w 4757"/>
                <a:gd name="connsiteY21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757" h="7851">
                  <a:moveTo>
                    <a:pt x="1071" y="-1654"/>
                  </a:moveTo>
                  <a:cubicBezTo>
                    <a:pt x="1996" y="-1654"/>
                    <a:pt x="2749" y="-901"/>
                    <a:pt x="2762" y="38"/>
                  </a:cubicBezTo>
                  <a:cubicBezTo>
                    <a:pt x="2749" y="970"/>
                    <a:pt x="1996" y="1737"/>
                    <a:pt x="1071" y="1737"/>
                  </a:cubicBezTo>
                  <a:lnTo>
                    <a:pt x="-897" y="1737"/>
                  </a:lnTo>
                  <a:lnTo>
                    <a:pt x="-897" y="-1654"/>
                  </a:lnTo>
                  <a:close/>
                  <a:moveTo>
                    <a:pt x="573" y="2296"/>
                  </a:moveTo>
                  <a:cubicBezTo>
                    <a:pt x="1347" y="2296"/>
                    <a:pt x="1975" y="2924"/>
                    <a:pt x="1975" y="3684"/>
                  </a:cubicBezTo>
                  <a:cubicBezTo>
                    <a:pt x="1975" y="4471"/>
                    <a:pt x="1347" y="5100"/>
                    <a:pt x="573" y="5100"/>
                  </a:cubicBezTo>
                  <a:lnTo>
                    <a:pt x="-897" y="5100"/>
                  </a:lnTo>
                  <a:lnTo>
                    <a:pt x="-897" y="2296"/>
                  </a:lnTo>
                  <a:close/>
                  <a:moveTo>
                    <a:pt x="-1443" y="5383"/>
                  </a:moveTo>
                  <a:lnTo>
                    <a:pt x="-1174" y="5645"/>
                  </a:lnTo>
                  <a:lnTo>
                    <a:pt x="573" y="5645"/>
                  </a:lnTo>
                  <a:cubicBezTo>
                    <a:pt x="1651" y="5645"/>
                    <a:pt x="2528" y="4775"/>
                    <a:pt x="2528" y="3684"/>
                  </a:cubicBezTo>
                  <a:lnTo>
                    <a:pt x="1775" y="2158"/>
                  </a:lnTo>
                  <a:cubicBezTo>
                    <a:pt x="2659" y="1854"/>
                    <a:pt x="3315" y="1025"/>
                    <a:pt x="3315" y="38"/>
                  </a:cubicBezTo>
                  <a:cubicBezTo>
                    <a:pt x="3315" y="-1205"/>
                    <a:pt x="2300" y="-2206"/>
                    <a:pt x="1071" y="-2206"/>
                  </a:cubicBezTo>
                  <a:lnTo>
                    <a:pt x="-1139" y="-2206"/>
                  </a:lnTo>
                  <a:lnTo>
                    <a:pt x="-1174" y="-2206"/>
                  </a:lnTo>
                  <a:lnTo>
                    <a:pt x="-1187" y="-2206"/>
                  </a:lnTo>
                  <a:lnTo>
                    <a:pt x="-1443" y="-1937"/>
                  </a:lnTo>
                  <a:lnTo>
                    <a:pt x="-1443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4518ADC-F97F-7CC3-62C9-3041005796A5}"/>
                </a:ext>
              </a:extLst>
            </p:cNvPr>
            <p:cNvSpPr/>
            <p:nvPr/>
          </p:nvSpPr>
          <p:spPr>
            <a:xfrm flipV="1">
              <a:off x="7570521" y="3069178"/>
              <a:ext cx="5109" cy="7851"/>
            </a:xfrm>
            <a:custGeom>
              <a:avLst/>
              <a:gdLst>
                <a:gd name="connsiteX0" fmla="*/ 1042 w 5109"/>
                <a:gd name="connsiteY0" fmla="*/ 5100 h 7851"/>
                <a:gd name="connsiteX1" fmla="*/ -899 w 5109"/>
                <a:gd name="connsiteY1" fmla="*/ 5100 h 7851"/>
                <a:gd name="connsiteX2" fmla="*/ -899 w 5109"/>
                <a:gd name="connsiteY2" fmla="*/ 1709 h 7851"/>
                <a:gd name="connsiteX3" fmla="*/ 1083 w 5109"/>
                <a:gd name="connsiteY3" fmla="*/ 1709 h 7851"/>
                <a:gd name="connsiteX4" fmla="*/ 2733 w 5109"/>
                <a:gd name="connsiteY4" fmla="*/ 3401 h 7851"/>
                <a:gd name="connsiteX5" fmla="*/ 1042 w 5109"/>
                <a:gd name="connsiteY5" fmla="*/ 5100 h 7851"/>
                <a:gd name="connsiteX6" fmla="*/ 2609 w 5109"/>
                <a:gd name="connsiteY6" fmla="*/ -432 h 7851"/>
                <a:gd name="connsiteX7" fmla="*/ 1967 w 5109"/>
                <a:gd name="connsiteY7" fmla="*/ 756 h 7851"/>
                <a:gd name="connsiteX8" fmla="*/ 1055 w 5109"/>
                <a:gd name="connsiteY8" fmla="*/ 1150 h 7851"/>
                <a:gd name="connsiteX9" fmla="*/ 1007 w 5109"/>
                <a:gd name="connsiteY9" fmla="*/ 1170 h 7851"/>
                <a:gd name="connsiteX10" fmla="*/ -899 w 5109"/>
                <a:gd name="connsiteY10" fmla="*/ 1170 h 7851"/>
                <a:gd name="connsiteX11" fmla="*/ -899 w 5109"/>
                <a:gd name="connsiteY11" fmla="*/ -1937 h 7851"/>
                <a:gd name="connsiteX12" fmla="*/ -1182 w 5109"/>
                <a:gd name="connsiteY12" fmla="*/ -2206 h 7851"/>
                <a:gd name="connsiteX13" fmla="*/ -1451 w 5109"/>
                <a:gd name="connsiteY13" fmla="*/ -1937 h 7851"/>
                <a:gd name="connsiteX14" fmla="*/ -1451 w 5109"/>
                <a:gd name="connsiteY14" fmla="*/ 5383 h 7851"/>
                <a:gd name="connsiteX15" fmla="*/ -1210 w 5109"/>
                <a:gd name="connsiteY15" fmla="*/ 5645 h 7851"/>
                <a:gd name="connsiteX16" fmla="*/ -1182 w 5109"/>
                <a:gd name="connsiteY16" fmla="*/ 5645 h 7851"/>
                <a:gd name="connsiteX17" fmla="*/ -1148 w 5109"/>
                <a:gd name="connsiteY17" fmla="*/ 5645 h 7851"/>
                <a:gd name="connsiteX18" fmla="*/ 1042 w 5109"/>
                <a:gd name="connsiteY18" fmla="*/ 5645 h 7851"/>
                <a:gd name="connsiteX19" fmla="*/ 3272 w 5109"/>
                <a:gd name="connsiteY19" fmla="*/ 3401 h 7851"/>
                <a:gd name="connsiteX20" fmla="*/ 1981 w 5109"/>
                <a:gd name="connsiteY20" fmla="*/ 1371 h 7851"/>
                <a:gd name="connsiteX21" fmla="*/ 2091 w 5109"/>
                <a:gd name="connsiteY21" fmla="*/ 1322 h 7851"/>
                <a:gd name="connsiteX22" fmla="*/ 3148 w 5109"/>
                <a:gd name="connsiteY22" fmla="*/ -432 h 7851"/>
                <a:gd name="connsiteX23" fmla="*/ 3244 w 5109"/>
                <a:gd name="connsiteY23" fmla="*/ -1343 h 7851"/>
                <a:gd name="connsiteX24" fmla="*/ 3355 w 5109"/>
                <a:gd name="connsiteY24" fmla="*/ -1530 h 7851"/>
                <a:gd name="connsiteX25" fmla="*/ 3659 w 5109"/>
                <a:gd name="connsiteY25" fmla="*/ -1709 h 7851"/>
                <a:gd name="connsiteX26" fmla="*/ 3486 w 5109"/>
                <a:gd name="connsiteY26" fmla="*/ -2068 h 7851"/>
                <a:gd name="connsiteX27" fmla="*/ 3348 w 5109"/>
                <a:gd name="connsiteY27" fmla="*/ -2082 h 7851"/>
                <a:gd name="connsiteX28" fmla="*/ 3327 w 5109"/>
                <a:gd name="connsiteY28" fmla="*/ -2082 h 7851"/>
                <a:gd name="connsiteX29" fmla="*/ 2823 w 5109"/>
                <a:gd name="connsiteY29" fmla="*/ -1716 h 7851"/>
                <a:gd name="connsiteX30" fmla="*/ 2609 w 5109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09" h="7851">
                  <a:moveTo>
                    <a:pt x="1042" y="5100"/>
                  </a:moveTo>
                  <a:lnTo>
                    <a:pt x="-899" y="5100"/>
                  </a:lnTo>
                  <a:lnTo>
                    <a:pt x="-899" y="1709"/>
                  </a:lnTo>
                  <a:lnTo>
                    <a:pt x="1083" y="1709"/>
                  </a:lnTo>
                  <a:cubicBezTo>
                    <a:pt x="1988" y="1737"/>
                    <a:pt x="2733" y="2482"/>
                    <a:pt x="2733" y="3401"/>
                  </a:cubicBezTo>
                  <a:cubicBezTo>
                    <a:pt x="2733" y="4347"/>
                    <a:pt x="1967" y="5100"/>
                    <a:pt x="1042" y="5100"/>
                  </a:cubicBezTo>
                  <a:close/>
                  <a:moveTo>
                    <a:pt x="2609" y="-432"/>
                  </a:moveTo>
                  <a:lnTo>
                    <a:pt x="1967" y="756"/>
                  </a:lnTo>
                  <a:lnTo>
                    <a:pt x="1055" y="1150"/>
                  </a:lnTo>
                  <a:lnTo>
                    <a:pt x="1007" y="1170"/>
                  </a:lnTo>
                  <a:lnTo>
                    <a:pt x="-899" y="1170"/>
                  </a:lnTo>
                  <a:lnTo>
                    <a:pt x="-899" y="-1937"/>
                  </a:lnTo>
                  <a:lnTo>
                    <a:pt x="-1182" y="-2206"/>
                  </a:lnTo>
                  <a:lnTo>
                    <a:pt x="-1451" y="-1937"/>
                  </a:lnTo>
                  <a:lnTo>
                    <a:pt x="-1451" y="5383"/>
                  </a:lnTo>
                  <a:lnTo>
                    <a:pt x="-1210" y="5645"/>
                  </a:lnTo>
                  <a:lnTo>
                    <a:pt x="-1182" y="5645"/>
                  </a:lnTo>
                  <a:lnTo>
                    <a:pt x="-1148" y="5645"/>
                  </a:lnTo>
                  <a:lnTo>
                    <a:pt x="1042" y="5645"/>
                  </a:lnTo>
                  <a:cubicBezTo>
                    <a:pt x="2271" y="5645"/>
                    <a:pt x="3272" y="4651"/>
                    <a:pt x="3272" y="3401"/>
                  </a:cubicBezTo>
                  <a:cubicBezTo>
                    <a:pt x="3272" y="2510"/>
                    <a:pt x="2740" y="1737"/>
                    <a:pt x="1981" y="1371"/>
                  </a:cubicBezTo>
                  <a:lnTo>
                    <a:pt x="2091" y="1322"/>
                  </a:lnTo>
                  <a:cubicBezTo>
                    <a:pt x="2609" y="1025"/>
                    <a:pt x="3148" y="459"/>
                    <a:pt x="3148" y="-432"/>
                  </a:cubicBezTo>
                  <a:lnTo>
                    <a:pt x="3244" y="-1343"/>
                  </a:lnTo>
                  <a:lnTo>
                    <a:pt x="3355" y="-1530"/>
                  </a:lnTo>
                  <a:lnTo>
                    <a:pt x="3659" y="-1709"/>
                  </a:lnTo>
                  <a:lnTo>
                    <a:pt x="3486" y="-2068"/>
                  </a:lnTo>
                  <a:lnTo>
                    <a:pt x="3348" y="-2082"/>
                  </a:lnTo>
                  <a:lnTo>
                    <a:pt x="3327" y="-2082"/>
                  </a:lnTo>
                  <a:lnTo>
                    <a:pt x="2823" y="-1716"/>
                  </a:lnTo>
                  <a:cubicBezTo>
                    <a:pt x="2685" y="-1461"/>
                    <a:pt x="2609" y="-1095"/>
                    <a:pt x="2609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04288E50-C40C-C809-7F7D-B47B807E45AC}"/>
                </a:ext>
              </a:extLst>
            </p:cNvPr>
            <p:cNvSpPr/>
            <p:nvPr/>
          </p:nvSpPr>
          <p:spPr>
            <a:xfrm flipV="1">
              <a:off x="7577012" y="3069178"/>
              <a:ext cx="6346" cy="7851"/>
            </a:xfrm>
            <a:custGeom>
              <a:avLst/>
              <a:gdLst>
                <a:gd name="connsiteX0" fmla="*/ -1460 w 6346"/>
                <a:gd name="connsiteY0" fmla="*/ 5383 h 7851"/>
                <a:gd name="connsiteX1" fmla="*/ -1191 w 6346"/>
                <a:gd name="connsiteY1" fmla="*/ 5645 h 7851"/>
                <a:gd name="connsiteX2" fmla="*/ -915 w 6346"/>
                <a:gd name="connsiteY2" fmla="*/ 5383 h 7851"/>
                <a:gd name="connsiteX3" fmla="*/ -915 w 6346"/>
                <a:gd name="connsiteY3" fmla="*/ 970 h 7851"/>
                <a:gd name="connsiteX4" fmla="*/ 1702 w 6346"/>
                <a:gd name="connsiteY4" fmla="*/ -1654 h 7851"/>
                <a:gd name="connsiteX5" fmla="*/ 4340 w 6346"/>
                <a:gd name="connsiteY5" fmla="*/ 970 h 7851"/>
                <a:gd name="connsiteX6" fmla="*/ 4340 w 6346"/>
                <a:gd name="connsiteY6" fmla="*/ 5383 h 7851"/>
                <a:gd name="connsiteX7" fmla="*/ 4603 w 6346"/>
                <a:gd name="connsiteY7" fmla="*/ 5645 h 7851"/>
                <a:gd name="connsiteX8" fmla="*/ 4886 w 6346"/>
                <a:gd name="connsiteY8" fmla="*/ 5383 h 7851"/>
                <a:gd name="connsiteX9" fmla="*/ 4886 w 6346"/>
                <a:gd name="connsiteY9" fmla="*/ 970 h 7851"/>
                <a:gd name="connsiteX10" fmla="*/ 1702 w 6346"/>
                <a:gd name="connsiteY10" fmla="*/ -2206 h 7851"/>
                <a:gd name="connsiteX11" fmla="*/ -1460 w 6346"/>
                <a:gd name="connsiteY11" fmla="*/ 970 h 7851"/>
                <a:gd name="connsiteX12" fmla="*/ -1460 w 6346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46" h="7851">
                  <a:moveTo>
                    <a:pt x="-1460" y="5383"/>
                  </a:moveTo>
                  <a:lnTo>
                    <a:pt x="-1191" y="5645"/>
                  </a:lnTo>
                  <a:lnTo>
                    <a:pt x="-915" y="5383"/>
                  </a:lnTo>
                  <a:lnTo>
                    <a:pt x="-915" y="970"/>
                  </a:lnTo>
                  <a:cubicBezTo>
                    <a:pt x="-915" y="-480"/>
                    <a:pt x="266" y="-1640"/>
                    <a:pt x="1702" y="-1654"/>
                  </a:cubicBezTo>
                  <a:cubicBezTo>
                    <a:pt x="3160" y="-1640"/>
                    <a:pt x="4340" y="-480"/>
                    <a:pt x="4340" y="970"/>
                  </a:cubicBezTo>
                  <a:lnTo>
                    <a:pt x="4340" y="5383"/>
                  </a:lnTo>
                  <a:lnTo>
                    <a:pt x="4603" y="5645"/>
                  </a:lnTo>
                  <a:lnTo>
                    <a:pt x="4886" y="5383"/>
                  </a:lnTo>
                  <a:lnTo>
                    <a:pt x="4886" y="970"/>
                  </a:lnTo>
                  <a:cubicBezTo>
                    <a:pt x="4886" y="-777"/>
                    <a:pt x="3463" y="-2206"/>
                    <a:pt x="1702" y="-2206"/>
                  </a:cubicBezTo>
                  <a:cubicBezTo>
                    <a:pt x="-38" y="-2206"/>
                    <a:pt x="-1460" y="-777"/>
                    <a:pt x="-1460" y="970"/>
                  </a:cubicBezTo>
                  <a:lnTo>
                    <a:pt x="-1460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40C01863-E3FA-1ADE-6D98-ACAD68663059}"/>
                </a:ext>
              </a:extLst>
            </p:cNvPr>
            <p:cNvSpPr/>
            <p:nvPr/>
          </p:nvSpPr>
          <p:spPr>
            <a:xfrm flipV="1">
              <a:off x="7585057" y="3069213"/>
              <a:ext cx="5987" cy="7817"/>
            </a:xfrm>
            <a:custGeom>
              <a:avLst/>
              <a:gdLst>
                <a:gd name="connsiteX0" fmla="*/ -61 w 5987"/>
                <a:gd name="connsiteY0" fmla="*/ 376 h 7817"/>
                <a:gd name="connsiteX1" fmla="*/ 3115 w 5987"/>
                <a:gd name="connsiteY1" fmla="*/ 376 h 7817"/>
                <a:gd name="connsiteX2" fmla="*/ 1534 w 5987"/>
                <a:gd name="connsiteY2" fmla="*/ 4596 h 7817"/>
                <a:gd name="connsiteX3" fmla="*/ 3315 w 5987"/>
                <a:gd name="connsiteY3" fmla="*/ -176 h 7817"/>
                <a:gd name="connsiteX4" fmla="*/ -262 w 5987"/>
                <a:gd name="connsiteY4" fmla="*/ -176 h 7817"/>
                <a:gd name="connsiteX5" fmla="*/ -952 w 5987"/>
                <a:gd name="connsiteY5" fmla="*/ -2020 h 7817"/>
                <a:gd name="connsiteX6" fmla="*/ -1215 w 5987"/>
                <a:gd name="connsiteY6" fmla="*/ -2206 h 7817"/>
                <a:gd name="connsiteX7" fmla="*/ -1311 w 5987"/>
                <a:gd name="connsiteY7" fmla="*/ -2193 h 7817"/>
                <a:gd name="connsiteX8" fmla="*/ -1470 w 5987"/>
                <a:gd name="connsiteY8" fmla="*/ -1834 h 7817"/>
                <a:gd name="connsiteX9" fmla="*/ 1251 w 5987"/>
                <a:gd name="connsiteY9" fmla="*/ 5445 h 7817"/>
                <a:gd name="connsiteX10" fmla="*/ 1520 w 5987"/>
                <a:gd name="connsiteY10" fmla="*/ 5611 h 7817"/>
                <a:gd name="connsiteX11" fmla="*/ 1789 w 5987"/>
                <a:gd name="connsiteY11" fmla="*/ 5445 h 7817"/>
                <a:gd name="connsiteX12" fmla="*/ 4517 w 5987"/>
                <a:gd name="connsiteY12" fmla="*/ -1834 h 7817"/>
                <a:gd name="connsiteX13" fmla="*/ 4372 w 5987"/>
                <a:gd name="connsiteY13" fmla="*/ -2193 h 7817"/>
                <a:gd name="connsiteX14" fmla="*/ 4268 w 5987"/>
                <a:gd name="connsiteY14" fmla="*/ -2206 h 7817"/>
                <a:gd name="connsiteX15" fmla="*/ 4013 w 5987"/>
                <a:gd name="connsiteY15" fmla="*/ -2020 h 7817"/>
                <a:gd name="connsiteX16" fmla="*/ 3315 w 5987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87" h="7817">
                  <a:moveTo>
                    <a:pt x="-61" y="376"/>
                  </a:moveTo>
                  <a:lnTo>
                    <a:pt x="3115" y="376"/>
                  </a:lnTo>
                  <a:lnTo>
                    <a:pt x="1534" y="4596"/>
                  </a:lnTo>
                  <a:close/>
                  <a:moveTo>
                    <a:pt x="3315" y="-176"/>
                  </a:moveTo>
                  <a:lnTo>
                    <a:pt x="-262" y="-176"/>
                  </a:lnTo>
                  <a:lnTo>
                    <a:pt x="-952" y="-2020"/>
                  </a:lnTo>
                  <a:lnTo>
                    <a:pt x="-1215" y="-2206"/>
                  </a:lnTo>
                  <a:lnTo>
                    <a:pt x="-1311" y="-2193"/>
                  </a:lnTo>
                  <a:lnTo>
                    <a:pt x="-1470" y="-1834"/>
                  </a:lnTo>
                  <a:lnTo>
                    <a:pt x="1251" y="5445"/>
                  </a:lnTo>
                  <a:lnTo>
                    <a:pt x="1520" y="5611"/>
                  </a:lnTo>
                  <a:lnTo>
                    <a:pt x="1789" y="5445"/>
                  </a:lnTo>
                  <a:lnTo>
                    <a:pt x="4517" y="-1834"/>
                  </a:lnTo>
                  <a:lnTo>
                    <a:pt x="4372" y="-2193"/>
                  </a:lnTo>
                  <a:lnTo>
                    <a:pt x="4268" y="-2206"/>
                  </a:lnTo>
                  <a:lnTo>
                    <a:pt x="4013" y="-2020"/>
                  </a:lnTo>
                  <a:lnTo>
                    <a:pt x="3315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C5E48FB-E038-813F-3E7E-14ED32F97DA9}"/>
                </a:ext>
              </a:extLst>
            </p:cNvPr>
            <p:cNvSpPr/>
            <p:nvPr/>
          </p:nvSpPr>
          <p:spPr>
            <a:xfrm flipV="1">
              <a:off x="7592619" y="3069178"/>
              <a:ext cx="5116" cy="7851"/>
            </a:xfrm>
            <a:custGeom>
              <a:avLst/>
              <a:gdLst>
                <a:gd name="connsiteX0" fmla="*/ 1014 w 5116"/>
                <a:gd name="connsiteY0" fmla="*/ 5100 h 7851"/>
                <a:gd name="connsiteX1" fmla="*/ -927 w 5116"/>
                <a:gd name="connsiteY1" fmla="*/ 5100 h 7851"/>
                <a:gd name="connsiteX2" fmla="*/ -927 w 5116"/>
                <a:gd name="connsiteY2" fmla="*/ 1709 h 7851"/>
                <a:gd name="connsiteX3" fmla="*/ 1062 w 5116"/>
                <a:gd name="connsiteY3" fmla="*/ 1709 h 7851"/>
                <a:gd name="connsiteX4" fmla="*/ 2706 w 5116"/>
                <a:gd name="connsiteY4" fmla="*/ 3401 h 7851"/>
                <a:gd name="connsiteX5" fmla="*/ 1014 w 5116"/>
                <a:gd name="connsiteY5" fmla="*/ 5100 h 7851"/>
                <a:gd name="connsiteX6" fmla="*/ 2581 w 5116"/>
                <a:gd name="connsiteY6" fmla="*/ -432 h 7851"/>
                <a:gd name="connsiteX7" fmla="*/ 1946 w 5116"/>
                <a:gd name="connsiteY7" fmla="*/ 756 h 7851"/>
                <a:gd name="connsiteX8" fmla="*/ 1035 w 5116"/>
                <a:gd name="connsiteY8" fmla="*/ 1150 h 7851"/>
                <a:gd name="connsiteX9" fmla="*/ 979 w 5116"/>
                <a:gd name="connsiteY9" fmla="*/ 1170 h 7851"/>
                <a:gd name="connsiteX10" fmla="*/ -927 w 5116"/>
                <a:gd name="connsiteY10" fmla="*/ 1170 h 7851"/>
                <a:gd name="connsiteX11" fmla="*/ -927 w 5116"/>
                <a:gd name="connsiteY11" fmla="*/ -1937 h 7851"/>
                <a:gd name="connsiteX12" fmla="*/ -1210 w 5116"/>
                <a:gd name="connsiteY12" fmla="*/ -2206 h 7851"/>
                <a:gd name="connsiteX13" fmla="*/ -1479 w 5116"/>
                <a:gd name="connsiteY13" fmla="*/ -1937 h 7851"/>
                <a:gd name="connsiteX14" fmla="*/ -1479 w 5116"/>
                <a:gd name="connsiteY14" fmla="*/ 5383 h 7851"/>
                <a:gd name="connsiteX15" fmla="*/ -1230 w 5116"/>
                <a:gd name="connsiteY15" fmla="*/ 5645 h 7851"/>
                <a:gd name="connsiteX16" fmla="*/ -1210 w 5116"/>
                <a:gd name="connsiteY16" fmla="*/ 5645 h 7851"/>
                <a:gd name="connsiteX17" fmla="*/ -1175 w 5116"/>
                <a:gd name="connsiteY17" fmla="*/ 5645 h 7851"/>
                <a:gd name="connsiteX18" fmla="*/ 1014 w 5116"/>
                <a:gd name="connsiteY18" fmla="*/ 5645 h 7851"/>
                <a:gd name="connsiteX19" fmla="*/ 3244 w 5116"/>
                <a:gd name="connsiteY19" fmla="*/ 3401 h 7851"/>
                <a:gd name="connsiteX20" fmla="*/ 1953 w 5116"/>
                <a:gd name="connsiteY20" fmla="*/ 1371 h 7851"/>
                <a:gd name="connsiteX21" fmla="*/ 2070 w 5116"/>
                <a:gd name="connsiteY21" fmla="*/ 1322 h 7851"/>
                <a:gd name="connsiteX22" fmla="*/ 3120 w 5116"/>
                <a:gd name="connsiteY22" fmla="*/ -432 h 7851"/>
                <a:gd name="connsiteX23" fmla="*/ 3223 w 5116"/>
                <a:gd name="connsiteY23" fmla="*/ -1343 h 7851"/>
                <a:gd name="connsiteX24" fmla="*/ 3334 w 5116"/>
                <a:gd name="connsiteY24" fmla="*/ -1530 h 7851"/>
                <a:gd name="connsiteX25" fmla="*/ 3638 w 5116"/>
                <a:gd name="connsiteY25" fmla="*/ -1709 h 7851"/>
                <a:gd name="connsiteX26" fmla="*/ 3458 w 5116"/>
                <a:gd name="connsiteY26" fmla="*/ -2068 h 7851"/>
                <a:gd name="connsiteX27" fmla="*/ 3327 w 5116"/>
                <a:gd name="connsiteY27" fmla="*/ -2082 h 7851"/>
                <a:gd name="connsiteX28" fmla="*/ 3299 w 5116"/>
                <a:gd name="connsiteY28" fmla="*/ -2082 h 7851"/>
                <a:gd name="connsiteX29" fmla="*/ 2802 w 5116"/>
                <a:gd name="connsiteY29" fmla="*/ -1716 h 7851"/>
                <a:gd name="connsiteX30" fmla="*/ 2581 w 5116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16" h="7851">
                  <a:moveTo>
                    <a:pt x="1014" y="5100"/>
                  </a:moveTo>
                  <a:lnTo>
                    <a:pt x="-927" y="5100"/>
                  </a:lnTo>
                  <a:lnTo>
                    <a:pt x="-927" y="1709"/>
                  </a:lnTo>
                  <a:lnTo>
                    <a:pt x="1062" y="1709"/>
                  </a:lnTo>
                  <a:cubicBezTo>
                    <a:pt x="1967" y="1737"/>
                    <a:pt x="2706" y="2482"/>
                    <a:pt x="2706" y="3401"/>
                  </a:cubicBezTo>
                  <a:cubicBezTo>
                    <a:pt x="2706" y="4347"/>
                    <a:pt x="1946" y="5100"/>
                    <a:pt x="1014" y="5100"/>
                  </a:cubicBezTo>
                  <a:close/>
                  <a:moveTo>
                    <a:pt x="2581" y="-432"/>
                  </a:moveTo>
                  <a:lnTo>
                    <a:pt x="1946" y="756"/>
                  </a:lnTo>
                  <a:lnTo>
                    <a:pt x="1035" y="1150"/>
                  </a:lnTo>
                  <a:lnTo>
                    <a:pt x="979" y="1170"/>
                  </a:lnTo>
                  <a:lnTo>
                    <a:pt x="-927" y="1170"/>
                  </a:lnTo>
                  <a:lnTo>
                    <a:pt x="-927" y="-1937"/>
                  </a:lnTo>
                  <a:lnTo>
                    <a:pt x="-1210" y="-2206"/>
                  </a:lnTo>
                  <a:lnTo>
                    <a:pt x="-1479" y="-1937"/>
                  </a:lnTo>
                  <a:lnTo>
                    <a:pt x="-1479" y="5383"/>
                  </a:lnTo>
                  <a:lnTo>
                    <a:pt x="-1230" y="5645"/>
                  </a:lnTo>
                  <a:lnTo>
                    <a:pt x="-1210" y="5645"/>
                  </a:lnTo>
                  <a:lnTo>
                    <a:pt x="-1175" y="5645"/>
                  </a:lnTo>
                  <a:lnTo>
                    <a:pt x="1014" y="5645"/>
                  </a:lnTo>
                  <a:cubicBezTo>
                    <a:pt x="2243" y="5645"/>
                    <a:pt x="3244" y="4651"/>
                    <a:pt x="3244" y="3401"/>
                  </a:cubicBezTo>
                  <a:cubicBezTo>
                    <a:pt x="3244" y="2510"/>
                    <a:pt x="2719" y="1737"/>
                    <a:pt x="1953" y="1371"/>
                  </a:cubicBezTo>
                  <a:lnTo>
                    <a:pt x="2070" y="1322"/>
                  </a:lnTo>
                  <a:cubicBezTo>
                    <a:pt x="2581" y="1025"/>
                    <a:pt x="3120" y="459"/>
                    <a:pt x="3120" y="-432"/>
                  </a:cubicBezTo>
                  <a:lnTo>
                    <a:pt x="3223" y="-1343"/>
                  </a:lnTo>
                  <a:lnTo>
                    <a:pt x="3334" y="-1530"/>
                  </a:lnTo>
                  <a:lnTo>
                    <a:pt x="3638" y="-1709"/>
                  </a:lnTo>
                  <a:lnTo>
                    <a:pt x="3458" y="-2068"/>
                  </a:lnTo>
                  <a:lnTo>
                    <a:pt x="3327" y="-2082"/>
                  </a:lnTo>
                  <a:lnTo>
                    <a:pt x="3299" y="-2082"/>
                  </a:lnTo>
                  <a:lnTo>
                    <a:pt x="2802" y="-1716"/>
                  </a:lnTo>
                  <a:cubicBezTo>
                    <a:pt x="2664" y="-1461"/>
                    <a:pt x="2581" y="-1095"/>
                    <a:pt x="2581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E314694A-B04D-A345-BFEC-22E3AA874347}"/>
                </a:ext>
              </a:extLst>
            </p:cNvPr>
            <p:cNvSpPr/>
            <p:nvPr/>
          </p:nvSpPr>
          <p:spPr>
            <a:xfrm flipV="1">
              <a:off x="7599013" y="3069282"/>
              <a:ext cx="5800" cy="7748"/>
            </a:xfrm>
            <a:custGeom>
              <a:avLst/>
              <a:gdLst>
                <a:gd name="connsiteX0" fmla="*/ 1150 w 5800"/>
                <a:gd name="connsiteY0" fmla="*/ 1564 h 7748"/>
                <a:gd name="connsiteX1" fmla="*/ -1488 w 5800"/>
                <a:gd name="connsiteY1" fmla="*/ 5169 h 7748"/>
                <a:gd name="connsiteX2" fmla="*/ -1432 w 5800"/>
                <a:gd name="connsiteY2" fmla="*/ 5542 h 7748"/>
                <a:gd name="connsiteX3" fmla="*/ -1046 w 5800"/>
                <a:gd name="connsiteY3" fmla="*/ 5500 h 7748"/>
                <a:gd name="connsiteX4" fmla="*/ 1406 w 5800"/>
                <a:gd name="connsiteY4" fmla="*/ 2123 h 7748"/>
                <a:gd name="connsiteX5" fmla="*/ 3871 w 5800"/>
                <a:gd name="connsiteY5" fmla="*/ 5500 h 7748"/>
                <a:gd name="connsiteX6" fmla="*/ 4251 w 5800"/>
                <a:gd name="connsiteY6" fmla="*/ 5542 h 7748"/>
                <a:gd name="connsiteX7" fmla="*/ 4313 w 5800"/>
                <a:gd name="connsiteY7" fmla="*/ 5169 h 7748"/>
                <a:gd name="connsiteX8" fmla="*/ 1689 w 5800"/>
                <a:gd name="connsiteY8" fmla="*/ 1585 h 7748"/>
                <a:gd name="connsiteX9" fmla="*/ 1689 w 5800"/>
                <a:gd name="connsiteY9" fmla="*/ -1937 h 7748"/>
                <a:gd name="connsiteX10" fmla="*/ 1420 w 5800"/>
                <a:gd name="connsiteY10" fmla="*/ -2206 h 7748"/>
                <a:gd name="connsiteX11" fmla="*/ 1150 w 5800"/>
                <a:gd name="connsiteY11" fmla="*/ -1937 h 7748"/>
                <a:gd name="connsiteX12" fmla="*/ 1150 w 5800"/>
                <a:gd name="connsiteY12" fmla="*/ 1564 h 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00" h="7748">
                  <a:moveTo>
                    <a:pt x="1150" y="1564"/>
                  </a:moveTo>
                  <a:lnTo>
                    <a:pt x="-1488" y="5169"/>
                  </a:lnTo>
                  <a:lnTo>
                    <a:pt x="-1432" y="5542"/>
                  </a:lnTo>
                  <a:lnTo>
                    <a:pt x="-1046" y="5500"/>
                  </a:lnTo>
                  <a:lnTo>
                    <a:pt x="1406" y="2123"/>
                  </a:lnTo>
                  <a:lnTo>
                    <a:pt x="3871" y="5500"/>
                  </a:lnTo>
                  <a:lnTo>
                    <a:pt x="4251" y="5542"/>
                  </a:lnTo>
                  <a:lnTo>
                    <a:pt x="4313" y="5169"/>
                  </a:lnTo>
                  <a:lnTo>
                    <a:pt x="1689" y="1585"/>
                  </a:lnTo>
                  <a:lnTo>
                    <a:pt x="1689" y="-1937"/>
                  </a:lnTo>
                  <a:lnTo>
                    <a:pt x="1420" y="-2206"/>
                  </a:lnTo>
                  <a:lnTo>
                    <a:pt x="1150" y="-1937"/>
                  </a:lnTo>
                  <a:lnTo>
                    <a:pt x="1150" y="156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7AAA0BE5-0F1C-BE05-2474-7026F50BDBEA}"/>
                </a:ext>
              </a:extLst>
            </p:cNvPr>
            <p:cNvSpPr/>
            <p:nvPr/>
          </p:nvSpPr>
          <p:spPr>
            <a:xfrm flipV="1">
              <a:off x="7659304" y="3069254"/>
              <a:ext cx="6594" cy="7775"/>
            </a:xfrm>
            <a:custGeom>
              <a:avLst/>
              <a:gdLst>
                <a:gd name="connsiteX0" fmla="*/ 4492 w 6594"/>
                <a:gd name="connsiteY0" fmla="*/ 4526 h 7775"/>
                <a:gd name="connsiteX1" fmla="*/ 1979 w 6594"/>
                <a:gd name="connsiteY1" fmla="*/ 1039 h 7775"/>
                <a:gd name="connsiteX2" fmla="*/ 1758 w 6594"/>
                <a:gd name="connsiteY2" fmla="*/ 915 h 7775"/>
                <a:gd name="connsiteX3" fmla="*/ 1730 w 6594"/>
                <a:gd name="connsiteY3" fmla="*/ 915 h 7775"/>
                <a:gd name="connsiteX4" fmla="*/ 1502 w 6594"/>
                <a:gd name="connsiteY4" fmla="*/ 1039 h 7775"/>
                <a:gd name="connsiteX5" fmla="*/ -1011 w 6594"/>
                <a:gd name="connsiteY5" fmla="*/ 4520 h 7775"/>
                <a:gd name="connsiteX6" fmla="*/ -1011 w 6594"/>
                <a:gd name="connsiteY6" fmla="*/ -1937 h 7775"/>
                <a:gd name="connsiteX7" fmla="*/ -1281 w 6594"/>
                <a:gd name="connsiteY7" fmla="*/ -2206 h 7775"/>
                <a:gd name="connsiteX8" fmla="*/ -1564 w 6594"/>
                <a:gd name="connsiteY8" fmla="*/ -1937 h 7775"/>
                <a:gd name="connsiteX9" fmla="*/ -1564 w 6594"/>
                <a:gd name="connsiteY9" fmla="*/ 5334 h 7775"/>
                <a:gd name="connsiteX10" fmla="*/ -1453 w 6594"/>
                <a:gd name="connsiteY10" fmla="*/ 5542 h 7775"/>
                <a:gd name="connsiteX11" fmla="*/ -1426 w 6594"/>
                <a:gd name="connsiteY11" fmla="*/ 5569 h 7775"/>
                <a:gd name="connsiteX12" fmla="*/ -1053 w 6594"/>
                <a:gd name="connsiteY12" fmla="*/ 5500 h 7775"/>
                <a:gd name="connsiteX13" fmla="*/ 1744 w 6594"/>
                <a:gd name="connsiteY13" fmla="*/ 1633 h 7775"/>
                <a:gd name="connsiteX14" fmla="*/ 4520 w 6594"/>
                <a:gd name="connsiteY14" fmla="*/ 5500 h 7775"/>
                <a:gd name="connsiteX15" fmla="*/ 4907 w 6594"/>
                <a:gd name="connsiteY15" fmla="*/ 5569 h 7775"/>
                <a:gd name="connsiteX16" fmla="*/ 4983 w 6594"/>
                <a:gd name="connsiteY16" fmla="*/ 5479 h 7775"/>
                <a:gd name="connsiteX17" fmla="*/ 5031 w 6594"/>
                <a:gd name="connsiteY17" fmla="*/ 5334 h 7775"/>
                <a:gd name="connsiteX18" fmla="*/ 5031 w 6594"/>
                <a:gd name="connsiteY18" fmla="*/ -1937 h 7775"/>
                <a:gd name="connsiteX19" fmla="*/ 4762 w 6594"/>
                <a:gd name="connsiteY19" fmla="*/ -2206 h 7775"/>
                <a:gd name="connsiteX20" fmla="*/ 4492 w 6594"/>
                <a:gd name="connsiteY20" fmla="*/ -1937 h 7775"/>
                <a:gd name="connsiteX21" fmla="*/ 4492 w 6594"/>
                <a:gd name="connsiteY21" fmla="*/ 4526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94" h="7775">
                  <a:moveTo>
                    <a:pt x="4492" y="4526"/>
                  </a:moveTo>
                  <a:lnTo>
                    <a:pt x="1979" y="1039"/>
                  </a:lnTo>
                  <a:lnTo>
                    <a:pt x="1758" y="915"/>
                  </a:lnTo>
                  <a:lnTo>
                    <a:pt x="1730" y="915"/>
                  </a:lnTo>
                  <a:lnTo>
                    <a:pt x="1502" y="1039"/>
                  </a:lnTo>
                  <a:lnTo>
                    <a:pt x="-1011" y="4520"/>
                  </a:lnTo>
                  <a:lnTo>
                    <a:pt x="-1011" y="-1937"/>
                  </a:lnTo>
                  <a:lnTo>
                    <a:pt x="-1281" y="-2206"/>
                  </a:lnTo>
                  <a:lnTo>
                    <a:pt x="-1564" y="-1937"/>
                  </a:lnTo>
                  <a:lnTo>
                    <a:pt x="-1564" y="5334"/>
                  </a:lnTo>
                  <a:lnTo>
                    <a:pt x="-1453" y="5542"/>
                  </a:lnTo>
                  <a:lnTo>
                    <a:pt x="-1426" y="5569"/>
                  </a:lnTo>
                  <a:lnTo>
                    <a:pt x="-1053" y="5500"/>
                  </a:lnTo>
                  <a:lnTo>
                    <a:pt x="1744" y="1633"/>
                  </a:lnTo>
                  <a:lnTo>
                    <a:pt x="4520" y="5500"/>
                  </a:lnTo>
                  <a:lnTo>
                    <a:pt x="4907" y="5569"/>
                  </a:lnTo>
                  <a:lnTo>
                    <a:pt x="4983" y="5479"/>
                  </a:lnTo>
                  <a:lnTo>
                    <a:pt x="5031" y="5334"/>
                  </a:lnTo>
                  <a:lnTo>
                    <a:pt x="5031" y="-1937"/>
                  </a:lnTo>
                  <a:lnTo>
                    <a:pt x="4762" y="-2206"/>
                  </a:lnTo>
                  <a:lnTo>
                    <a:pt x="4492" y="-1937"/>
                  </a:lnTo>
                  <a:lnTo>
                    <a:pt x="4492" y="452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1E260A9F-5C4D-FABB-271F-E9955FAC616B}"/>
                </a:ext>
              </a:extLst>
            </p:cNvPr>
            <p:cNvSpPr/>
            <p:nvPr/>
          </p:nvSpPr>
          <p:spPr>
            <a:xfrm flipV="1">
              <a:off x="7667529" y="3069213"/>
              <a:ext cx="5986" cy="7817"/>
            </a:xfrm>
            <a:custGeom>
              <a:avLst/>
              <a:gdLst>
                <a:gd name="connsiteX0" fmla="*/ -158 w 5986"/>
                <a:gd name="connsiteY0" fmla="*/ 376 h 7817"/>
                <a:gd name="connsiteX1" fmla="*/ 3012 w 5986"/>
                <a:gd name="connsiteY1" fmla="*/ 376 h 7817"/>
                <a:gd name="connsiteX2" fmla="*/ 1430 w 5986"/>
                <a:gd name="connsiteY2" fmla="*/ 4596 h 7817"/>
                <a:gd name="connsiteX3" fmla="*/ 3212 w 5986"/>
                <a:gd name="connsiteY3" fmla="*/ -176 h 7817"/>
                <a:gd name="connsiteX4" fmla="*/ -365 w 5986"/>
                <a:gd name="connsiteY4" fmla="*/ -176 h 7817"/>
                <a:gd name="connsiteX5" fmla="*/ -1056 w 5986"/>
                <a:gd name="connsiteY5" fmla="*/ -2020 h 7817"/>
                <a:gd name="connsiteX6" fmla="*/ -1318 w 5986"/>
                <a:gd name="connsiteY6" fmla="*/ -2206 h 7817"/>
                <a:gd name="connsiteX7" fmla="*/ -1415 w 5986"/>
                <a:gd name="connsiteY7" fmla="*/ -2193 h 7817"/>
                <a:gd name="connsiteX8" fmla="*/ -1574 w 5986"/>
                <a:gd name="connsiteY8" fmla="*/ -1834 h 7817"/>
                <a:gd name="connsiteX9" fmla="*/ 1154 w 5986"/>
                <a:gd name="connsiteY9" fmla="*/ 5445 h 7817"/>
                <a:gd name="connsiteX10" fmla="*/ 1423 w 5986"/>
                <a:gd name="connsiteY10" fmla="*/ 5611 h 7817"/>
                <a:gd name="connsiteX11" fmla="*/ 1693 w 5986"/>
                <a:gd name="connsiteY11" fmla="*/ 5445 h 7817"/>
                <a:gd name="connsiteX12" fmla="*/ 4413 w 5986"/>
                <a:gd name="connsiteY12" fmla="*/ -1834 h 7817"/>
                <a:gd name="connsiteX13" fmla="*/ 4268 w 5986"/>
                <a:gd name="connsiteY13" fmla="*/ -2193 h 7817"/>
                <a:gd name="connsiteX14" fmla="*/ 4165 w 5986"/>
                <a:gd name="connsiteY14" fmla="*/ -2206 h 7817"/>
                <a:gd name="connsiteX15" fmla="*/ 3909 w 5986"/>
                <a:gd name="connsiteY15" fmla="*/ -2020 h 7817"/>
                <a:gd name="connsiteX16" fmla="*/ 3212 w 5986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86" h="7817">
                  <a:moveTo>
                    <a:pt x="-158" y="376"/>
                  </a:moveTo>
                  <a:lnTo>
                    <a:pt x="3012" y="376"/>
                  </a:lnTo>
                  <a:lnTo>
                    <a:pt x="1430" y="4596"/>
                  </a:lnTo>
                  <a:close/>
                  <a:moveTo>
                    <a:pt x="3212" y="-176"/>
                  </a:moveTo>
                  <a:lnTo>
                    <a:pt x="-365" y="-176"/>
                  </a:lnTo>
                  <a:lnTo>
                    <a:pt x="-1056" y="-2020"/>
                  </a:lnTo>
                  <a:lnTo>
                    <a:pt x="-1318" y="-2206"/>
                  </a:lnTo>
                  <a:lnTo>
                    <a:pt x="-1415" y="-2193"/>
                  </a:lnTo>
                  <a:lnTo>
                    <a:pt x="-1574" y="-1834"/>
                  </a:lnTo>
                  <a:lnTo>
                    <a:pt x="1154" y="5445"/>
                  </a:lnTo>
                  <a:lnTo>
                    <a:pt x="1423" y="5611"/>
                  </a:lnTo>
                  <a:lnTo>
                    <a:pt x="1693" y="5445"/>
                  </a:lnTo>
                  <a:lnTo>
                    <a:pt x="4413" y="-1834"/>
                  </a:lnTo>
                  <a:lnTo>
                    <a:pt x="4268" y="-2193"/>
                  </a:lnTo>
                  <a:lnTo>
                    <a:pt x="4165" y="-2206"/>
                  </a:lnTo>
                  <a:lnTo>
                    <a:pt x="3909" y="-2020"/>
                  </a:lnTo>
                  <a:lnTo>
                    <a:pt x="3212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413D12DF-6842-CC73-DA46-92666A0F8107}"/>
                </a:ext>
              </a:extLst>
            </p:cNvPr>
            <p:cNvSpPr/>
            <p:nvPr/>
          </p:nvSpPr>
          <p:spPr>
            <a:xfrm flipV="1">
              <a:off x="7675097" y="3069178"/>
              <a:ext cx="5110" cy="7851"/>
            </a:xfrm>
            <a:custGeom>
              <a:avLst/>
              <a:gdLst>
                <a:gd name="connsiteX0" fmla="*/ 903 w 5110"/>
                <a:gd name="connsiteY0" fmla="*/ 5100 h 7851"/>
                <a:gd name="connsiteX1" fmla="*/ -1037 w 5110"/>
                <a:gd name="connsiteY1" fmla="*/ 5100 h 7851"/>
                <a:gd name="connsiteX2" fmla="*/ -1037 w 5110"/>
                <a:gd name="connsiteY2" fmla="*/ 1709 h 7851"/>
                <a:gd name="connsiteX3" fmla="*/ 945 w 5110"/>
                <a:gd name="connsiteY3" fmla="*/ 1709 h 7851"/>
                <a:gd name="connsiteX4" fmla="*/ 2595 w 5110"/>
                <a:gd name="connsiteY4" fmla="*/ 3401 h 7851"/>
                <a:gd name="connsiteX5" fmla="*/ 903 w 5110"/>
                <a:gd name="connsiteY5" fmla="*/ 5100 h 7851"/>
                <a:gd name="connsiteX6" fmla="*/ 2478 w 5110"/>
                <a:gd name="connsiteY6" fmla="*/ -432 h 7851"/>
                <a:gd name="connsiteX7" fmla="*/ 1836 w 5110"/>
                <a:gd name="connsiteY7" fmla="*/ 756 h 7851"/>
                <a:gd name="connsiteX8" fmla="*/ 924 w 5110"/>
                <a:gd name="connsiteY8" fmla="*/ 1150 h 7851"/>
                <a:gd name="connsiteX9" fmla="*/ 869 w 5110"/>
                <a:gd name="connsiteY9" fmla="*/ 1170 h 7851"/>
                <a:gd name="connsiteX10" fmla="*/ -1037 w 5110"/>
                <a:gd name="connsiteY10" fmla="*/ 1170 h 7851"/>
                <a:gd name="connsiteX11" fmla="*/ -1037 w 5110"/>
                <a:gd name="connsiteY11" fmla="*/ -1937 h 7851"/>
                <a:gd name="connsiteX12" fmla="*/ -1313 w 5110"/>
                <a:gd name="connsiteY12" fmla="*/ -2206 h 7851"/>
                <a:gd name="connsiteX13" fmla="*/ -1583 w 5110"/>
                <a:gd name="connsiteY13" fmla="*/ -1937 h 7851"/>
                <a:gd name="connsiteX14" fmla="*/ -1583 w 5110"/>
                <a:gd name="connsiteY14" fmla="*/ 5383 h 7851"/>
                <a:gd name="connsiteX15" fmla="*/ -1341 w 5110"/>
                <a:gd name="connsiteY15" fmla="*/ 5645 h 7851"/>
                <a:gd name="connsiteX16" fmla="*/ -1313 w 5110"/>
                <a:gd name="connsiteY16" fmla="*/ 5645 h 7851"/>
                <a:gd name="connsiteX17" fmla="*/ -1286 w 5110"/>
                <a:gd name="connsiteY17" fmla="*/ 5645 h 7851"/>
                <a:gd name="connsiteX18" fmla="*/ 903 w 5110"/>
                <a:gd name="connsiteY18" fmla="*/ 5645 h 7851"/>
                <a:gd name="connsiteX19" fmla="*/ 3134 w 5110"/>
                <a:gd name="connsiteY19" fmla="*/ 3401 h 7851"/>
                <a:gd name="connsiteX20" fmla="*/ 1842 w 5110"/>
                <a:gd name="connsiteY20" fmla="*/ 1371 h 7851"/>
                <a:gd name="connsiteX21" fmla="*/ 1953 w 5110"/>
                <a:gd name="connsiteY21" fmla="*/ 1322 h 7851"/>
                <a:gd name="connsiteX22" fmla="*/ 3010 w 5110"/>
                <a:gd name="connsiteY22" fmla="*/ -432 h 7851"/>
                <a:gd name="connsiteX23" fmla="*/ 3113 w 5110"/>
                <a:gd name="connsiteY23" fmla="*/ -1343 h 7851"/>
                <a:gd name="connsiteX24" fmla="*/ 3224 w 5110"/>
                <a:gd name="connsiteY24" fmla="*/ -1530 h 7851"/>
                <a:gd name="connsiteX25" fmla="*/ 3527 w 5110"/>
                <a:gd name="connsiteY25" fmla="*/ -1709 h 7851"/>
                <a:gd name="connsiteX26" fmla="*/ 3348 w 5110"/>
                <a:gd name="connsiteY26" fmla="*/ -2068 h 7851"/>
                <a:gd name="connsiteX27" fmla="*/ 3217 w 5110"/>
                <a:gd name="connsiteY27" fmla="*/ -2082 h 7851"/>
                <a:gd name="connsiteX28" fmla="*/ 3196 w 5110"/>
                <a:gd name="connsiteY28" fmla="*/ -2082 h 7851"/>
                <a:gd name="connsiteX29" fmla="*/ 2685 w 5110"/>
                <a:gd name="connsiteY29" fmla="*/ -1716 h 7851"/>
                <a:gd name="connsiteX30" fmla="*/ 2478 w 5110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10" h="7851">
                  <a:moveTo>
                    <a:pt x="903" y="5100"/>
                  </a:moveTo>
                  <a:lnTo>
                    <a:pt x="-1037" y="5100"/>
                  </a:lnTo>
                  <a:lnTo>
                    <a:pt x="-1037" y="1709"/>
                  </a:lnTo>
                  <a:lnTo>
                    <a:pt x="945" y="1709"/>
                  </a:lnTo>
                  <a:cubicBezTo>
                    <a:pt x="1856" y="1737"/>
                    <a:pt x="2595" y="2482"/>
                    <a:pt x="2595" y="3401"/>
                  </a:cubicBezTo>
                  <a:cubicBezTo>
                    <a:pt x="2595" y="4347"/>
                    <a:pt x="1836" y="5100"/>
                    <a:pt x="903" y="5100"/>
                  </a:cubicBezTo>
                  <a:close/>
                  <a:moveTo>
                    <a:pt x="2478" y="-432"/>
                  </a:moveTo>
                  <a:lnTo>
                    <a:pt x="1836" y="756"/>
                  </a:lnTo>
                  <a:lnTo>
                    <a:pt x="924" y="1150"/>
                  </a:lnTo>
                  <a:lnTo>
                    <a:pt x="869" y="1170"/>
                  </a:lnTo>
                  <a:lnTo>
                    <a:pt x="-1037" y="1170"/>
                  </a:lnTo>
                  <a:lnTo>
                    <a:pt x="-1037" y="-1937"/>
                  </a:lnTo>
                  <a:lnTo>
                    <a:pt x="-1313" y="-2206"/>
                  </a:lnTo>
                  <a:lnTo>
                    <a:pt x="-1583" y="-1937"/>
                  </a:lnTo>
                  <a:lnTo>
                    <a:pt x="-1583" y="5383"/>
                  </a:lnTo>
                  <a:lnTo>
                    <a:pt x="-1341" y="5645"/>
                  </a:lnTo>
                  <a:lnTo>
                    <a:pt x="-1313" y="5645"/>
                  </a:lnTo>
                  <a:lnTo>
                    <a:pt x="-1286" y="5645"/>
                  </a:lnTo>
                  <a:lnTo>
                    <a:pt x="903" y="5645"/>
                  </a:lnTo>
                  <a:cubicBezTo>
                    <a:pt x="2139" y="5645"/>
                    <a:pt x="3134" y="4651"/>
                    <a:pt x="3134" y="3401"/>
                  </a:cubicBezTo>
                  <a:cubicBezTo>
                    <a:pt x="3134" y="2510"/>
                    <a:pt x="2609" y="1737"/>
                    <a:pt x="1842" y="1371"/>
                  </a:cubicBezTo>
                  <a:lnTo>
                    <a:pt x="1953" y="1322"/>
                  </a:lnTo>
                  <a:cubicBezTo>
                    <a:pt x="2478" y="1025"/>
                    <a:pt x="3010" y="459"/>
                    <a:pt x="3010" y="-432"/>
                  </a:cubicBezTo>
                  <a:lnTo>
                    <a:pt x="3113" y="-1343"/>
                  </a:lnTo>
                  <a:lnTo>
                    <a:pt x="3224" y="-1530"/>
                  </a:lnTo>
                  <a:lnTo>
                    <a:pt x="3527" y="-1709"/>
                  </a:lnTo>
                  <a:lnTo>
                    <a:pt x="3348" y="-2068"/>
                  </a:lnTo>
                  <a:lnTo>
                    <a:pt x="3217" y="-2082"/>
                  </a:lnTo>
                  <a:lnTo>
                    <a:pt x="3196" y="-2082"/>
                  </a:lnTo>
                  <a:lnTo>
                    <a:pt x="2685" y="-1716"/>
                  </a:lnTo>
                  <a:cubicBezTo>
                    <a:pt x="2554" y="-1461"/>
                    <a:pt x="2478" y="-1095"/>
                    <a:pt x="2478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4225AD96-8FDA-ED3A-2003-D660F18C5E54}"/>
                </a:ext>
              </a:extLst>
            </p:cNvPr>
            <p:cNvSpPr/>
            <p:nvPr/>
          </p:nvSpPr>
          <p:spPr>
            <a:xfrm flipV="1">
              <a:off x="7681899" y="3069061"/>
              <a:ext cx="6656" cy="7968"/>
            </a:xfrm>
            <a:custGeom>
              <a:avLst/>
              <a:gdLst>
                <a:gd name="connsiteX0" fmla="*/ 2489 w 6656"/>
                <a:gd name="connsiteY0" fmla="*/ 5762 h 7968"/>
                <a:gd name="connsiteX1" fmla="*/ 5023 w 6656"/>
                <a:gd name="connsiteY1" fmla="*/ 4899 h 7968"/>
                <a:gd name="connsiteX2" fmla="*/ 5065 w 6656"/>
                <a:gd name="connsiteY2" fmla="*/ 4506 h 7968"/>
                <a:gd name="connsiteX3" fmla="*/ 4685 w 6656"/>
                <a:gd name="connsiteY3" fmla="*/ 4450 h 7968"/>
                <a:gd name="connsiteX4" fmla="*/ 2489 w 6656"/>
                <a:gd name="connsiteY4" fmla="*/ 5210 h 7968"/>
                <a:gd name="connsiteX5" fmla="*/ -1040 w 6656"/>
                <a:gd name="connsiteY5" fmla="*/ 1757 h 7968"/>
                <a:gd name="connsiteX6" fmla="*/ 2489 w 6656"/>
                <a:gd name="connsiteY6" fmla="*/ -1654 h 7968"/>
                <a:gd name="connsiteX7" fmla="*/ 4664 w 6656"/>
                <a:gd name="connsiteY7" fmla="*/ -894 h 7968"/>
                <a:gd name="connsiteX8" fmla="*/ 5058 w 6656"/>
                <a:gd name="connsiteY8" fmla="*/ -957 h 7968"/>
                <a:gd name="connsiteX9" fmla="*/ 5023 w 6656"/>
                <a:gd name="connsiteY9" fmla="*/ -1350 h 7968"/>
                <a:gd name="connsiteX10" fmla="*/ 2489 w 6656"/>
                <a:gd name="connsiteY10" fmla="*/ -2207 h 7968"/>
                <a:gd name="connsiteX11" fmla="*/ -1592 w 6656"/>
                <a:gd name="connsiteY11" fmla="*/ 1757 h 7968"/>
                <a:gd name="connsiteX12" fmla="*/ 2489 w 6656"/>
                <a:gd name="connsiteY12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56" h="7968">
                  <a:moveTo>
                    <a:pt x="2489" y="5762"/>
                  </a:moveTo>
                  <a:cubicBezTo>
                    <a:pt x="3456" y="5762"/>
                    <a:pt x="4340" y="5424"/>
                    <a:pt x="5023" y="4899"/>
                  </a:cubicBezTo>
                  <a:lnTo>
                    <a:pt x="5065" y="4506"/>
                  </a:lnTo>
                  <a:lnTo>
                    <a:pt x="4685" y="4450"/>
                  </a:lnTo>
                  <a:cubicBezTo>
                    <a:pt x="4077" y="4920"/>
                    <a:pt x="3318" y="5210"/>
                    <a:pt x="2489" y="5210"/>
                  </a:cubicBezTo>
                  <a:cubicBezTo>
                    <a:pt x="528" y="5210"/>
                    <a:pt x="-1040" y="3670"/>
                    <a:pt x="-1040" y="1757"/>
                  </a:cubicBezTo>
                  <a:cubicBezTo>
                    <a:pt x="-1040" y="-114"/>
                    <a:pt x="528" y="-1654"/>
                    <a:pt x="2489" y="-1654"/>
                  </a:cubicBezTo>
                  <a:cubicBezTo>
                    <a:pt x="3318" y="-1654"/>
                    <a:pt x="4077" y="-1385"/>
                    <a:pt x="4664" y="-894"/>
                  </a:cubicBezTo>
                  <a:lnTo>
                    <a:pt x="5058" y="-957"/>
                  </a:lnTo>
                  <a:lnTo>
                    <a:pt x="5023" y="-1350"/>
                  </a:lnTo>
                  <a:cubicBezTo>
                    <a:pt x="4340" y="-1875"/>
                    <a:pt x="3456" y="-2207"/>
                    <a:pt x="2489" y="-2207"/>
                  </a:cubicBezTo>
                  <a:cubicBezTo>
                    <a:pt x="238" y="-2207"/>
                    <a:pt x="-1592" y="-432"/>
                    <a:pt x="-1592" y="1757"/>
                  </a:cubicBezTo>
                  <a:cubicBezTo>
                    <a:pt x="-1592" y="3988"/>
                    <a:pt x="238" y="5749"/>
                    <a:pt x="2489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4A583E75-B3F2-9D82-68C8-14D89FAA946C}"/>
                </a:ext>
              </a:extLst>
            </p:cNvPr>
            <p:cNvSpPr/>
            <p:nvPr/>
          </p:nvSpPr>
          <p:spPr>
            <a:xfrm flipV="1">
              <a:off x="7690869" y="3069178"/>
              <a:ext cx="5144" cy="7851"/>
            </a:xfrm>
            <a:custGeom>
              <a:avLst/>
              <a:gdLst>
                <a:gd name="connsiteX0" fmla="*/ 2990 w 5144"/>
                <a:gd name="connsiteY0" fmla="*/ 1453 h 7851"/>
                <a:gd name="connsiteX1" fmla="*/ -1043 w 5144"/>
                <a:gd name="connsiteY1" fmla="*/ 1453 h 7851"/>
                <a:gd name="connsiteX2" fmla="*/ -1043 w 5144"/>
                <a:gd name="connsiteY2" fmla="*/ -1937 h 7851"/>
                <a:gd name="connsiteX3" fmla="*/ -1333 w 5144"/>
                <a:gd name="connsiteY3" fmla="*/ -2206 h 7851"/>
                <a:gd name="connsiteX4" fmla="*/ -1602 w 5144"/>
                <a:gd name="connsiteY4" fmla="*/ -1937 h 7851"/>
                <a:gd name="connsiteX5" fmla="*/ -1602 w 5144"/>
                <a:gd name="connsiteY5" fmla="*/ 5383 h 7851"/>
                <a:gd name="connsiteX6" fmla="*/ -1333 w 5144"/>
                <a:gd name="connsiteY6" fmla="*/ 5645 h 7851"/>
                <a:gd name="connsiteX7" fmla="*/ -1043 w 5144"/>
                <a:gd name="connsiteY7" fmla="*/ 5383 h 7851"/>
                <a:gd name="connsiteX8" fmla="*/ -1043 w 5144"/>
                <a:gd name="connsiteY8" fmla="*/ 1992 h 7851"/>
                <a:gd name="connsiteX9" fmla="*/ 2990 w 5144"/>
                <a:gd name="connsiteY9" fmla="*/ 1992 h 7851"/>
                <a:gd name="connsiteX10" fmla="*/ 2990 w 5144"/>
                <a:gd name="connsiteY10" fmla="*/ 5383 h 7851"/>
                <a:gd name="connsiteX11" fmla="*/ 3259 w 5144"/>
                <a:gd name="connsiteY11" fmla="*/ 5645 h 7851"/>
                <a:gd name="connsiteX12" fmla="*/ 3542 w 5144"/>
                <a:gd name="connsiteY12" fmla="*/ 5383 h 7851"/>
                <a:gd name="connsiteX13" fmla="*/ 3542 w 5144"/>
                <a:gd name="connsiteY13" fmla="*/ -1937 h 7851"/>
                <a:gd name="connsiteX14" fmla="*/ 3259 w 5144"/>
                <a:gd name="connsiteY14" fmla="*/ -2206 h 7851"/>
                <a:gd name="connsiteX15" fmla="*/ 2990 w 5144"/>
                <a:gd name="connsiteY15" fmla="*/ -1937 h 7851"/>
                <a:gd name="connsiteX16" fmla="*/ 2990 w 5144"/>
                <a:gd name="connsiteY16" fmla="*/ 145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44" h="7851">
                  <a:moveTo>
                    <a:pt x="2990" y="1453"/>
                  </a:moveTo>
                  <a:lnTo>
                    <a:pt x="-1043" y="1453"/>
                  </a:lnTo>
                  <a:lnTo>
                    <a:pt x="-1043" y="-1937"/>
                  </a:lnTo>
                  <a:lnTo>
                    <a:pt x="-1333" y="-2206"/>
                  </a:lnTo>
                  <a:lnTo>
                    <a:pt x="-1602" y="-1937"/>
                  </a:lnTo>
                  <a:lnTo>
                    <a:pt x="-1602" y="5383"/>
                  </a:lnTo>
                  <a:lnTo>
                    <a:pt x="-1333" y="5645"/>
                  </a:lnTo>
                  <a:lnTo>
                    <a:pt x="-1043" y="5383"/>
                  </a:lnTo>
                  <a:lnTo>
                    <a:pt x="-1043" y="1992"/>
                  </a:lnTo>
                  <a:lnTo>
                    <a:pt x="2990" y="1992"/>
                  </a:lnTo>
                  <a:lnTo>
                    <a:pt x="2990" y="5383"/>
                  </a:lnTo>
                  <a:lnTo>
                    <a:pt x="3259" y="5645"/>
                  </a:lnTo>
                  <a:lnTo>
                    <a:pt x="3542" y="5383"/>
                  </a:lnTo>
                  <a:lnTo>
                    <a:pt x="3542" y="-1937"/>
                  </a:lnTo>
                  <a:lnTo>
                    <a:pt x="3259" y="-2206"/>
                  </a:lnTo>
                  <a:lnTo>
                    <a:pt x="2990" y="-1937"/>
                  </a:lnTo>
                  <a:lnTo>
                    <a:pt x="2990" y="145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63FD7553-1D4F-A903-28C4-E99D987FA148}"/>
                </a:ext>
              </a:extLst>
            </p:cNvPr>
            <p:cNvSpPr/>
            <p:nvPr/>
          </p:nvSpPr>
          <p:spPr>
            <a:xfrm flipV="1">
              <a:off x="7763950" y="3069213"/>
              <a:ext cx="5993" cy="7817"/>
            </a:xfrm>
            <a:custGeom>
              <a:avLst/>
              <a:gdLst>
                <a:gd name="connsiteX0" fmla="*/ -279 w 5993"/>
                <a:gd name="connsiteY0" fmla="*/ 376 h 7817"/>
                <a:gd name="connsiteX1" fmla="*/ 2897 w 5993"/>
                <a:gd name="connsiteY1" fmla="*/ 376 h 7817"/>
                <a:gd name="connsiteX2" fmla="*/ 1309 w 5993"/>
                <a:gd name="connsiteY2" fmla="*/ 4596 h 7817"/>
                <a:gd name="connsiteX3" fmla="*/ 3098 w 5993"/>
                <a:gd name="connsiteY3" fmla="*/ -176 h 7817"/>
                <a:gd name="connsiteX4" fmla="*/ -479 w 5993"/>
                <a:gd name="connsiteY4" fmla="*/ -176 h 7817"/>
                <a:gd name="connsiteX5" fmla="*/ -1177 w 5993"/>
                <a:gd name="connsiteY5" fmla="*/ -2020 h 7817"/>
                <a:gd name="connsiteX6" fmla="*/ -1432 w 5993"/>
                <a:gd name="connsiteY6" fmla="*/ -2206 h 7817"/>
                <a:gd name="connsiteX7" fmla="*/ -1536 w 5993"/>
                <a:gd name="connsiteY7" fmla="*/ -2193 h 7817"/>
                <a:gd name="connsiteX8" fmla="*/ -1695 w 5993"/>
                <a:gd name="connsiteY8" fmla="*/ -1834 h 7817"/>
                <a:gd name="connsiteX9" fmla="*/ 1033 w 5993"/>
                <a:gd name="connsiteY9" fmla="*/ 5445 h 7817"/>
                <a:gd name="connsiteX10" fmla="*/ 1302 w 5993"/>
                <a:gd name="connsiteY10" fmla="*/ 5611 h 7817"/>
                <a:gd name="connsiteX11" fmla="*/ 1572 w 5993"/>
                <a:gd name="connsiteY11" fmla="*/ 5445 h 7817"/>
                <a:gd name="connsiteX12" fmla="*/ 4299 w 5993"/>
                <a:gd name="connsiteY12" fmla="*/ -1834 h 7817"/>
                <a:gd name="connsiteX13" fmla="*/ 4147 w 5993"/>
                <a:gd name="connsiteY13" fmla="*/ -2193 h 7817"/>
                <a:gd name="connsiteX14" fmla="*/ 4044 w 5993"/>
                <a:gd name="connsiteY14" fmla="*/ -2206 h 7817"/>
                <a:gd name="connsiteX15" fmla="*/ 3788 w 5993"/>
                <a:gd name="connsiteY15" fmla="*/ -2020 h 7817"/>
                <a:gd name="connsiteX16" fmla="*/ 3098 w 5993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93" h="7817">
                  <a:moveTo>
                    <a:pt x="-279" y="376"/>
                  </a:moveTo>
                  <a:lnTo>
                    <a:pt x="2897" y="376"/>
                  </a:lnTo>
                  <a:lnTo>
                    <a:pt x="1309" y="4596"/>
                  </a:lnTo>
                  <a:close/>
                  <a:moveTo>
                    <a:pt x="3098" y="-176"/>
                  </a:moveTo>
                  <a:lnTo>
                    <a:pt x="-479" y="-176"/>
                  </a:lnTo>
                  <a:lnTo>
                    <a:pt x="-1177" y="-2020"/>
                  </a:lnTo>
                  <a:lnTo>
                    <a:pt x="-1432" y="-2206"/>
                  </a:lnTo>
                  <a:lnTo>
                    <a:pt x="-1536" y="-2193"/>
                  </a:lnTo>
                  <a:lnTo>
                    <a:pt x="-1695" y="-1834"/>
                  </a:lnTo>
                  <a:lnTo>
                    <a:pt x="1033" y="5445"/>
                  </a:lnTo>
                  <a:lnTo>
                    <a:pt x="1302" y="5611"/>
                  </a:lnTo>
                  <a:lnTo>
                    <a:pt x="1572" y="5445"/>
                  </a:lnTo>
                  <a:lnTo>
                    <a:pt x="4299" y="-1834"/>
                  </a:lnTo>
                  <a:lnTo>
                    <a:pt x="4147" y="-2193"/>
                  </a:lnTo>
                  <a:lnTo>
                    <a:pt x="4044" y="-2206"/>
                  </a:lnTo>
                  <a:lnTo>
                    <a:pt x="3788" y="-2020"/>
                  </a:lnTo>
                  <a:lnTo>
                    <a:pt x="3098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FF1E6DC4-490D-512C-EC43-6FD007F8C92C}"/>
                </a:ext>
              </a:extLst>
            </p:cNvPr>
            <p:cNvSpPr/>
            <p:nvPr/>
          </p:nvSpPr>
          <p:spPr>
            <a:xfrm flipV="1">
              <a:off x="7771677" y="3069178"/>
              <a:ext cx="4716" cy="7851"/>
            </a:xfrm>
            <a:custGeom>
              <a:avLst/>
              <a:gdLst>
                <a:gd name="connsiteX0" fmla="*/ 782 w 4716"/>
                <a:gd name="connsiteY0" fmla="*/ 1702 h 7851"/>
                <a:gd name="connsiteX1" fmla="*/ 2481 w 4716"/>
                <a:gd name="connsiteY1" fmla="*/ 3401 h 7851"/>
                <a:gd name="connsiteX2" fmla="*/ 782 w 4716"/>
                <a:gd name="connsiteY2" fmla="*/ 5100 h 7851"/>
                <a:gd name="connsiteX3" fmla="*/ -1158 w 4716"/>
                <a:gd name="connsiteY3" fmla="*/ 5100 h 7851"/>
                <a:gd name="connsiteX4" fmla="*/ -1158 w 4716"/>
                <a:gd name="connsiteY4" fmla="*/ 1702 h 7851"/>
                <a:gd name="connsiteX5" fmla="*/ -1704 w 4716"/>
                <a:gd name="connsiteY5" fmla="*/ 5383 h 7851"/>
                <a:gd name="connsiteX6" fmla="*/ -1434 w 4716"/>
                <a:gd name="connsiteY6" fmla="*/ 5645 h 7851"/>
                <a:gd name="connsiteX7" fmla="*/ 782 w 4716"/>
                <a:gd name="connsiteY7" fmla="*/ 5645 h 7851"/>
                <a:gd name="connsiteX8" fmla="*/ 3013 w 4716"/>
                <a:gd name="connsiteY8" fmla="*/ 3401 h 7851"/>
                <a:gd name="connsiteX9" fmla="*/ 782 w 4716"/>
                <a:gd name="connsiteY9" fmla="*/ 1170 h 7851"/>
                <a:gd name="connsiteX10" fmla="*/ -1158 w 4716"/>
                <a:gd name="connsiteY10" fmla="*/ 1150 h 7851"/>
                <a:gd name="connsiteX11" fmla="*/ -1158 w 4716"/>
                <a:gd name="connsiteY11" fmla="*/ -1937 h 7851"/>
                <a:gd name="connsiteX12" fmla="*/ -1434 w 4716"/>
                <a:gd name="connsiteY12" fmla="*/ -2206 h 7851"/>
                <a:gd name="connsiteX13" fmla="*/ -1704 w 4716"/>
                <a:gd name="connsiteY13" fmla="*/ -1937 h 7851"/>
                <a:gd name="connsiteX14" fmla="*/ -1704 w 4716"/>
                <a:gd name="connsiteY14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716" h="7851">
                  <a:moveTo>
                    <a:pt x="782" y="1702"/>
                  </a:moveTo>
                  <a:cubicBezTo>
                    <a:pt x="1715" y="1709"/>
                    <a:pt x="2481" y="2475"/>
                    <a:pt x="2481" y="3401"/>
                  </a:cubicBezTo>
                  <a:cubicBezTo>
                    <a:pt x="2481" y="4333"/>
                    <a:pt x="1715" y="5100"/>
                    <a:pt x="782" y="5100"/>
                  </a:cubicBezTo>
                  <a:lnTo>
                    <a:pt x="-1158" y="5100"/>
                  </a:lnTo>
                  <a:lnTo>
                    <a:pt x="-1158" y="1702"/>
                  </a:lnTo>
                  <a:close/>
                  <a:moveTo>
                    <a:pt x="-1704" y="5383"/>
                  </a:moveTo>
                  <a:lnTo>
                    <a:pt x="-1434" y="5645"/>
                  </a:lnTo>
                  <a:lnTo>
                    <a:pt x="782" y="5645"/>
                  </a:lnTo>
                  <a:cubicBezTo>
                    <a:pt x="2019" y="5645"/>
                    <a:pt x="3013" y="4637"/>
                    <a:pt x="3013" y="3401"/>
                  </a:cubicBezTo>
                  <a:cubicBezTo>
                    <a:pt x="3013" y="2172"/>
                    <a:pt x="2019" y="1170"/>
                    <a:pt x="782" y="1170"/>
                  </a:cubicBezTo>
                  <a:lnTo>
                    <a:pt x="-1158" y="1150"/>
                  </a:lnTo>
                  <a:lnTo>
                    <a:pt x="-1158" y="-1937"/>
                  </a:lnTo>
                  <a:lnTo>
                    <a:pt x="-1434" y="-2206"/>
                  </a:lnTo>
                  <a:lnTo>
                    <a:pt x="-1704" y="-1937"/>
                  </a:lnTo>
                  <a:lnTo>
                    <a:pt x="-1704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44C321FC-329E-E536-3567-479CFEF072A3}"/>
                </a:ext>
              </a:extLst>
            </p:cNvPr>
            <p:cNvSpPr/>
            <p:nvPr/>
          </p:nvSpPr>
          <p:spPr>
            <a:xfrm flipV="1">
              <a:off x="7778037" y="3069178"/>
              <a:ext cx="5116" cy="7851"/>
            </a:xfrm>
            <a:custGeom>
              <a:avLst/>
              <a:gdLst>
                <a:gd name="connsiteX0" fmla="*/ 781 w 5116"/>
                <a:gd name="connsiteY0" fmla="*/ 5100 h 7851"/>
                <a:gd name="connsiteX1" fmla="*/ -1152 w 5116"/>
                <a:gd name="connsiteY1" fmla="*/ 5100 h 7851"/>
                <a:gd name="connsiteX2" fmla="*/ -1152 w 5116"/>
                <a:gd name="connsiteY2" fmla="*/ 1709 h 7851"/>
                <a:gd name="connsiteX3" fmla="*/ 829 w 5116"/>
                <a:gd name="connsiteY3" fmla="*/ 1709 h 7851"/>
                <a:gd name="connsiteX4" fmla="*/ 2473 w 5116"/>
                <a:gd name="connsiteY4" fmla="*/ 3401 h 7851"/>
                <a:gd name="connsiteX5" fmla="*/ 781 w 5116"/>
                <a:gd name="connsiteY5" fmla="*/ 5100 h 7851"/>
                <a:gd name="connsiteX6" fmla="*/ 2355 w 5116"/>
                <a:gd name="connsiteY6" fmla="*/ -432 h 7851"/>
                <a:gd name="connsiteX7" fmla="*/ 1713 w 5116"/>
                <a:gd name="connsiteY7" fmla="*/ 756 h 7851"/>
                <a:gd name="connsiteX8" fmla="*/ 802 w 5116"/>
                <a:gd name="connsiteY8" fmla="*/ 1150 h 7851"/>
                <a:gd name="connsiteX9" fmla="*/ 747 w 5116"/>
                <a:gd name="connsiteY9" fmla="*/ 1170 h 7851"/>
                <a:gd name="connsiteX10" fmla="*/ -1152 w 5116"/>
                <a:gd name="connsiteY10" fmla="*/ 1170 h 7851"/>
                <a:gd name="connsiteX11" fmla="*/ -1152 w 5116"/>
                <a:gd name="connsiteY11" fmla="*/ -1937 h 7851"/>
                <a:gd name="connsiteX12" fmla="*/ -1436 w 5116"/>
                <a:gd name="connsiteY12" fmla="*/ -2206 h 7851"/>
                <a:gd name="connsiteX13" fmla="*/ -1712 w 5116"/>
                <a:gd name="connsiteY13" fmla="*/ -1937 h 7851"/>
                <a:gd name="connsiteX14" fmla="*/ -1712 w 5116"/>
                <a:gd name="connsiteY14" fmla="*/ 5383 h 7851"/>
                <a:gd name="connsiteX15" fmla="*/ -1463 w 5116"/>
                <a:gd name="connsiteY15" fmla="*/ 5645 h 7851"/>
                <a:gd name="connsiteX16" fmla="*/ -1436 w 5116"/>
                <a:gd name="connsiteY16" fmla="*/ 5645 h 7851"/>
                <a:gd name="connsiteX17" fmla="*/ -1408 w 5116"/>
                <a:gd name="connsiteY17" fmla="*/ 5645 h 7851"/>
                <a:gd name="connsiteX18" fmla="*/ 781 w 5116"/>
                <a:gd name="connsiteY18" fmla="*/ 5645 h 7851"/>
                <a:gd name="connsiteX19" fmla="*/ 3018 w 5116"/>
                <a:gd name="connsiteY19" fmla="*/ 3401 h 7851"/>
                <a:gd name="connsiteX20" fmla="*/ 1727 w 5116"/>
                <a:gd name="connsiteY20" fmla="*/ 1371 h 7851"/>
                <a:gd name="connsiteX21" fmla="*/ 1838 w 5116"/>
                <a:gd name="connsiteY21" fmla="*/ 1322 h 7851"/>
                <a:gd name="connsiteX22" fmla="*/ 2887 w 5116"/>
                <a:gd name="connsiteY22" fmla="*/ -432 h 7851"/>
                <a:gd name="connsiteX23" fmla="*/ 2991 w 5116"/>
                <a:gd name="connsiteY23" fmla="*/ -1343 h 7851"/>
                <a:gd name="connsiteX24" fmla="*/ 3101 w 5116"/>
                <a:gd name="connsiteY24" fmla="*/ -1530 h 7851"/>
                <a:gd name="connsiteX25" fmla="*/ 3405 w 5116"/>
                <a:gd name="connsiteY25" fmla="*/ -1709 h 7851"/>
                <a:gd name="connsiteX26" fmla="*/ 3226 w 5116"/>
                <a:gd name="connsiteY26" fmla="*/ -2068 h 7851"/>
                <a:gd name="connsiteX27" fmla="*/ 3094 w 5116"/>
                <a:gd name="connsiteY27" fmla="*/ -2082 h 7851"/>
                <a:gd name="connsiteX28" fmla="*/ 3067 w 5116"/>
                <a:gd name="connsiteY28" fmla="*/ -2082 h 7851"/>
                <a:gd name="connsiteX29" fmla="*/ 2570 w 5116"/>
                <a:gd name="connsiteY29" fmla="*/ -1716 h 7851"/>
                <a:gd name="connsiteX30" fmla="*/ 2355 w 5116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16" h="7851">
                  <a:moveTo>
                    <a:pt x="781" y="5100"/>
                  </a:moveTo>
                  <a:lnTo>
                    <a:pt x="-1152" y="5100"/>
                  </a:lnTo>
                  <a:lnTo>
                    <a:pt x="-1152" y="1709"/>
                  </a:lnTo>
                  <a:lnTo>
                    <a:pt x="829" y="1709"/>
                  </a:lnTo>
                  <a:cubicBezTo>
                    <a:pt x="1734" y="1737"/>
                    <a:pt x="2473" y="2482"/>
                    <a:pt x="2473" y="3401"/>
                  </a:cubicBezTo>
                  <a:cubicBezTo>
                    <a:pt x="2473" y="4347"/>
                    <a:pt x="1713" y="5100"/>
                    <a:pt x="781" y="5100"/>
                  </a:cubicBezTo>
                  <a:close/>
                  <a:moveTo>
                    <a:pt x="2355" y="-432"/>
                  </a:moveTo>
                  <a:lnTo>
                    <a:pt x="1713" y="756"/>
                  </a:lnTo>
                  <a:lnTo>
                    <a:pt x="802" y="1150"/>
                  </a:lnTo>
                  <a:lnTo>
                    <a:pt x="747" y="1170"/>
                  </a:lnTo>
                  <a:lnTo>
                    <a:pt x="-1152" y="1170"/>
                  </a:lnTo>
                  <a:lnTo>
                    <a:pt x="-1152" y="-1937"/>
                  </a:lnTo>
                  <a:lnTo>
                    <a:pt x="-1436" y="-2206"/>
                  </a:lnTo>
                  <a:lnTo>
                    <a:pt x="-1712" y="-1937"/>
                  </a:lnTo>
                  <a:lnTo>
                    <a:pt x="-1712" y="5383"/>
                  </a:lnTo>
                  <a:lnTo>
                    <a:pt x="-1463" y="5645"/>
                  </a:lnTo>
                  <a:lnTo>
                    <a:pt x="-1436" y="5645"/>
                  </a:lnTo>
                  <a:lnTo>
                    <a:pt x="-1408" y="5645"/>
                  </a:lnTo>
                  <a:lnTo>
                    <a:pt x="781" y="5645"/>
                  </a:lnTo>
                  <a:cubicBezTo>
                    <a:pt x="2017" y="5645"/>
                    <a:pt x="3018" y="4651"/>
                    <a:pt x="3018" y="3401"/>
                  </a:cubicBezTo>
                  <a:cubicBezTo>
                    <a:pt x="3018" y="2510"/>
                    <a:pt x="2487" y="1737"/>
                    <a:pt x="1727" y="1371"/>
                  </a:cubicBezTo>
                  <a:lnTo>
                    <a:pt x="1838" y="1322"/>
                  </a:lnTo>
                  <a:cubicBezTo>
                    <a:pt x="2355" y="1025"/>
                    <a:pt x="2887" y="459"/>
                    <a:pt x="2887" y="-432"/>
                  </a:cubicBezTo>
                  <a:lnTo>
                    <a:pt x="2991" y="-1343"/>
                  </a:lnTo>
                  <a:lnTo>
                    <a:pt x="3101" y="-1530"/>
                  </a:lnTo>
                  <a:lnTo>
                    <a:pt x="3405" y="-1709"/>
                  </a:lnTo>
                  <a:lnTo>
                    <a:pt x="3226" y="-2068"/>
                  </a:lnTo>
                  <a:lnTo>
                    <a:pt x="3094" y="-2082"/>
                  </a:lnTo>
                  <a:lnTo>
                    <a:pt x="3067" y="-2082"/>
                  </a:lnTo>
                  <a:lnTo>
                    <a:pt x="2570" y="-1716"/>
                  </a:lnTo>
                  <a:cubicBezTo>
                    <a:pt x="2431" y="-1461"/>
                    <a:pt x="2355" y="-1095"/>
                    <a:pt x="2355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10C9821-3ACC-03A3-0B51-78A8452330E6}"/>
                </a:ext>
              </a:extLst>
            </p:cNvPr>
            <p:cNvSpPr/>
            <p:nvPr/>
          </p:nvSpPr>
          <p:spPr>
            <a:xfrm flipV="1">
              <a:off x="7785267" y="3069178"/>
              <a:ext cx="552" cy="7851"/>
            </a:xfrm>
            <a:custGeom>
              <a:avLst/>
              <a:gdLst>
                <a:gd name="connsiteX0" fmla="*/ -1718 w 552"/>
                <a:gd name="connsiteY0" fmla="*/ 5383 h 7851"/>
                <a:gd name="connsiteX1" fmla="*/ -1449 w 552"/>
                <a:gd name="connsiteY1" fmla="*/ 5645 h 7851"/>
                <a:gd name="connsiteX2" fmla="*/ -1166 w 552"/>
                <a:gd name="connsiteY2" fmla="*/ 5383 h 7851"/>
                <a:gd name="connsiteX3" fmla="*/ -1166 w 552"/>
                <a:gd name="connsiteY3" fmla="*/ -1937 h 7851"/>
                <a:gd name="connsiteX4" fmla="*/ -1449 w 552"/>
                <a:gd name="connsiteY4" fmla="*/ -2206 h 7851"/>
                <a:gd name="connsiteX5" fmla="*/ -1718 w 552"/>
                <a:gd name="connsiteY5" fmla="*/ -1937 h 7851"/>
                <a:gd name="connsiteX6" fmla="*/ -1718 w 552"/>
                <a:gd name="connsiteY6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2" h="7851">
                  <a:moveTo>
                    <a:pt x="-1718" y="5383"/>
                  </a:moveTo>
                  <a:lnTo>
                    <a:pt x="-1449" y="5645"/>
                  </a:lnTo>
                  <a:lnTo>
                    <a:pt x="-1166" y="5383"/>
                  </a:lnTo>
                  <a:lnTo>
                    <a:pt x="-1166" y="-1937"/>
                  </a:lnTo>
                  <a:lnTo>
                    <a:pt x="-1449" y="-2206"/>
                  </a:lnTo>
                  <a:lnTo>
                    <a:pt x="-1718" y="-1937"/>
                  </a:lnTo>
                  <a:lnTo>
                    <a:pt x="-1718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8EAC3027-B698-4DA0-114A-CA6DD38A2E6D}"/>
                </a:ext>
              </a:extLst>
            </p:cNvPr>
            <p:cNvSpPr/>
            <p:nvPr/>
          </p:nvSpPr>
          <p:spPr>
            <a:xfrm flipV="1">
              <a:off x="7788609" y="3069178"/>
              <a:ext cx="4585" cy="7851"/>
            </a:xfrm>
            <a:custGeom>
              <a:avLst/>
              <a:gdLst>
                <a:gd name="connsiteX0" fmla="*/ -1435 w 4585"/>
                <a:gd name="connsiteY0" fmla="*/ -2206 h 7851"/>
                <a:gd name="connsiteX1" fmla="*/ -1455 w 4585"/>
                <a:gd name="connsiteY1" fmla="*/ -2206 h 7851"/>
                <a:gd name="connsiteX2" fmla="*/ -1725 w 4585"/>
                <a:gd name="connsiteY2" fmla="*/ -1937 h 7851"/>
                <a:gd name="connsiteX3" fmla="*/ -1725 w 4585"/>
                <a:gd name="connsiteY3" fmla="*/ 5383 h 7851"/>
                <a:gd name="connsiteX4" fmla="*/ -1455 w 4585"/>
                <a:gd name="connsiteY4" fmla="*/ 5645 h 7851"/>
                <a:gd name="connsiteX5" fmla="*/ -1179 w 4585"/>
                <a:gd name="connsiteY5" fmla="*/ 5383 h 7851"/>
                <a:gd name="connsiteX6" fmla="*/ -1179 w 4585"/>
                <a:gd name="connsiteY6" fmla="*/ -1654 h 7851"/>
                <a:gd name="connsiteX7" fmla="*/ 2577 w 4585"/>
                <a:gd name="connsiteY7" fmla="*/ -1654 h 7851"/>
                <a:gd name="connsiteX8" fmla="*/ 2861 w 4585"/>
                <a:gd name="connsiteY8" fmla="*/ -1937 h 7851"/>
                <a:gd name="connsiteX9" fmla="*/ 2577 w 4585"/>
                <a:gd name="connsiteY9" fmla="*/ -2206 h 7851"/>
                <a:gd name="connsiteX10" fmla="*/ -1435 w 4585"/>
                <a:gd name="connsiteY10" fmla="*/ -2206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85" h="7851">
                  <a:moveTo>
                    <a:pt x="-1435" y="-2206"/>
                  </a:moveTo>
                  <a:lnTo>
                    <a:pt x="-1455" y="-2206"/>
                  </a:lnTo>
                  <a:lnTo>
                    <a:pt x="-1725" y="-1937"/>
                  </a:lnTo>
                  <a:lnTo>
                    <a:pt x="-1725" y="5383"/>
                  </a:lnTo>
                  <a:lnTo>
                    <a:pt x="-1455" y="5645"/>
                  </a:lnTo>
                  <a:lnTo>
                    <a:pt x="-1179" y="5383"/>
                  </a:lnTo>
                  <a:lnTo>
                    <a:pt x="-1179" y="-1654"/>
                  </a:lnTo>
                  <a:lnTo>
                    <a:pt x="2577" y="-1654"/>
                  </a:lnTo>
                  <a:lnTo>
                    <a:pt x="2861" y="-1937"/>
                  </a:lnTo>
                  <a:lnTo>
                    <a:pt x="2577" y="-2206"/>
                  </a:lnTo>
                  <a:lnTo>
                    <a:pt x="-1435" y="-220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2E103365-0A41-8AA1-24E0-D60793529DAB}"/>
                </a:ext>
              </a:extLst>
            </p:cNvPr>
            <p:cNvSpPr/>
            <p:nvPr/>
          </p:nvSpPr>
          <p:spPr>
            <a:xfrm flipV="1">
              <a:off x="7869361" y="3069254"/>
              <a:ext cx="6594" cy="7775"/>
            </a:xfrm>
            <a:custGeom>
              <a:avLst/>
              <a:gdLst>
                <a:gd name="connsiteX0" fmla="*/ 4229 w 6594"/>
                <a:gd name="connsiteY0" fmla="*/ 4526 h 7775"/>
                <a:gd name="connsiteX1" fmla="*/ 1715 w 6594"/>
                <a:gd name="connsiteY1" fmla="*/ 1039 h 7775"/>
                <a:gd name="connsiteX2" fmla="*/ 1494 w 6594"/>
                <a:gd name="connsiteY2" fmla="*/ 915 h 7775"/>
                <a:gd name="connsiteX3" fmla="*/ 1467 w 6594"/>
                <a:gd name="connsiteY3" fmla="*/ 915 h 7775"/>
                <a:gd name="connsiteX4" fmla="*/ 1232 w 6594"/>
                <a:gd name="connsiteY4" fmla="*/ 1039 h 7775"/>
                <a:gd name="connsiteX5" fmla="*/ -1282 w 6594"/>
                <a:gd name="connsiteY5" fmla="*/ 4520 h 7775"/>
                <a:gd name="connsiteX6" fmla="*/ -1282 w 6594"/>
                <a:gd name="connsiteY6" fmla="*/ -1937 h 7775"/>
                <a:gd name="connsiteX7" fmla="*/ -1551 w 6594"/>
                <a:gd name="connsiteY7" fmla="*/ -2206 h 7775"/>
                <a:gd name="connsiteX8" fmla="*/ -1827 w 6594"/>
                <a:gd name="connsiteY8" fmla="*/ -1937 h 7775"/>
                <a:gd name="connsiteX9" fmla="*/ -1827 w 6594"/>
                <a:gd name="connsiteY9" fmla="*/ 5334 h 7775"/>
                <a:gd name="connsiteX10" fmla="*/ -1717 w 6594"/>
                <a:gd name="connsiteY10" fmla="*/ 5542 h 7775"/>
                <a:gd name="connsiteX11" fmla="*/ -1696 w 6594"/>
                <a:gd name="connsiteY11" fmla="*/ 5569 h 7775"/>
                <a:gd name="connsiteX12" fmla="*/ -1316 w 6594"/>
                <a:gd name="connsiteY12" fmla="*/ 5500 h 7775"/>
                <a:gd name="connsiteX13" fmla="*/ 1480 w 6594"/>
                <a:gd name="connsiteY13" fmla="*/ 1633 h 7775"/>
                <a:gd name="connsiteX14" fmla="*/ 4256 w 6594"/>
                <a:gd name="connsiteY14" fmla="*/ 5500 h 7775"/>
                <a:gd name="connsiteX15" fmla="*/ 4643 w 6594"/>
                <a:gd name="connsiteY15" fmla="*/ 5569 h 7775"/>
                <a:gd name="connsiteX16" fmla="*/ 4719 w 6594"/>
                <a:gd name="connsiteY16" fmla="*/ 5479 h 7775"/>
                <a:gd name="connsiteX17" fmla="*/ 4767 w 6594"/>
                <a:gd name="connsiteY17" fmla="*/ 5334 h 7775"/>
                <a:gd name="connsiteX18" fmla="*/ 4767 w 6594"/>
                <a:gd name="connsiteY18" fmla="*/ -1937 h 7775"/>
                <a:gd name="connsiteX19" fmla="*/ 4498 w 6594"/>
                <a:gd name="connsiteY19" fmla="*/ -2206 h 7775"/>
                <a:gd name="connsiteX20" fmla="*/ 4229 w 6594"/>
                <a:gd name="connsiteY20" fmla="*/ -1937 h 7775"/>
                <a:gd name="connsiteX21" fmla="*/ 4229 w 6594"/>
                <a:gd name="connsiteY21" fmla="*/ 4526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94" h="7775">
                  <a:moveTo>
                    <a:pt x="4229" y="4526"/>
                  </a:moveTo>
                  <a:lnTo>
                    <a:pt x="1715" y="1039"/>
                  </a:lnTo>
                  <a:lnTo>
                    <a:pt x="1494" y="915"/>
                  </a:lnTo>
                  <a:lnTo>
                    <a:pt x="1467" y="915"/>
                  </a:lnTo>
                  <a:lnTo>
                    <a:pt x="1232" y="1039"/>
                  </a:lnTo>
                  <a:lnTo>
                    <a:pt x="-1282" y="4520"/>
                  </a:lnTo>
                  <a:lnTo>
                    <a:pt x="-1282" y="-1937"/>
                  </a:lnTo>
                  <a:lnTo>
                    <a:pt x="-1551" y="-2206"/>
                  </a:lnTo>
                  <a:lnTo>
                    <a:pt x="-1827" y="-1937"/>
                  </a:lnTo>
                  <a:lnTo>
                    <a:pt x="-1827" y="5334"/>
                  </a:lnTo>
                  <a:lnTo>
                    <a:pt x="-1717" y="5542"/>
                  </a:lnTo>
                  <a:lnTo>
                    <a:pt x="-1696" y="5569"/>
                  </a:lnTo>
                  <a:lnTo>
                    <a:pt x="-1316" y="5500"/>
                  </a:lnTo>
                  <a:lnTo>
                    <a:pt x="1480" y="1633"/>
                  </a:lnTo>
                  <a:lnTo>
                    <a:pt x="4256" y="5500"/>
                  </a:lnTo>
                  <a:lnTo>
                    <a:pt x="4643" y="5569"/>
                  </a:lnTo>
                  <a:lnTo>
                    <a:pt x="4719" y="5479"/>
                  </a:lnTo>
                  <a:lnTo>
                    <a:pt x="4767" y="5334"/>
                  </a:lnTo>
                  <a:lnTo>
                    <a:pt x="4767" y="-1937"/>
                  </a:lnTo>
                  <a:lnTo>
                    <a:pt x="4498" y="-2206"/>
                  </a:lnTo>
                  <a:lnTo>
                    <a:pt x="4229" y="-1937"/>
                  </a:lnTo>
                  <a:lnTo>
                    <a:pt x="4229" y="452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F05BFDAE-BA78-1B13-CF7D-B99007281A45}"/>
                </a:ext>
              </a:extLst>
            </p:cNvPr>
            <p:cNvSpPr/>
            <p:nvPr/>
          </p:nvSpPr>
          <p:spPr>
            <a:xfrm flipV="1">
              <a:off x="7877586" y="3069213"/>
              <a:ext cx="5986" cy="7817"/>
            </a:xfrm>
            <a:custGeom>
              <a:avLst/>
              <a:gdLst>
                <a:gd name="connsiteX0" fmla="*/ -429 w 5986"/>
                <a:gd name="connsiteY0" fmla="*/ 376 h 7817"/>
                <a:gd name="connsiteX1" fmla="*/ 2748 w 5986"/>
                <a:gd name="connsiteY1" fmla="*/ 376 h 7817"/>
                <a:gd name="connsiteX2" fmla="*/ 1167 w 5986"/>
                <a:gd name="connsiteY2" fmla="*/ 4596 h 7817"/>
                <a:gd name="connsiteX3" fmla="*/ 2948 w 5986"/>
                <a:gd name="connsiteY3" fmla="*/ -176 h 7817"/>
                <a:gd name="connsiteX4" fmla="*/ -629 w 5986"/>
                <a:gd name="connsiteY4" fmla="*/ -176 h 7817"/>
                <a:gd name="connsiteX5" fmla="*/ -1326 w 5986"/>
                <a:gd name="connsiteY5" fmla="*/ -2020 h 7817"/>
                <a:gd name="connsiteX6" fmla="*/ -1582 w 5986"/>
                <a:gd name="connsiteY6" fmla="*/ -2206 h 7817"/>
                <a:gd name="connsiteX7" fmla="*/ -1685 w 5986"/>
                <a:gd name="connsiteY7" fmla="*/ -2193 h 7817"/>
                <a:gd name="connsiteX8" fmla="*/ -1837 w 5986"/>
                <a:gd name="connsiteY8" fmla="*/ -1834 h 7817"/>
                <a:gd name="connsiteX9" fmla="*/ 883 w 5986"/>
                <a:gd name="connsiteY9" fmla="*/ 5445 h 7817"/>
                <a:gd name="connsiteX10" fmla="*/ 1153 w 5986"/>
                <a:gd name="connsiteY10" fmla="*/ 5611 h 7817"/>
                <a:gd name="connsiteX11" fmla="*/ 1422 w 5986"/>
                <a:gd name="connsiteY11" fmla="*/ 5445 h 7817"/>
                <a:gd name="connsiteX12" fmla="*/ 4150 w 5986"/>
                <a:gd name="connsiteY12" fmla="*/ -1834 h 7817"/>
                <a:gd name="connsiteX13" fmla="*/ 4005 w 5986"/>
                <a:gd name="connsiteY13" fmla="*/ -2193 h 7817"/>
                <a:gd name="connsiteX14" fmla="*/ 3901 w 5986"/>
                <a:gd name="connsiteY14" fmla="*/ -2206 h 7817"/>
                <a:gd name="connsiteX15" fmla="*/ 3646 w 5986"/>
                <a:gd name="connsiteY15" fmla="*/ -2020 h 7817"/>
                <a:gd name="connsiteX16" fmla="*/ 2948 w 5986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86" h="7817">
                  <a:moveTo>
                    <a:pt x="-429" y="376"/>
                  </a:moveTo>
                  <a:lnTo>
                    <a:pt x="2748" y="376"/>
                  </a:lnTo>
                  <a:lnTo>
                    <a:pt x="1167" y="4596"/>
                  </a:lnTo>
                  <a:close/>
                  <a:moveTo>
                    <a:pt x="2948" y="-176"/>
                  </a:moveTo>
                  <a:lnTo>
                    <a:pt x="-629" y="-176"/>
                  </a:lnTo>
                  <a:lnTo>
                    <a:pt x="-1326" y="-2020"/>
                  </a:lnTo>
                  <a:lnTo>
                    <a:pt x="-1582" y="-2206"/>
                  </a:lnTo>
                  <a:lnTo>
                    <a:pt x="-1685" y="-2193"/>
                  </a:lnTo>
                  <a:lnTo>
                    <a:pt x="-1837" y="-1834"/>
                  </a:lnTo>
                  <a:lnTo>
                    <a:pt x="883" y="5445"/>
                  </a:lnTo>
                  <a:lnTo>
                    <a:pt x="1153" y="5611"/>
                  </a:lnTo>
                  <a:lnTo>
                    <a:pt x="1422" y="5445"/>
                  </a:lnTo>
                  <a:lnTo>
                    <a:pt x="4150" y="-1834"/>
                  </a:lnTo>
                  <a:lnTo>
                    <a:pt x="4005" y="-2193"/>
                  </a:lnTo>
                  <a:lnTo>
                    <a:pt x="3901" y="-2206"/>
                  </a:lnTo>
                  <a:lnTo>
                    <a:pt x="3646" y="-2020"/>
                  </a:lnTo>
                  <a:lnTo>
                    <a:pt x="2948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4A82BF29-DE7B-6F45-80D0-101C720DB47C}"/>
                </a:ext>
              </a:extLst>
            </p:cNvPr>
            <p:cNvSpPr/>
            <p:nvPr/>
          </p:nvSpPr>
          <p:spPr>
            <a:xfrm flipV="1">
              <a:off x="7883987" y="3069282"/>
              <a:ext cx="5793" cy="7748"/>
            </a:xfrm>
            <a:custGeom>
              <a:avLst/>
              <a:gdLst>
                <a:gd name="connsiteX0" fmla="*/ 786 w 5793"/>
                <a:gd name="connsiteY0" fmla="*/ 1564 h 7748"/>
                <a:gd name="connsiteX1" fmla="*/ -1845 w 5793"/>
                <a:gd name="connsiteY1" fmla="*/ 5169 h 7748"/>
                <a:gd name="connsiteX2" fmla="*/ -1790 w 5793"/>
                <a:gd name="connsiteY2" fmla="*/ 5542 h 7748"/>
                <a:gd name="connsiteX3" fmla="*/ -1410 w 5793"/>
                <a:gd name="connsiteY3" fmla="*/ 5500 h 7748"/>
                <a:gd name="connsiteX4" fmla="*/ 1048 w 5793"/>
                <a:gd name="connsiteY4" fmla="*/ 2123 h 7748"/>
                <a:gd name="connsiteX5" fmla="*/ 3513 w 5793"/>
                <a:gd name="connsiteY5" fmla="*/ 5500 h 7748"/>
                <a:gd name="connsiteX6" fmla="*/ 3893 w 5793"/>
                <a:gd name="connsiteY6" fmla="*/ 5542 h 7748"/>
                <a:gd name="connsiteX7" fmla="*/ 3948 w 5793"/>
                <a:gd name="connsiteY7" fmla="*/ 5169 h 7748"/>
                <a:gd name="connsiteX8" fmla="*/ 1324 w 5793"/>
                <a:gd name="connsiteY8" fmla="*/ 1585 h 7748"/>
                <a:gd name="connsiteX9" fmla="*/ 1324 w 5793"/>
                <a:gd name="connsiteY9" fmla="*/ -1937 h 7748"/>
                <a:gd name="connsiteX10" fmla="*/ 1055 w 5793"/>
                <a:gd name="connsiteY10" fmla="*/ -2206 h 7748"/>
                <a:gd name="connsiteX11" fmla="*/ 786 w 5793"/>
                <a:gd name="connsiteY11" fmla="*/ -1937 h 7748"/>
                <a:gd name="connsiteX12" fmla="*/ 786 w 5793"/>
                <a:gd name="connsiteY12" fmla="*/ 1564 h 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93" h="7748">
                  <a:moveTo>
                    <a:pt x="786" y="1564"/>
                  </a:moveTo>
                  <a:lnTo>
                    <a:pt x="-1845" y="5169"/>
                  </a:lnTo>
                  <a:lnTo>
                    <a:pt x="-1790" y="5542"/>
                  </a:lnTo>
                  <a:lnTo>
                    <a:pt x="-1410" y="5500"/>
                  </a:lnTo>
                  <a:lnTo>
                    <a:pt x="1048" y="2123"/>
                  </a:lnTo>
                  <a:lnTo>
                    <a:pt x="3513" y="5500"/>
                  </a:lnTo>
                  <a:lnTo>
                    <a:pt x="3893" y="5542"/>
                  </a:lnTo>
                  <a:lnTo>
                    <a:pt x="3948" y="5169"/>
                  </a:lnTo>
                  <a:lnTo>
                    <a:pt x="1324" y="1585"/>
                  </a:lnTo>
                  <a:lnTo>
                    <a:pt x="1324" y="-1937"/>
                  </a:lnTo>
                  <a:lnTo>
                    <a:pt x="1055" y="-2206"/>
                  </a:lnTo>
                  <a:lnTo>
                    <a:pt x="786" y="-1937"/>
                  </a:lnTo>
                  <a:lnTo>
                    <a:pt x="786" y="156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1251E77F-FACF-4159-65B3-F9FD5E1AF1C1}"/>
                </a:ext>
              </a:extLst>
            </p:cNvPr>
            <p:cNvSpPr/>
            <p:nvPr/>
          </p:nvSpPr>
          <p:spPr>
            <a:xfrm flipV="1">
              <a:off x="7965195" y="3069178"/>
              <a:ext cx="5192" cy="7851"/>
            </a:xfrm>
            <a:custGeom>
              <a:avLst/>
              <a:gdLst>
                <a:gd name="connsiteX0" fmla="*/ -1767 w 5192"/>
                <a:gd name="connsiteY0" fmla="*/ -17 h 7851"/>
                <a:gd name="connsiteX1" fmla="*/ -1429 w 5192"/>
                <a:gd name="connsiteY1" fmla="*/ -183 h 7851"/>
                <a:gd name="connsiteX2" fmla="*/ 588 w 5192"/>
                <a:gd name="connsiteY2" fmla="*/ -1654 h 7851"/>
                <a:gd name="connsiteX3" fmla="*/ 2708 w 5192"/>
                <a:gd name="connsiteY3" fmla="*/ 459 h 7851"/>
                <a:gd name="connsiteX4" fmla="*/ 2708 w 5192"/>
                <a:gd name="connsiteY4" fmla="*/ 5383 h 7851"/>
                <a:gd name="connsiteX5" fmla="*/ 2977 w 5192"/>
                <a:gd name="connsiteY5" fmla="*/ 5645 h 7851"/>
                <a:gd name="connsiteX6" fmla="*/ 3246 w 5192"/>
                <a:gd name="connsiteY6" fmla="*/ 5383 h 7851"/>
                <a:gd name="connsiteX7" fmla="*/ 3246 w 5192"/>
                <a:gd name="connsiteY7" fmla="*/ 459 h 7851"/>
                <a:gd name="connsiteX8" fmla="*/ 588 w 5192"/>
                <a:gd name="connsiteY8" fmla="*/ -2206 h 7851"/>
                <a:gd name="connsiteX9" fmla="*/ -1947 w 5192"/>
                <a:gd name="connsiteY9" fmla="*/ -363 h 7851"/>
                <a:gd name="connsiteX10" fmla="*/ -1767 w 5192"/>
                <a:gd name="connsiteY10" fmla="*/ -17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92" h="7851">
                  <a:moveTo>
                    <a:pt x="-1767" y="-17"/>
                  </a:moveTo>
                  <a:lnTo>
                    <a:pt x="-1429" y="-183"/>
                  </a:lnTo>
                  <a:cubicBezTo>
                    <a:pt x="-1152" y="-1046"/>
                    <a:pt x="-352" y="-1661"/>
                    <a:pt x="588" y="-1654"/>
                  </a:cubicBezTo>
                  <a:cubicBezTo>
                    <a:pt x="1755" y="-1654"/>
                    <a:pt x="2708" y="-708"/>
                    <a:pt x="2708" y="459"/>
                  </a:cubicBezTo>
                  <a:lnTo>
                    <a:pt x="2708" y="5383"/>
                  </a:lnTo>
                  <a:lnTo>
                    <a:pt x="2977" y="5645"/>
                  </a:lnTo>
                  <a:lnTo>
                    <a:pt x="3246" y="5383"/>
                  </a:lnTo>
                  <a:lnTo>
                    <a:pt x="3246" y="459"/>
                  </a:lnTo>
                  <a:cubicBezTo>
                    <a:pt x="3246" y="-1025"/>
                    <a:pt x="2058" y="-2206"/>
                    <a:pt x="588" y="-2206"/>
                  </a:cubicBezTo>
                  <a:cubicBezTo>
                    <a:pt x="-586" y="-2206"/>
                    <a:pt x="-1608" y="-1426"/>
                    <a:pt x="-1947" y="-363"/>
                  </a:cubicBezTo>
                  <a:lnTo>
                    <a:pt x="-1767" y="-17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F02BCC7E-39D4-3E2D-82AF-F40B980DF3C6}"/>
                </a:ext>
              </a:extLst>
            </p:cNvPr>
            <p:cNvSpPr/>
            <p:nvPr/>
          </p:nvSpPr>
          <p:spPr>
            <a:xfrm flipV="1">
              <a:off x="7972508" y="3069178"/>
              <a:ext cx="6346" cy="7851"/>
            </a:xfrm>
            <a:custGeom>
              <a:avLst/>
              <a:gdLst>
                <a:gd name="connsiteX0" fmla="*/ -1957 w 6346"/>
                <a:gd name="connsiteY0" fmla="*/ 5383 h 7851"/>
                <a:gd name="connsiteX1" fmla="*/ -1687 w 6346"/>
                <a:gd name="connsiteY1" fmla="*/ 5645 h 7851"/>
                <a:gd name="connsiteX2" fmla="*/ -1411 w 6346"/>
                <a:gd name="connsiteY2" fmla="*/ 5383 h 7851"/>
                <a:gd name="connsiteX3" fmla="*/ -1411 w 6346"/>
                <a:gd name="connsiteY3" fmla="*/ 970 h 7851"/>
                <a:gd name="connsiteX4" fmla="*/ 1206 w 6346"/>
                <a:gd name="connsiteY4" fmla="*/ -1654 h 7851"/>
                <a:gd name="connsiteX5" fmla="*/ 3837 w 6346"/>
                <a:gd name="connsiteY5" fmla="*/ 970 h 7851"/>
                <a:gd name="connsiteX6" fmla="*/ 3837 w 6346"/>
                <a:gd name="connsiteY6" fmla="*/ 5383 h 7851"/>
                <a:gd name="connsiteX7" fmla="*/ 4113 w 6346"/>
                <a:gd name="connsiteY7" fmla="*/ 5645 h 7851"/>
                <a:gd name="connsiteX8" fmla="*/ 4389 w 6346"/>
                <a:gd name="connsiteY8" fmla="*/ 5383 h 7851"/>
                <a:gd name="connsiteX9" fmla="*/ 4389 w 6346"/>
                <a:gd name="connsiteY9" fmla="*/ 970 h 7851"/>
                <a:gd name="connsiteX10" fmla="*/ 1206 w 6346"/>
                <a:gd name="connsiteY10" fmla="*/ -2206 h 7851"/>
                <a:gd name="connsiteX11" fmla="*/ -1957 w 6346"/>
                <a:gd name="connsiteY11" fmla="*/ 970 h 7851"/>
                <a:gd name="connsiteX12" fmla="*/ -1957 w 6346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46" h="7851">
                  <a:moveTo>
                    <a:pt x="-1957" y="5383"/>
                  </a:moveTo>
                  <a:lnTo>
                    <a:pt x="-1687" y="5645"/>
                  </a:lnTo>
                  <a:lnTo>
                    <a:pt x="-1411" y="5383"/>
                  </a:lnTo>
                  <a:lnTo>
                    <a:pt x="-1411" y="970"/>
                  </a:lnTo>
                  <a:cubicBezTo>
                    <a:pt x="-1411" y="-480"/>
                    <a:pt x="-230" y="-1640"/>
                    <a:pt x="1206" y="-1654"/>
                  </a:cubicBezTo>
                  <a:cubicBezTo>
                    <a:pt x="2663" y="-1640"/>
                    <a:pt x="3837" y="-480"/>
                    <a:pt x="3837" y="970"/>
                  </a:cubicBezTo>
                  <a:lnTo>
                    <a:pt x="3837" y="5383"/>
                  </a:lnTo>
                  <a:lnTo>
                    <a:pt x="4113" y="5645"/>
                  </a:lnTo>
                  <a:lnTo>
                    <a:pt x="4389" y="5383"/>
                  </a:lnTo>
                  <a:lnTo>
                    <a:pt x="4389" y="970"/>
                  </a:lnTo>
                  <a:cubicBezTo>
                    <a:pt x="4389" y="-777"/>
                    <a:pt x="2960" y="-2206"/>
                    <a:pt x="1206" y="-2206"/>
                  </a:cubicBezTo>
                  <a:cubicBezTo>
                    <a:pt x="-534" y="-2206"/>
                    <a:pt x="-1957" y="-777"/>
                    <a:pt x="-1957" y="970"/>
                  </a:cubicBezTo>
                  <a:lnTo>
                    <a:pt x="-1957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B71AC84-9F55-202D-153D-6BB7CA22FAF9}"/>
                </a:ext>
              </a:extLst>
            </p:cNvPr>
            <p:cNvSpPr/>
            <p:nvPr/>
          </p:nvSpPr>
          <p:spPr>
            <a:xfrm flipV="1">
              <a:off x="7981472" y="3069254"/>
              <a:ext cx="5786" cy="7775"/>
            </a:xfrm>
            <a:custGeom>
              <a:avLst/>
              <a:gdLst>
                <a:gd name="connsiteX0" fmla="*/ -1429 w 5786"/>
                <a:gd name="connsiteY0" fmla="*/ 4492 h 7775"/>
                <a:gd name="connsiteX1" fmla="*/ -1429 w 5786"/>
                <a:gd name="connsiteY1" fmla="*/ -1937 h 7775"/>
                <a:gd name="connsiteX2" fmla="*/ -1698 w 5786"/>
                <a:gd name="connsiteY2" fmla="*/ -2206 h 7775"/>
                <a:gd name="connsiteX3" fmla="*/ -1968 w 5786"/>
                <a:gd name="connsiteY3" fmla="*/ -1937 h 7775"/>
                <a:gd name="connsiteX4" fmla="*/ -1968 w 5786"/>
                <a:gd name="connsiteY4" fmla="*/ 5265 h 7775"/>
                <a:gd name="connsiteX5" fmla="*/ -1864 w 5786"/>
                <a:gd name="connsiteY5" fmla="*/ 5569 h 7775"/>
                <a:gd name="connsiteX6" fmla="*/ -1484 w 5786"/>
                <a:gd name="connsiteY6" fmla="*/ 5500 h 7775"/>
                <a:gd name="connsiteX7" fmla="*/ 3267 w 5786"/>
                <a:gd name="connsiteY7" fmla="*/ -1095 h 7775"/>
                <a:gd name="connsiteX8" fmla="*/ 3267 w 5786"/>
                <a:gd name="connsiteY8" fmla="*/ 5300 h 7775"/>
                <a:gd name="connsiteX9" fmla="*/ 3536 w 5786"/>
                <a:gd name="connsiteY9" fmla="*/ 5569 h 7775"/>
                <a:gd name="connsiteX10" fmla="*/ 3819 w 5786"/>
                <a:gd name="connsiteY10" fmla="*/ 5300 h 7775"/>
                <a:gd name="connsiteX11" fmla="*/ 3819 w 5786"/>
                <a:gd name="connsiteY11" fmla="*/ -1937 h 7775"/>
                <a:gd name="connsiteX12" fmla="*/ 3536 w 5786"/>
                <a:gd name="connsiteY12" fmla="*/ -2206 h 7775"/>
                <a:gd name="connsiteX13" fmla="*/ 3322 w 5786"/>
                <a:gd name="connsiteY13" fmla="*/ -2103 h 7775"/>
                <a:gd name="connsiteX14" fmla="*/ 3281 w 5786"/>
                <a:gd name="connsiteY14" fmla="*/ -2054 h 7775"/>
                <a:gd name="connsiteX15" fmla="*/ -1429 w 5786"/>
                <a:gd name="connsiteY15" fmla="*/ 4492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86" h="7775">
                  <a:moveTo>
                    <a:pt x="-1429" y="4492"/>
                  </a:moveTo>
                  <a:lnTo>
                    <a:pt x="-1429" y="-1937"/>
                  </a:lnTo>
                  <a:lnTo>
                    <a:pt x="-1698" y="-2206"/>
                  </a:lnTo>
                  <a:lnTo>
                    <a:pt x="-1968" y="-1937"/>
                  </a:lnTo>
                  <a:lnTo>
                    <a:pt x="-1968" y="5265"/>
                  </a:lnTo>
                  <a:lnTo>
                    <a:pt x="-1864" y="5569"/>
                  </a:lnTo>
                  <a:lnTo>
                    <a:pt x="-1484" y="5500"/>
                  </a:lnTo>
                  <a:lnTo>
                    <a:pt x="3267" y="-1095"/>
                  </a:lnTo>
                  <a:lnTo>
                    <a:pt x="3267" y="5300"/>
                  </a:lnTo>
                  <a:lnTo>
                    <a:pt x="3536" y="5569"/>
                  </a:lnTo>
                  <a:lnTo>
                    <a:pt x="3819" y="5300"/>
                  </a:lnTo>
                  <a:lnTo>
                    <a:pt x="3819" y="-1937"/>
                  </a:lnTo>
                  <a:lnTo>
                    <a:pt x="3536" y="-2206"/>
                  </a:lnTo>
                  <a:lnTo>
                    <a:pt x="3322" y="-2103"/>
                  </a:lnTo>
                  <a:lnTo>
                    <a:pt x="3281" y="-2054"/>
                  </a:lnTo>
                  <a:lnTo>
                    <a:pt x="-1429" y="4492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48A5BFE-6FE5-3AC3-6E85-15719592388E}"/>
                </a:ext>
              </a:extLst>
            </p:cNvPr>
            <p:cNvSpPr/>
            <p:nvPr/>
          </p:nvSpPr>
          <p:spPr>
            <a:xfrm flipV="1">
              <a:off x="7989337" y="3069178"/>
              <a:ext cx="4578" cy="7851"/>
            </a:xfrm>
            <a:custGeom>
              <a:avLst/>
              <a:gdLst>
                <a:gd name="connsiteX0" fmla="*/ -1977 w 4578"/>
                <a:gd name="connsiteY0" fmla="*/ 5383 h 7851"/>
                <a:gd name="connsiteX1" fmla="*/ -1707 w 4578"/>
                <a:gd name="connsiteY1" fmla="*/ 5645 h 7851"/>
                <a:gd name="connsiteX2" fmla="*/ 2332 w 4578"/>
                <a:gd name="connsiteY2" fmla="*/ 5645 h 7851"/>
                <a:gd name="connsiteX3" fmla="*/ 2602 w 4578"/>
                <a:gd name="connsiteY3" fmla="*/ 5383 h 7851"/>
                <a:gd name="connsiteX4" fmla="*/ 2332 w 4578"/>
                <a:gd name="connsiteY4" fmla="*/ 5100 h 7851"/>
                <a:gd name="connsiteX5" fmla="*/ -1424 w 4578"/>
                <a:gd name="connsiteY5" fmla="*/ 5100 h 7851"/>
                <a:gd name="connsiteX6" fmla="*/ -1424 w 4578"/>
                <a:gd name="connsiteY6" fmla="*/ 1992 h 7851"/>
                <a:gd name="connsiteX7" fmla="*/ 1856 w 4578"/>
                <a:gd name="connsiteY7" fmla="*/ 1992 h 7851"/>
                <a:gd name="connsiteX8" fmla="*/ 2125 w 4578"/>
                <a:gd name="connsiteY8" fmla="*/ 1709 h 7851"/>
                <a:gd name="connsiteX9" fmla="*/ 1856 w 4578"/>
                <a:gd name="connsiteY9" fmla="*/ 1440 h 7851"/>
                <a:gd name="connsiteX10" fmla="*/ -1424 w 4578"/>
                <a:gd name="connsiteY10" fmla="*/ 1440 h 7851"/>
                <a:gd name="connsiteX11" fmla="*/ -1424 w 4578"/>
                <a:gd name="connsiteY11" fmla="*/ -1654 h 7851"/>
                <a:gd name="connsiteX12" fmla="*/ 2332 w 4578"/>
                <a:gd name="connsiteY12" fmla="*/ -1654 h 7851"/>
                <a:gd name="connsiteX13" fmla="*/ 2602 w 4578"/>
                <a:gd name="connsiteY13" fmla="*/ -1937 h 7851"/>
                <a:gd name="connsiteX14" fmla="*/ 2332 w 4578"/>
                <a:gd name="connsiteY14" fmla="*/ -2206 h 7851"/>
                <a:gd name="connsiteX15" fmla="*/ -1673 w 4578"/>
                <a:gd name="connsiteY15" fmla="*/ -2206 h 7851"/>
                <a:gd name="connsiteX16" fmla="*/ -1707 w 4578"/>
                <a:gd name="connsiteY16" fmla="*/ -2206 h 7851"/>
                <a:gd name="connsiteX17" fmla="*/ -1728 w 4578"/>
                <a:gd name="connsiteY17" fmla="*/ -2206 h 7851"/>
                <a:gd name="connsiteX18" fmla="*/ -1977 w 4578"/>
                <a:gd name="connsiteY18" fmla="*/ -1937 h 7851"/>
                <a:gd name="connsiteX19" fmla="*/ -1977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1977" y="5383"/>
                  </a:moveTo>
                  <a:lnTo>
                    <a:pt x="-1707" y="5645"/>
                  </a:lnTo>
                  <a:lnTo>
                    <a:pt x="2332" y="5645"/>
                  </a:lnTo>
                  <a:lnTo>
                    <a:pt x="2602" y="5383"/>
                  </a:lnTo>
                  <a:lnTo>
                    <a:pt x="2332" y="5100"/>
                  </a:lnTo>
                  <a:lnTo>
                    <a:pt x="-1424" y="5100"/>
                  </a:lnTo>
                  <a:lnTo>
                    <a:pt x="-1424" y="1992"/>
                  </a:lnTo>
                  <a:lnTo>
                    <a:pt x="1856" y="1992"/>
                  </a:lnTo>
                  <a:lnTo>
                    <a:pt x="2125" y="1709"/>
                  </a:lnTo>
                  <a:lnTo>
                    <a:pt x="1856" y="1440"/>
                  </a:lnTo>
                  <a:lnTo>
                    <a:pt x="-1424" y="1440"/>
                  </a:lnTo>
                  <a:lnTo>
                    <a:pt x="-1424" y="-1654"/>
                  </a:lnTo>
                  <a:lnTo>
                    <a:pt x="2332" y="-1654"/>
                  </a:lnTo>
                  <a:lnTo>
                    <a:pt x="2602" y="-1937"/>
                  </a:lnTo>
                  <a:lnTo>
                    <a:pt x="2332" y="-2206"/>
                  </a:lnTo>
                  <a:lnTo>
                    <a:pt x="-1673" y="-2206"/>
                  </a:lnTo>
                  <a:lnTo>
                    <a:pt x="-1707" y="-2206"/>
                  </a:lnTo>
                  <a:lnTo>
                    <a:pt x="-1728" y="-2206"/>
                  </a:lnTo>
                  <a:lnTo>
                    <a:pt x="-1977" y="-1937"/>
                  </a:lnTo>
                  <a:lnTo>
                    <a:pt x="-1977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5D9A74DA-D441-2D65-624F-1E1167102732}"/>
                </a:ext>
              </a:extLst>
            </p:cNvPr>
            <p:cNvSpPr/>
            <p:nvPr/>
          </p:nvSpPr>
          <p:spPr>
            <a:xfrm flipV="1">
              <a:off x="8067458" y="3069178"/>
              <a:ext cx="5192" cy="7851"/>
            </a:xfrm>
            <a:custGeom>
              <a:avLst/>
              <a:gdLst>
                <a:gd name="connsiteX0" fmla="*/ -1902 w 5192"/>
                <a:gd name="connsiteY0" fmla="*/ -17 h 7851"/>
                <a:gd name="connsiteX1" fmla="*/ -1564 w 5192"/>
                <a:gd name="connsiteY1" fmla="*/ -183 h 7851"/>
                <a:gd name="connsiteX2" fmla="*/ 452 w 5192"/>
                <a:gd name="connsiteY2" fmla="*/ -1654 h 7851"/>
                <a:gd name="connsiteX3" fmla="*/ 2572 w 5192"/>
                <a:gd name="connsiteY3" fmla="*/ 459 h 7851"/>
                <a:gd name="connsiteX4" fmla="*/ 2572 w 5192"/>
                <a:gd name="connsiteY4" fmla="*/ 5383 h 7851"/>
                <a:gd name="connsiteX5" fmla="*/ 2842 w 5192"/>
                <a:gd name="connsiteY5" fmla="*/ 5645 h 7851"/>
                <a:gd name="connsiteX6" fmla="*/ 3118 w 5192"/>
                <a:gd name="connsiteY6" fmla="*/ 5383 h 7851"/>
                <a:gd name="connsiteX7" fmla="*/ 3118 w 5192"/>
                <a:gd name="connsiteY7" fmla="*/ 459 h 7851"/>
                <a:gd name="connsiteX8" fmla="*/ 452 w 5192"/>
                <a:gd name="connsiteY8" fmla="*/ -2206 h 7851"/>
                <a:gd name="connsiteX9" fmla="*/ -2075 w 5192"/>
                <a:gd name="connsiteY9" fmla="*/ -363 h 7851"/>
                <a:gd name="connsiteX10" fmla="*/ -1902 w 5192"/>
                <a:gd name="connsiteY10" fmla="*/ -17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92" h="7851">
                  <a:moveTo>
                    <a:pt x="-1902" y="-17"/>
                  </a:moveTo>
                  <a:lnTo>
                    <a:pt x="-1564" y="-183"/>
                  </a:lnTo>
                  <a:cubicBezTo>
                    <a:pt x="-1288" y="-1046"/>
                    <a:pt x="-487" y="-1661"/>
                    <a:pt x="452" y="-1654"/>
                  </a:cubicBezTo>
                  <a:cubicBezTo>
                    <a:pt x="1626" y="-1654"/>
                    <a:pt x="2572" y="-708"/>
                    <a:pt x="2572" y="459"/>
                  </a:cubicBezTo>
                  <a:lnTo>
                    <a:pt x="2572" y="5383"/>
                  </a:lnTo>
                  <a:lnTo>
                    <a:pt x="2842" y="5645"/>
                  </a:lnTo>
                  <a:lnTo>
                    <a:pt x="3118" y="5383"/>
                  </a:lnTo>
                  <a:lnTo>
                    <a:pt x="3118" y="459"/>
                  </a:lnTo>
                  <a:cubicBezTo>
                    <a:pt x="3118" y="-1025"/>
                    <a:pt x="1923" y="-2206"/>
                    <a:pt x="452" y="-2206"/>
                  </a:cubicBezTo>
                  <a:cubicBezTo>
                    <a:pt x="-722" y="-2206"/>
                    <a:pt x="-1744" y="-1426"/>
                    <a:pt x="-2075" y="-363"/>
                  </a:cubicBezTo>
                  <a:lnTo>
                    <a:pt x="-1902" y="-17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D54DBC55-6B4E-31BB-411C-DBD1144F92B8}"/>
                </a:ext>
              </a:extLst>
            </p:cNvPr>
            <p:cNvSpPr/>
            <p:nvPr/>
          </p:nvSpPr>
          <p:spPr>
            <a:xfrm flipV="1">
              <a:off x="8074764" y="3069178"/>
              <a:ext cx="6353" cy="7851"/>
            </a:xfrm>
            <a:custGeom>
              <a:avLst/>
              <a:gdLst>
                <a:gd name="connsiteX0" fmla="*/ -2085 w 6353"/>
                <a:gd name="connsiteY0" fmla="*/ 5383 h 7851"/>
                <a:gd name="connsiteX1" fmla="*/ -1816 w 6353"/>
                <a:gd name="connsiteY1" fmla="*/ 5645 h 7851"/>
                <a:gd name="connsiteX2" fmla="*/ -1532 w 6353"/>
                <a:gd name="connsiteY2" fmla="*/ 5383 h 7851"/>
                <a:gd name="connsiteX3" fmla="*/ -1532 w 6353"/>
                <a:gd name="connsiteY3" fmla="*/ 970 h 7851"/>
                <a:gd name="connsiteX4" fmla="*/ 1078 w 6353"/>
                <a:gd name="connsiteY4" fmla="*/ -1654 h 7851"/>
                <a:gd name="connsiteX5" fmla="*/ 3716 w 6353"/>
                <a:gd name="connsiteY5" fmla="*/ 970 h 7851"/>
                <a:gd name="connsiteX6" fmla="*/ 3716 w 6353"/>
                <a:gd name="connsiteY6" fmla="*/ 5383 h 7851"/>
                <a:gd name="connsiteX7" fmla="*/ 3985 w 6353"/>
                <a:gd name="connsiteY7" fmla="*/ 5645 h 7851"/>
                <a:gd name="connsiteX8" fmla="*/ 4268 w 6353"/>
                <a:gd name="connsiteY8" fmla="*/ 5383 h 7851"/>
                <a:gd name="connsiteX9" fmla="*/ 4268 w 6353"/>
                <a:gd name="connsiteY9" fmla="*/ 970 h 7851"/>
                <a:gd name="connsiteX10" fmla="*/ 1078 w 6353"/>
                <a:gd name="connsiteY10" fmla="*/ -2206 h 7851"/>
                <a:gd name="connsiteX11" fmla="*/ -2085 w 6353"/>
                <a:gd name="connsiteY11" fmla="*/ 970 h 7851"/>
                <a:gd name="connsiteX12" fmla="*/ -2085 w 6353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53" h="7851">
                  <a:moveTo>
                    <a:pt x="-2085" y="5383"/>
                  </a:moveTo>
                  <a:lnTo>
                    <a:pt x="-1816" y="5645"/>
                  </a:lnTo>
                  <a:lnTo>
                    <a:pt x="-1532" y="5383"/>
                  </a:lnTo>
                  <a:lnTo>
                    <a:pt x="-1532" y="970"/>
                  </a:lnTo>
                  <a:cubicBezTo>
                    <a:pt x="-1532" y="-480"/>
                    <a:pt x="-359" y="-1640"/>
                    <a:pt x="1078" y="-1654"/>
                  </a:cubicBezTo>
                  <a:cubicBezTo>
                    <a:pt x="2535" y="-1640"/>
                    <a:pt x="3716" y="-480"/>
                    <a:pt x="3716" y="970"/>
                  </a:cubicBezTo>
                  <a:lnTo>
                    <a:pt x="3716" y="5383"/>
                  </a:lnTo>
                  <a:lnTo>
                    <a:pt x="3985" y="5645"/>
                  </a:lnTo>
                  <a:lnTo>
                    <a:pt x="4268" y="5383"/>
                  </a:lnTo>
                  <a:lnTo>
                    <a:pt x="4268" y="970"/>
                  </a:lnTo>
                  <a:cubicBezTo>
                    <a:pt x="4268" y="-777"/>
                    <a:pt x="2839" y="-2206"/>
                    <a:pt x="1078" y="-2206"/>
                  </a:cubicBezTo>
                  <a:cubicBezTo>
                    <a:pt x="-662" y="-2206"/>
                    <a:pt x="-2085" y="-777"/>
                    <a:pt x="-2085" y="970"/>
                  </a:cubicBezTo>
                  <a:lnTo>
                    <a:pt x="-2085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C856481D-97FF-6CD4-ECD4-309B21268641}"/>
                </a:ext>
              </a:extLst>
            </p:cNvPr>
            <p:cNvSpPr/>
            <p:nvPr/>
          </p:nvSpPr>
          <p:spPr>
            <a:xfrm flipV="1">
              <a:off x="8083348" y="3069178"/>
              <a:ext cx="4585" cy="7851"/>
            </a:xfrm>
            <a:custGeom>
              <a:avLst/>
              <a:gdLst>
                <a:gd name="connsiteX0" fmla="*/ -1805 w 4585"/>
                <a:gd name="connsiteY0" fmla="*/ -2206 h 7851"/>
                <a:gd name="connsiteX1" fmla="*/ -1825 w 4585"/>
                <a:gd name="connsiteY1" fmla="*/ -2206 h 7851"/>
                <a:gd name="connsiteX2" fmla="*/ -2095 w 4585"/>
                <a:gd name="connsiteY2" fmla="*/ -1937 h 7851"/>
                <a:gd name="connsiteX3" fmla="*/ -2095 w 4585"/>
                <a:gd name="connsiteY3" fmla="*/ 5383 h 7851"/>
                <a:gd name="connsiteX4" fmla="*/ -1825 w 4585"/>
                <a:gd name="connsiteY4" fmla="*/ 5645 h 7851"/>
                <a:gd name="connsiteX5" fmla="*/ -1549 w 4585"/>
                <a:gd name="connsiteY5" fmla="*/ 5383 h 7851"/>
                <a:gd name="connsiteX6" fmla="*/ -1549 w 4585"/>
                <a:gd name="connsiteY6" fmla="*/ -1654 h 7851"/>
                <a:gd name="connsiteX7" fmla="*/ 2207 w 4585"/>
                <a:gd name="connsiteY7" fmla="*/ -1654 h 7851"/>
                <a:gd name="connsiteX8" fmla="*/ 2491 w 4585"/>
                <a:gd name="connsiteY8" fmla="*/ -1937 h 7851"/>
                <a:gd name="connsiteX9" fmla="*/ 2207 w 4585"/>
                <a:gd name="connsiteY9" fmla="*/ -2206 h 7851"/>
                <a:gd name="connsiteX10" fmla="*/ -1805 w 4585"/>
                <a:gd name="connsiteY10" fmla="*/ -2206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85" h="7851">
                  <a:moveTo>
                    <a:pt x="-1805" y="-2206"/>
                  </a:moveTo>
                  <a:lnTo>
                    <a:pt x="-1825" y="-2206"/>
                  </a:lnTo>
                  <a:lnTo>
                    <a:pt x="-2095" y="-1937"/>
                  </a:lnTo>
                  <a:lnTo>
                    <a:pt x="-2095" y="5383"/>
                  </a:lnTo>
                  <a:lnTo>
                    <a:pt x="-1825" y="5645"/>
                  </a:lnTo>
                  <a:lnTo>
                    <a:pt x="-1549" y="5383"/>
                  </a:lnTo>
                  <a:lnTo>
                    <a:pt x="-1549" y="-1654"/>
                  </a:lnTo>
                  <a:lnTo>
                    <a:pt x="2207" y="-1654"/>
                  </a:lnTo>
                  <a:lnTo>
                    <a:pt x="2491" y="-1937"/>
                  </a:lnTo>
                  <a:lnTo>
                    <a:pt x="2207" y="-2206"/>
                  </a:lnTo>
                  <a:lnTo>
                    <a:pt x="-1805" y="-220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7381FA61-A29B-1291-8F8C-73822C640713}"/>
                </a:ext>
              </a:extLst>
            </p:cNvPr>
            <p:cNvSpPr/>
            <p:nvPr/>
          </p:nvSpPr>
          <p:spPr>
            <a:xfrm flipV="1">
              <a:off x="8087712" y="3069282"/>
              <a:ext cx="5793" cy="7748"/>
            </a:xfrm>
            <a:custGeom>
              <a:avLst/>
              <a:gdLst>
                <a:gd name="connsiteX0" fmla="*/ 530 w 5793"/>
                <a:gd name="connsiteY0" fmla="*/ 1564 h 7748"/>
                <a:gd name="connsiteX1" fmla="*/ -2101 w 5793"/>
                <a:gd name="connsiteY1" fmla="*/ 5169 h 7748"/>
                <a:gd name="connsiteX2" fmla="*/ -2046 w 5793"/>
                <a:gd name="connsiteY2" fmla="*/ 5542 h 7748"/>
                <a:gd name="connsiteX3" fmla="*/ -1666 w 5793"/>
                <a:gd name="connsiteY3" fmla="*/ 5500 h 7748"/>
                <a:gd name="connsiteX4" fmla="*/ 793 w 5793"/>
                <a:gd name="connsiteY4" fmla="*/ 2123 h 7748"/>
                <a:gd name="connsiteX5" fmla="*/ 3258 w 5793"/>
                <a:gd name="connsiteY5" fmla="*/ 5500 h 7748"/>
                <a:gd name="connsiteX6" fmla="*/ 3638 w 5793"/>
                <a:gd name="connsiteY6" fmla="*/ 5542 h 7748"/>
                <a:gd name="connsiteX7" fmla="*/ 3693 w 5793"/>
                <a:gd name="connsiteY7" fmla="*/ 5169 h 7748"/>
                <a:gd name="connsiteX8" fmla="*/ 1069 w 5793"/>
                <a:gd name="connsiteY8" fmla="*/ 1585 h 7748"/>
                <a:gd name="connsiteX9" fmla="*/ 1069 w 5793"/>
                <a:gd name="connsiteY9" fmla="*/ -1937 h 7748"/>
                <a:gd name="connsiteX10" fmla="*/ 800 w 5793"/>
                <a:gd name="connsiteY10" fmla="*/ -2206 h 7748"/>
                <a:gd name="connsiteX11" fmla="*/ 530 w 5793"/>
                <a:gd name="connsiteY11" fmla="*/ -1937 h 7748"/>
                <a:gd name="connsiteX12" fmla="*/ 530 w 5793"/>
                <a:gd name="connsiteY12" fmla="*/ 1564 h 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93" h="7748">
                  <a:moveTo>
                    <a:pt x="530" y="1564"/>
                  </a:moveTo>
                  <a:lnTo>
                    <a:pt x="-2101" y="5169"/>
                  </a:lnTo>
                  <a:lnTo>
                    <a:pt x="-2046" y="5542"/>
                  </a:lnTo>
                  <a:lnTo>
                    <a:pt x="-1666" y="5500"/>
                  </a:lnTo>
                  <a:lnTo>
                    <a:pt x="793" y="2123"/>
                  </a:lnTo>
                  <a:lnTo>
                    <a:pt x="3258" y="5500"/>
                  </a:lnTo>
                  <a:lnTo>
                    <a:pt x="3638" y="5542"/>
                  </a:lnTo>
                  <a:lnTo>
                    <a:pt x="3693" y="5169"/>
                  </a:lnTo>
                  <a:lnTo>
                    <a:pt x="1069" y="1585"/>
                  </a:lnTo>
                  <a:lnTo>
                    <a:pt x="1069" y="-1937"/>
                  </a:lnTo>
                  <a:lnTo>
                    <a:pt x="800" y="-2206"/>
                  </a:lnTo>
                  <a:lnTo>
                    <a:pt x="530" y="-1937"/>
                  </a:lnTo>
                  <a:lnTo>
                    <a:pt x="530" y="156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D304AB0F-BCA6-304B-D2A1-2543481BDF27}"/>
                </a:ext>
              </a:extLst>
            </p:cNvPr>
            <p:cNvSpPr/>
            <p:nvPr/>
          </p:nvSpPr>
          <p:spPr>
            <a:xfrm flipV="1">
              <a:off x="8157243" y="3069213"/>
              <a:ext cx="5986" cy="7817"/>
            </a:xfrm>
            <a:custGeom>
              <a:avLst/>
              <a:gdLst>
                <a:gd name="connsiteX0" fmla="*/ -780 w 5986"/>
                <a:gd name="connsiteY0" fmla="*/ 376 h 7817"/>
                <a:gd name="connsiteX1" fmla="*/ 2397 w 5986"/>
                <a:gd name="connsiteY1" fmla="*/ 376 h 7817"/>
                <a:gd name="connsiteX2" fmla="*/ 816 w 5986"/>
                <a:gd name="connsiteY2" fmla="*/ 4596 h 7817"/>
                <a:gd name="connsiteX3" fmla="*/ 2597 w 5986"/>
                <a:gd name="connsiteY3" fmla="*/ -176 h 7817"/>
                <a:gd name="connsiteX4" fmla="*/ -980 w 5986"/>
                <a:gd name="connsiteY4" fmla="*/ -176 h 7817"/>
                <a:gd name="connsiteX5" fmla="*/ -1677 w 5986"/>
                <a:gd name="connsiteY5" fmla="*/ -2020 h 7817"/>
                <a:gd name="connsiteX6" fmla="*/ -1933 w 5986"/>
                <a:gd name="connsiteY6" fmla="*/ -2206 h 7817"/>
                <a:gd name="connsiteX7" fmla="*/ -2036 w 5986"/>
                <a:gd name="connsiteY7" fmla="*/ -2193 h 7817"/>
                <a:gd name="connsiteX8" fmla="*/ -2188 w 5986"/>
                <a:gd name="connsiteY8" fmla="*/ -1834 h 7817"/>
                <a:gd name="connsiteX9" fmla="*/ 532 w 5986"/>
                <a:gd name="connsiteY9" fmla="*/ 5445 h 7817"/>
                <a:gd name="connsiteX10" fmla="*/ 802 w 5986"/>
                <a:gd name="connsiteY10" fmla="*/ 5611 h 7817"/>
                <a:gd name="connsiteX11" fmla="*/ 1071 w 5986"/>
                <a:gd name="connsiteY11" fmla="*/ 5445 h 7817"/>
                <a:gd name="connsiteX12" fmla="*/ 3799 w 5986"/>
                <a:gd name="connsiteY12" fmla="*/ -1834 h 7817"/>
                <a:gd name="connsiteX13" fmla="*/ 3654 w 5986"/>
                <a:gd name="connsiteY13" fmla="*/ -2193 h 7817"/>
                <a:gd name="connsiteX14" fmla="*/ 3550 w 5986"/>
                <a:gd name="connsiteY14" fmla="*/ -2206 h 7817"/>
                <a:gd name="connsiteX15" fmla="*/ 3295 w 5986"/>
                <a:gd name="connsiteY15" fmla="*/ -2020 h 7817"/>
                <a:gd name="connsiteX16" fmla="*/ 2597 w 5986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86" h="7817">
                  <a:moveTo>
                    <a:pt x="-780" y="376"/>
                  </a:moveTo>
                  <a:lnTo>
                    <a:pt x="2397" y="376"/>
                  </a:lnTo>
                  <a:lnTo>
                    <a:pt x="816" y="4596"/>
                  </a:lnTo>
                  <a:close/>
                  <a:moveTo>
                    <a:pt x="2597" y="-176"/>
                  </a:moveTo>
                  <a:lnTo>
                    <a:pt x="-980" y="-176"/>
                  </a:lnTo>
                  <a:lnTo>
                    <a:pt x="-1677" y="-2020"/>
                  </a:lnTo>
                  <a:lnTo>
                    <a:pt x="-1933" y="-2206"/>
                  </a:lnTo>
                  <a:lnTo>
                    <a:pt x="-2036" y="-2193"/>
                  </a:lnTo>
                  <a:lnTo>
                    <a:pt x="-2188" y="-1834"/>
                  </a:lnTo>
                  <a:lnTo>
                    <a:pt x="532" y="5445"/>
                  </a:lnTo>
                  <a:lnTo>
                    <a:pt x="802" y="5611"/>
                  </a:lnTo>
                  <a:lnTo>
                    <a:pt x="1071" y="5445"/>
                  </a:lnTo>
                  <a:lnTo>
                    <a:pt x="3799" y="-1834"/>
                  </a:lnTo>
                  <a:lnTo>
                    <a:pt x="3654" y="-2193"/>
                  </a:lnTo>
                  <a:lnTo>
                    <a:pt x="3550" y="-2206"/>
                  </a:lnTo>
                  <a:lnTo>
                    <a:pt x="3295" y="-2020"/>
                  </a:lnTo>
                  <a:lnTo>
                    <a:pt x="2597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89101D0B-2BB4-0A8F-5E25-26A4AC4E31FC}"/>
                </a:ext>
              </a:extLst>
            </p:cNvPr>
            <p:cNvSpPr/>
            <p:nvPr/>
          </p:nvSpPr>
          <p:spPr>
            <a:xfrm flipV="1">
              <a:off x="8164694" y="3069178"/>
              <a:ext cx="6346" cy="7851"/>
            </a:xfrm>
            <a:custGeom>
              <a:avLst/>
              <a:gdLst>
                <a:gd name="connsiteX0" fmla="*/ -2198 w 6346"/>
                <a:gd name="connsiteY0" fmla="*/ 5383 h 7851"/>
                <a:gd name="connsiteX1" fmla="*/ -1929 w 6346"/>
                <a:gd name="connsiteY1" fmla="*/ 5645 h 7851"/>
                <a:gd name="connsiteX2" fmla="*/ -1652 w 6346"/>
                <a:gd name="connsiteY2" fmla="*/ 5383 h 7851"/>
                <a:gd name="connsiteX3" fmla="*/ -1652 w 6346"/>
                <a:gd name="connsiteY3" fmla="*/ 970 h 7851"/>
                <a:gd name="connsiteX4" fmla="*/ 965 w 6346"/>
                <a:gd name="connsiteY4" fmla="*/ -1654 h 7851"/>
                <a:gd name="connsiteX5" fmla="*/ 3596 w 6346"/>
                <a:gd name="connsiteY5" fmla="*/ 970 h 7851"/>
                <a:gd name="connsiteX6" fmla="*/ 3596 w 6346"/>
                <a:gd name="connsiteY6" fmla="*/ 5383 h 7851"/>
                <a:gd name="connsiteX7" fmla="*/ 3872 w 6346"/>
                <a:gd name="connsiteY7" fmla="*/ 5645 h 7851"/>
                <a:gd name="connsiteX8" fmla="*/ 4148 w 6346"/>
                <a:gd name="connsiteY8" fmla="*/ 5383 h 7851"/>
                <a:gd name="connsiteX9" fmla="*/ 4148 w 6346"/>
                <a:gd name="connsiteY9" fmla="*/ 970 h 7851"/>
                <a:gd name="connsiteX10" fmla="*/ 965 w 6346"/>
                <a:gd name="connsiteY10" fmla="*/ -2206 h 7851"/>
                <a:gd name="connsiteX11" fmla="*/ -2198 w 6346"/>
                <a:gd name="connsiteY11" fmla="*/ 970 h 7851"/>
                <a:gd name="connsiteX12" fmla="*/ -2198 w 6346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46" h="7851">
                  <a:moveTo>
                    <a:pt x="-2198" y="5383"/>
                  </a:moveTo>
                  <a:lnTo>
                    <a:pt x="-1929" y="5645"/>
                  </a:lnTo>
                  <a:lnTo>
                    <a:pt x="-1652" y="5383"/>
                  </a:lnTo>
                  <a:lnTo>
                    <a:pt x="-1652" y="970"/>
                  </a:lnTo>
                  <a:cubicBezTo>
                    <a:pt x="-1652" y="-480"/>
                    <a:pt x="-471" y="-1640"/>
                    <a:pt x="965" y="-1654"/>
                  </a:cubicBezTo>
                  <a:cubicBezTo>
                    <a:pt x="2422" y="-1640"/>
                    <a:pt x="3596" y="-480"/>
                    <a:pt x="3596" y="970"/>
                  </a:cubicBezTo>
                  <a:lnTo>
                    <a:pt x="3596" y="5383"/>
                  </a:lnTo>
                  <a:lnTo>
                    <a:pt x="3872" y="5645"/>
                  </a:lnTo>
                  <a:lnTo>
                    <a:pt x="4148" y="5383"/>
                  </a:lnTo>
                  <a:lnTo>
                    <a:pt x="4148" y="970"/>
                  </a:lnTo>
                  <a:cubicBezTo>
                    <a:pt x="4148" y="-777"/>
                    <a:pt x="2726" y="-2206"/>
                    <a:pt x="965" y="-2206"/>
                  </a:cubicBezTo>
                  <a:cubicBezTo>
                    <a:pt x="-775" y="-2206"/>
                    <a:pt x="-2198" y="-777"/>
                    <a:pt x="-2198" y="970"/>
                  </a:cubicBezTo>
                  <a:lnTo>
                    <a:pt x="-2198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7E1C8474-0CA3-51F0-3848-D70F132E8BCE}"/>
                </a:ext>
              </a:extLst>
            </p:cNvPr>
            <p:cNvSpPr/>
            <p:nvPr/>
          </p:nvSpPr>
          <p:spPr>
            <a:xfrm flipV="1">
              <a:off x="8173443" y="3069061"/>
              <a:ext cx="6718" cy="7968"/>
            </a:xfrm>
            <a:custGeom>
              <a:avLst/>
              <a:gdLst>
                <a:gd name="connsiteX0" fmla="*/ 1810 w 6718"/>
                <a:gd name="connsiteY0" fmla="*/ 1329 h 7968"/>
                <a:gd name="connsiteX1" fmla="*/ 1527 w 6718"/>
                <a:gd name="connsiteY1" fmla="*/ 1598 h 7968"/>
                <a:gd name="connsiteX2" fmla="*/ 1810 w 6718"/>
                <a:gd name="connsiteY2" fmla="*/ 1882 h 7968"/>
                <a:gd name="connsiteX3" fmla="*/ 4261 w 6718"/>
                <a:gd name="connsiteY3" fmla="*/ 1882 h 7968"/>
                <a:gd name="connsiteX4" fmla="*/ 4510 w 6718"/>
                <a:gd name="connsiteY4" fmla="*/ 1598 h 7968"/>
                <a:gd name="connsiteX5" fmla="*/ 4510 w 6718"/>
                <a:gd name="connsiteY5" fmla="*/ -1095 h 7968"/>
                <a:gd name="connsiteX6" fmla="*/ 4510 w 6718"/>
                <a:gd name="connsiteY6" fmla="*/ -1136 h 7968"/>
                <a:gd name="connsiteX7" fmla="*/ 4406 w 6718"/>
                <a:gd name="connsiteY7" fmla="*/ -1343 h 7968"/>
                <a:gd name="connsiteX8" fmla="*/ 1879 w 6718"/>
                <a:gd name="connsiteY8" fmla="*/ -2207 h 7968"/>
                <a:gd name="connsiteX9" fmla="*/ -2209 w 6718"/>
                <a:gd name="connsiteY9" fmla="*/ 1792 h 7968"/>
                <a:gd name="connsiteX10" fmla="*/ 1879 w 6718"/>
                <a:gd name="connsiteY10" fmla="*/ 5762 h 7968"/>
                <a:gd name="connsiteX11" fmla="*/ 4420 w 6718"/>
                <a:gd name="connsiteY11" fmla="*/ 4872 h 7968"/>
                <a:gd name="connsiteX12" fmla="*/ 4455 w 6718"/>
                <a:gd name="connsiteY12" fmla="*/ 4492 h 7968"/>
                <a:gd name="connsiteX13" fmla="*/ 4061 w 6718"/>
                <a:gd name="connsiteY13" fmla="*/ 4450 h 7968"/>
                <a:gd name="connsiteX14" fmla="*/ 1879 w 6718"/>
                <a:gd name="connsiteY14" fmla="*/ 5210 h 7968"/>
                <a:gd name="connsiteX15" fmla="*/ -1657 w 6718"/>
                <a:gd name="connsiteY15" fmla="*/ 1792 h 7968"/>
                <a:gd name="connsiteX16" fmla="*/ 1879 w 6718"/>
                <a:gd name="connsiteY16" fmla="*/ -1654 h 7968"/>
                <a:gd name="connsiteX17" fmla="*/ 3951 w 6718"/>
                <a:gd name="connsiteY17" fmla="*/ -977 h 7968"/>
                <a:gd name="connsiteX18" fmla="*/ 3951 w 6718"/>
                <a:gd name="connsiteY18" fmla="*/ 1329 h 7968"/>
                <a:gd name="connsiteX19" fmla="*/ 1810 w 6718"/>
                <a:gd name="connsiteY19" fmla="*/ 1329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18" h="7968">
                  <a:moveTo>
                    <a:pt x="1810" y="1329"/>
                  </a:moveTo>
                  <a:lnTo>
                    <a:pt x="1527" y="1598"/>
                  </a:lnTo>
                  <a:lnTo>
                    <a:pt x="1810" y="1882"/>
                  </a:lnTo>
                  <a:lnTo>
                    <a:pt x="4261" y="1882"/>
                  </a:lnTo>
                  <a:lnTo>
                    <a:pt x="4510" y="1598"/>
                  </a:lnTo>
                  <a:lnTo>
                    <a:pt x="4510" y="-1095"/>
                  </a:lnTo>
                  <a:lnTo>
                    <a:pt x="4510" y="-1136"/>
                  </a:lnTo>
                  <a:lnTo>
                    <a:pt x="4406" y="-1343"/>
                  </a:lnTo>
                  <a:cubicBezTo>
                    <a:pt x="3716" y="-1889"/>
                    <a:pt x="2839" y="-2207"/>
                    <a:pt x="1879" y="-2207"/>
                  </a:cubicBezTo>
                  <a:cubicBezTo>
                    <a:pt x="-379" y="-2193"/>
                    <a:pt x="-2209" y="-432"/>
                    <a:pt x="-2209" y="1792"/>
                  </a:cubicBezTo>
                  <a:cubicBezTo>
                    <a:pt x="-2209" y="3974"/>
                    <a:pt x="-379" y="5762"/>
                    <a:pt x="1879" y="5762"/>
                  </a:cubicBezTo>
                  <a:cubicBezTo>
                    <a:pt x="2853" y="5762"/>
                    <a:pt x="3716" y="5424"/>
                    <a:pt x="4420" y="4872"/>
                  </a:cubicBezTo>
                  <a:lnTo>
                    <a:pt x="4455" y="4492"/>
                  </a:lnTo>
                  <a:lnTo>
                    <a:pt x="4061" y="4450"/>
                  </a:lnTo>
                  <a:cubicBezTo>
                    <a:pt x="3488" y="4920"/>
                    <a:pt x="2714" y="5210"/>
                    <a:pt x="1879" y="5210"/>
                  </a:cubicBezTo>
                  <a:cubicBezTo>
                    <a:pt x="-89" y="5210"/>
                    <a:pt x="-1657" y="3670"/>
                    <a:pt x="-1657" y="1792"/>
                  </a:cubicBezTo>
                  <a:cubicBezTo>
                    <a:pt x="-1657" y="-114"/>
                    <a:pt x="-89" y="-1654"/>
                    <a:pt x="1879" y="-1654"/>
                  </a:cubicBezTo>
                  <a:cubicBezTo>
                    <a:pt x="2639" y="-1654"/>
                    <a:pt x="3371" y="-1405"/>
                    <a:pt x="3951" y="-977"/>
                  </a:cubicBezTo>
                  <a:lnTo>
                    <a:pt x="3951" y="1329"/>
                  </a:lnTo>
                  <a:lnTo>
                    <a:pt x="1810" y="1329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F68740E7-3C16-FF49-F0E6-63C354BC20A5}"/>
                </a:ext>
              </a:extLst>
            </p:cNvPr>
            <p:cNvSpPr/>
            <p:nvPr/>
          </p:nvSpPr>
          <p:spPr>
            <a:xfrm flipV="1">
              <a:off x="8182918" y="3069178"/>
              <a:ext cx="6339" cy="7851"/>
            </a:xfrm>
            <a:custGeom>
              <a:avLst/>
              <a:gdLst>
                <a:gd name="connsiteX0" fmla="*/ -2221 w 6339"/>
                <a:gd name="connsiteY0" fmla="*/ 5383 h 7851"/>
                <a:gd name="connsiteX1" fmla="*/ -1958 w 6339"/>
                <a:gd name="connsiteY1" fmla="*/ 5645 h 7851"/>
                <a:gd name="connsiteX2" fmla="*/ -1675 w 6339"/>
                <a:gd name="connsiteY2" fmla="*/ 5383 h 7851"/>
                <a:gd name="connsiteX3" fmla="*/ -1675 w 6339"/>
                <a:gd name="connsiteY3" fmla="*/ 970 h 7851"/>
                <a:gd name="connsiteX4" fmla="*/ 935 w 6339"/>
                <a:gd name="connsiteY4" fmla="*/ -1654 h 7851"/>
                <a:gd name="connsiteX5" fmla="*/ 3573 w 6339"/>
                <a:gd name="connsiteY5" fmla="*/ 970 h 7851"/>
                <a:gd name="connsiteX6" fmla="*/ 3573 w 6339"/>
                <a:gd name="connsiteY6" fmla="*/ 5383 h 7851"/>
                <a:gd name="connsiteX7" fmla="*/ 3842 w 6339"/>
                <a:gd name="connsiteY7" fmla="*/ 5645 h 7851"/>
                <a:gd name="connsiteX8" fmla="*/ 4118 w 6339"/>
                <a:gd name="connsiteY8" fmla="*/ 5383 h 7851"/>
                <a:gd name="connsiteX9" fmla="*/ 4118 w 6339"/>
                <a:gd name="connsiteY9" fmla="*/ 970 h 7851"/>
                <a:gd name="connsiteX10" fmla="*/ 935 w 6339"/>
                <a:gd name="connsiteY10" fmla="*/ -2206 h 7851"/>
                <a:gd name="connsiteX11" fmla="*/ -2221 w 6339"/>
                <a:gd name="connsiteY11" fmla="*/ 970 h 7851"/>
                <a:gd name="connsiteX12" fmla="*/ -2221 w 6339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39" h="7851">
                  <a:moveTo>
                    <a:pt x="-2221" y="5383"/>
                  </a:moveTo>
                  <a:lnTo>
                    <a:pt x="-1958" y="5645"/>
                  </a:lnTo>
                  <a:lnTo>
                    <a:pt x="-1675" y="5383"/>
                  </a:lnTo>
                  <a:lnTo>
                    <a:pt x="-1675" y="970"/>
                  </a:lnTo>
                  <a:cubicBezTo>
                    <a:pt x="-1675" y="-480"/>
                    <a:pt x="-494" y="-1640"/>
                    <a:pt x="935" y="-1654"/>
                  </a:cubicBezTo>
                  <a:cubicBezTo>
                    <a:pt x="2392" y="-1640"/>
                    <a:pt x="3573" y="-480"/>
                    <a:pt x="3573" y="970"/>
                  </a:cubicBezTo>
                  <a:lnTo>
                    <a:pt x="3573" y="5383"/>
                  </a:lnTo>
                  <a:lnTo>
                    <a:pt x="3842" y="5645"/>
                  </a:lnTo>
                  <a:lnTo>
                    <a:pt x="4118" y="5383"/>
                  </a:lnTo>
                  <a:lnTo>
                    <a:pt x="4118" y="970"/>
                  </a:lnTo>
                  <a:cubicBezTo>
                    <a:pt x="4118" y="-777"/>
                    <a:pt x="2696" y="-2206"/>
                    <a:pt x="935" y="-2206"/>
                  </a:cubicBezTo>
                  <a:cubicBezTo>
                    <a:pt x="-798" y="-2206"/>
                    <a:pt x="-2221" y="-777"/>
                    <a:pt x="-2221" y="970"/>
                  </a:cubicBezTo>
                  <a:lnTo>
                    <a:pt x="-2221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CE38030D-C0AC-7593-D4DC-B6B25E5E8C5E}"/>
                </a:ext>
              </a:extLst>
            </p:cNvPr>
            <p:cNvSpPr/>
            <p:nvPr/>
          </p:nvSpPr>
          <p:spPr>
            <a:xfrm flipV="1">
              <a:off x="8191653" y="3069061"/>
              <a:ext cx="5828" cy="7975"/>
            </a:xfrm>
            <a:custGeom>
              <a:avLst/>
              <a:gdLst>
                <a:gd name="connsiteX0" fmla="*/ -2231 w 5828"/>
                <a:gd name="connsiteY0" fmla="*/ -729 h 7975"/>
                <a:gd name="connsiteX1" fmla="*/ -1886 w 5828"/>
                <a:gd name="connsiteY1" fmla="*/ -694 h 7975"/>
                <a:gd name="connsiteX2" fmla="*/ 697 w 5828"/>
                <a:gd name="connsiteY2" fmla="*/ -1702 h 7975"/>
                <a:gd name="connsiteX3" fmla="*/ 2423 w 5828"/>
                <a:gd name="connsiteY3" fmla="*/ -1185 h 7975"/>
                <a:gd name="connsiteX4" fmla="*/ 3093 w 5828"/>
                <a:gd name="connsiteY4" fmla="*/ -24 h 7975"/>
                <a:gd name="connsiteX5" fmla="*/ 2457 w 5828"/>
                <a:gd name="connsiteY5" fmla="*/ 1060 h 7975"/>
                <a:gd name="connsiteX6" fmla="*/ 641 w 5828"/>
                <a:gd name="connsiteY6" fmla="*/ 1695 h 7975"/>
                <a:gd name="connsiteX7" fmla="*/ 621 w 5828"/>
                <a:gd name="connsiteY7" fmla="*/ 1695 h 7975"/>
                <a:gd name="connsiteX8" fmla="*/ -1237 w 5828"/>
                <a:gd name="connsiteY8" fmla="*/ 2358 h 7975"/>
                <a:gd name="connsiteX9" fmla="*/ -2038 w 5828"/>
                <a:gd name="connsiteY9" fmla="*/ 3725 h 7975"/>
                <a:gd name="connsiteX10" fmla="*/ -1223 w 5828"/>
                <a:gd name="connsiteY10" fmla="*/ 5196 h 7975"/>
                <a:gd name="connsiteX11" fmla="*/ 669 w 5828"/>
                <a:gd name="connsiteY11" fmla="*/ 5769 h 7975"/>
                <a:gd name="connsiteX12" fmla="*/ 3093 w 5828"/>
                <a:gd name="connsiteY12" fmla="*/ 4858 h 7975"/>
                <a:gd name="connsiteX13" fmla="*/ 3162 w 5828"/>
                <a:gd name="connsiteY13" fmla="*/ 4512 h 7975"/>
                <a:gd name="connsiteX14" fmla="*/ 2824 w 5828"/>
                <a:gd name="connsiteY14" fmla="*/ 4443 h 7975"/>
                <a:gd name="connsiteX15" fmla="*/ 669 w 5828"/>
                <a:gd name="connsiteY15" fmla="*/ 5272 h 7975"/>
                <a:gd name="connsiteX16" fmla="*/ -933 w 5828"/>
                <a:gd name="connsiteY16" fmla="*/ 4802 h 7975"/>
                <a:gd name="connsiteX17" fmla="*/ -1548 w 5828"/>
                <a:gd name="connsiteY17" fmla="*/ 3725 h 7975"/>
                <a:gd name="connsiteX18" fmla="*/ -961 w 5828"/>
                <a:gd name="connsiteY18" fmla="*/ 2772 h 7975"/>
                <a:gd name="connsiteX19" fmla="*/ 717 w 5828"/>
                <a:gd name="connsiteY19" fmla="*/ 2178 h 7975"/>
                <a:gd name="connsiteX20" fmla="*/ 745 w 5828"/>
                <a:gd name="connsiteY20" fmla="*/ 2178 h 7975"/>
                <a:gd name="connsiteX21" fmla="*/ 2734 w 5828"/>
                <a:gd name="connsiteY21" fmla="*/ 1460 h 7975"/>
                <a:gd name="connsiteX22" fmla="*/ 3597 w 5828"/>
                <a:gd name="connsiteY22" fmla="*/ -24 h 7975"/>
                <a:gd name="connsiteX23" fmla="*/ 2713 w 5828"/>
                <a:gd name="connsiteY23" fmla="*/ -1592 h 7975"/>
                <a:gd name="connsiteX24" fmla="*/ 697 w 5828"/>
                <a:gd name="connsiteY24" fmla="*/ -2207 h 7975"/>
                <a:gd name="connsiteX25" fmla="*/ -2197 w 5828"/>
                <a:gd name="connsiteY25" fmla="*/ -1074 h 7975"/>
                <a:gd name="connsiteX26" fmla="*/ -2231 w 5828"/>
                <a:gd name="connsiteY26" fmla="*/ -729 h 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828" h="7975">
                  <a:moveTo>
                    <a:pt x="-2231" y="-729"/>
                  </a:moveTo>
                  <a:lnTo>
                    <a:pt x="-1886" y="-694"/>
                  </a:lnTo>
                  <a:cubicBezTo>
                    <a:pt x="-1299" y="-1164"/>
                    <a:pt x="-325" y="-1709"/>
                    <a:pt x="697" y="-1702"/>
                  </a:cubicBezTo>
                  <a:cubicBezTo>
                    <a:pt x="1380" y="-1702"/>
                    <a:pt x="1995" y="-1502"/>
                    <a:pt x="2423" y="-1185"/>
                  </a:cubicBezTo>
                  <a:lnTo>
                    <a:pt x="3093" y="-24"/>
                  </a:lnTo>
                  <a:lnTo>
                    <a:pt x="2457" y="1060"/>
                  </a:lnTo>
                  <a:cubicBezTo>
                    <a:pt x="2029" y="1336"/>
                    <a:pt x="1401" y="1550"/>
                    <a:pt x="641" y="1695"/>
                  </a:cubicBezTo>
                  <a:lnTo>
                    <a:pt x="621" y="1695"/>
                  </a:lnTo>
                  <a:cubicBezTo>
                    <a:pt x="-111" y="1826"/>
                    <a:pt x="-753" y="2033"/>
                    <a:pt x="-1237" y="2358"/>
                  </a:cubicBezTo>
                  <a:lnTo>
                    <a:pt x="-2038" y="3725"/>
                  </a:lnTo>
                  <a:lnTo>
                    <a:pt x="-1223" y="5196"/>
                  </a:lnTo>
                  <a:cubicBezTo>
                    <a:pt x="-733" y="5548"/>
                    <a:pt x="-70" y="5769"/>
                    <a:pt x="669" y="5769"/>
                  </a:cubicBezTo>
                  <a:cubicBezTo>
                    <a:pt x="1705" y="5769"/>
                    <a:pt x="2478" y="5258"/>
                    <a:pt x="3093" y="4858"/>
                  </a:cubicBezTo>
                  <a:lnTo>
                    <a:pt x="3162" y="4512"/>
                  </a:lnTo>
                  <a:lnTo>
                    <a:pt x="2824" y="4443"/>
                  </a:lnTo>
                  <a:cubicBezTo>
                    <a:pt x="2209" y="4844"/>
                    <a:pt x="1532" y="5272"/>
                    <a:pt x="669" y="5272"/>
                  </a:cubicBezTo>
                  <a:cubicBezTo>
                    <a:pt x="34" y="5272"/>
                    <a:pt x="-532" y="5085"/>
                    <a:pt x="-933" y="4802"/>
                  </a:cubicBezTo>
                  <a:lnTo>
                    <a:pt x="-1548" y="3725"/>
                  </a:lnTo>
                  <a:lnTo>
                    <a:pt x="-961" y="2772"/>
                  </a:lnTo>
                  <a:cubicBezTo>
                    <a:pt x="-574" y="2503"/>
                    <a:pt x="13" y="2309"/>
                    <a:pt x="717" y="2178"/>
                  </a:cubicBezTo>
                  <a:lnTo>
                    <a:pt x="745" y="2178"/>
                  </a:lnTo>
                  <a:cubicBezTo>
                    <a:pt x="1525" y="2033"/>
                    <a:pt x="2216" y="1805"/>
                    <a:pt x="2734" y="1460"/>
                  </a:cubicBezTo>
                  <a:cubicBezTo>
                    <a:pt x="3252" y="1122"/>
                    <a:pt x="3597" y="611"/>
                    <a:pt x="3597" y="-24"/>
                  </a:cubicBezTo>
                  <a:cubicBezTo>
                    <a:pt x="3597" y="-646"/>
                    <a:pt x="3238" y="-1212"/>
                    <a:pt x="2713" y="-1592"/>
                  </a:cubicBezTo>
                  <a:cubicBezTo>
                    <a:pt x="2188" y="-1972"/>
                    <a:pt x="1484" y="-2207"/>
                    <a:pt x="697" y="-2207"/>
                  </a:cubicBezTo>
                  <a:cubicBezTo>
                    <a:pt x="-505" y="-2200"/>
                    <a:pt x="-1548" y="-1592"/>
                    <a:pt x="-2197" y="-1074"/>
                  </a:cubicBezTo>
                  <a:lnTo>
                    <a:pt x="-2231" y="-729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74675679-D90C-0EF7-63CA-EC33E2C93D67}"/>
                </a:ext>
              </a:extLst>
            </p:cNvPr>
            <p:cNvSpPr/>
            <p:nvPr/>
          </p:nvSpPr>
          <p:spPr>
            <a:xfrm flipV="1">
              <a:off x="8198704" y="3069178"/>
              <a:ext cx="5807" cy="7851"/>
            </a:xfrm>
            <a:custGeom>
              <a:avLst/>
              <a:gdLst>
                <a:gd name="connsiteX0" fmla="*/ 398 w 5807"/>
                <a:gd name="connsiteY0" fmla="*/ 5100 h 7851"/>
                <a:gd name="connsiteX1" fmla="*/ -1971 w 5807"/>
                <a:gd name="connsiteY1" fmla="*/ 5100 h 7851"/>
                <a:gd name="connsiteX2" fmla="*/ -2240 w 5807"/>
                <a:gd name="connsiteY2" fmla="*/ 5383 h 7851"/>
                <a:gd name="connsiteX3" fmla="*/ -1971 w 5807"/>
                <a:gd name="connsiteY3" fmla="*/ 5645 h 7851"/>
                <a:gd name="connsiteX4" fmla="*/ 3298 w 5807"/>
                <a:gd name="connsiteY4" fmla="*/ 5645 h 7851"/>
                <a:gd name="connsiteX5" fmla="*/ 3567 w 5807"/>
                <a:gd name="connsiteY5" fmla="*/ 5383 h 7851"/>
                <a:gd name="connsiteX6" fmla="*/ 3298 w 5807"/>
                <a:gd name="connsiteY6" fmla="*/ 5100 h 7851"/>
                <a:gd name="connsiteX7" fmla="*/ 929 w 5807"/>
                <a:gd name="connsiteY7" fmla="*/ 5100 h 7851"/>
                <a:gd name="connsiteX8" fmla="*/ 929 w 5807"/>
                <a:gd name="connsiteY8" fmla="*/ -1937 h 7851"/>
                <a:gd name="connsiteX9" fmla="*/ 660 w 5807"/>
                <a:gd name="connsiteY9" fmla="*/ -2206 h 7851"/>
                <a:gd name="connsiteX10" fmla="*/ 398 w 5807"/>
                <a:gd name="connsiteY10" fmla="*/ -1937 h 7851"/>
                <a:gd name="connsiteX11" fmla="*/ 398 w 5807"/>
                <a:gd name="connsiteY11" fmla="*/ 5100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7" h="7851">
                  <a:moveTo>
                    <a:pt x="398" y="5100"/>
                  </a:moveTo>
                  <a:lnTo>
                    <a:pt x="-1971" y="5100"/>
                  </a:lnTo>
                  <a:lnTo>
                    <a:pt x="-2240" y="5383"/>
                  </a:lnTo>
                  <a:lnTo>
                    <a:pt x="-1971" y="5645"/>
                  </a:lnTo>
                  <a:lnTo>
                    <a:pt x="3298" y="5645"/>
                  </a:lnTo>
                  <a:lnTo>
                    <a:pt x="3567" y="5383"/>
                  </a:lnTo>
                  <a:lnTo>
                    <a:pt x="3298" y="5100"/>
                  </a:lnTo>
                  <a:lnTo>
                    <a:pt x="929" y="5100"/>
                  </a:lnTo>
                  <a:lnTo>
                    <a:pt x="929" y="-1937"/>
                  </a:lnTo>
                  <a:lnTo>
                    <a:pt x="660" y="-2206"/>
                  </a:lnTo>
                  <a:lnTo>
                    <a:pt x="398" y="-1937"/>
                  </a:lnTo>
                  <a:lnTo>
                    <a:pt x="398" y="5100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D08796E4-F91C-7BC0-B383-F960A148E957}"/>
                </a:ext>
              </a:extLst>
            </p:cNvPr>
            <p:cNvSpPr/>
            <p:nvPr/>
          </p:nvSpPr>
          <p:spPr>
            <a:xfrm flipV="1">
              <a:off x="8250177" y="3069061"/>
              <a:ext cx="5835" cy="7975"/>
            </a:xfrm>
            <a:custGeom>
              <a:avLst/>
              <a:gdLst>
                <a:gd name="connsiteX0" fmla="*/ -2305 w 5835"/>
                <a:gd name="connsiteY0" fmla="*/ -729 h 7975"/>
                <a:gd name="connsiteX1" fmla="*/ -1953 w 5835"/>
                <a:gd name="connsiteY1" fmla="*/ -694 h 7975"/>
                <a:gd name="connsiteX2" fmla="*/ 623 w 5835"/>
                <a:gd name="connsiteY2" fmla="*/ -1702 h 7975"/>
                <a:gd name="connsiteX3" fmla="*/ 2349 w 5835"/>
                <a:gd name="connsiteY3" fmla="*/ -1185 h 7975"/>
                <a:gd name="connsiteX4" fmla="*/ 3026 w 5835"/>
                <a:gd name="connsiteY4" fmla="*/ -24 h 7975"/>
                <a:gd name="connsiteX5" fmla="*/ 2384 w 5835"/>
                <a:gd name="connsiteY5" fmla="*/ 1060 h 7975"/>
                <a:gd name="connsiteX6" fmla="*/ 568 w 5835"/>
                <a:gd name="connsiteY6" fmla="*/ 1695 h 7975"/>
                <a:gd name="connsiteX7" fmla="*/ 547 w 5835"/>
                <a:gd name="connsiteY7" fmla="*/ 1695 h 7975"/>
                <a:gd name="connsiteX8" fmla="*/ -1303 w 5835"/>
                <a:gd name="connsiteY8" fmla="*/ 2358 h 7975"/>
                <a:gd name="connsiteX9" fmla="*/ -2111 w 5835"/>
                <a:gd name="connsiteY9" fmla="*/ 3725 h 7975"/>
                <a:gd name="connsiteX10" fmla="*/ -1296 w 5835"/>
                <a:gd name="connsiteY10" fmla="*/ 5196 h 7975"/>
                <a:gd name="connsiteX11" fmla="*/ 603 w 5835"/>
                <a:gd name="connsiteY11" fmla="*/ 5769 h 7975"/>
                <a:gd name="connsiteX12" fmla="*/ 3026 w 5835"/>
                <a:gd name="connsiteY12" fmla="*/ 4858 h 7975"/>
                <a:gd name="connsiteX13" fmla="*/ 3088 w 5835"/>
                <a:gd name="connsiteY13" fmla="*/ 4512 h 7975"/>
                <a:gd name="connsiteX14" fmla="*/ 2757 w 5835"/>
                <a:gd name="connsiteY14" fmla="*/ 4443 h 7975"/>
                <a:gd name="connsiteX15" fmla="*/ 603 w 5835"/>
                <a:gd name="connsiteY15" fmla="*/ 5272 h 7975"/>
                <a:gd name="connsiteX16" fmla="*/ -1000 w 5835"/>
                <a:gd name="connsiteY16" fmla="*/ 4802 h 7975"/>
                <a:gd name="connsiteX17" fmla="*/ -1621 w 5835"/>
                <a:gd name="connsiteY17" fmla="*/ 3725 h 7975"/>
                <a:gd name="connsiteX18" fmla="*/ -1034 w 5835"/>
                <a:gd name="connsiteY18" fmla="*/ 2772 h 7975"/>
                <a:gd name="connsiteX19" fmla="*/ 644 w 5835"/>
                <a:gd name="connsiteY19" fmla="*/ 2178 h 7975"/>
                <a:gd name="connsiteX20" fmla="*/ 671 w 5835"/>
                <a:gd name="connsiteY20" fmla="*/ 2178 h 7975"/>
                <a:gd name="connsiteX21" fmla="*/ 2667 w 5835"/>
                <a:gd name="connsiteY21" fmla="*/ 1460 h 7975"/>
                <a:gd name="connsiteX22" fmla="*/ 3530 w 5835"/>
                <a:gd name="connsiteY22" fmla="*/ -24 h 7975"/>
                <a:gd name="connsiteX23" fmla="*/ 2640 w 5835"/>
                <a:gd name="connsiteY23" fmla="*/ -1592 h 7975"/>
                <a:gd name="connsiteX24" fmla="*/ 623 w 5835"/>
                <a:gd name="connsiteY24" fmla="*/ -2207 h 7975"/>
                <a:gd name="connsiteX25" fmla="*/ -2270 w 5835"/>
                <a:gd name="connsiteY25" fmla="*/ -1074 h 7975"/>
                <a:gd name="connsiteX26" fmla="*/ -2305 w 5835"/>
                <a:gd name="connsiteY26" fmla="*/ -729 h 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835" h="7975">
                  <a:moveTo>
                    <a:pt x="-2305" y="-729"/>
                  </a:moveTo>
                  <a:lnTo>
                    <a:pt x="-1953" y="-694"/>
                  </a:lnTo>
                  <a:cubicBezTo>
                    <a:pt x="-1372" y="-1164"/>
                    <a:pt x="-399" y="-1709"/>
                    <a:pt x="623" y="-1702"/>
                  </a:cubicBezTo>
                  <a:cubicBezTo>
                    <a:pt x="1307" y="-1702"/>
                    <a:pt x="1921" y="-1502"/>
                    <a:pt x="2349" y="-1185"/>
                  </a:cubicBezTo>
                  <a:lnTo>
                    <a:pt x="3026" y="-24"/>
                  </a:lnTo>
                  <a:lnTo>
                    <a:pt x="2384" y="1060"/>
                  </a:lnTo>
                  <a:cubicBezTo>
                    <a:pt x="1956" y="1336"/>
                    <a:pt x="1327" y="1550"/>
                    <a:pt x="568" y="1695"/>
                  </a:cubicBezTo>
                  <a:lnTo>
                    <a:pt x="547" y="1695"/>
                  </a:lnTo>
                  <a:cubicBezTo>
                    <a:pt x="-185" y="1826"/>
                    <a:pt x="-820" y="2033"/>
                    <a:pt x="-1303" y="2358"/>
                  </a:cubicBezTo>
                  <a:lnTo>
                    <a:pt x="-2111" y="3725"/>
                  </a:lnTo>
                  <a:lnTo>
                    <a:pt x="-1296" y="5196"/>
                  </a:lnTo>
                  <a:cubicBezTo>
                    <a:pt x="-799" y="5548"/>
                    <a:pt x="-136" y="5769"/>
                    <a:pt x="603" y="5769"/>
                  </a:cubicBezTo>
                  <a:cubicBezTo>
                    <a:pt x="1631" y="5769"/>
                    <a:pt x="2405" y="5258"/>
                    <a:pt x="3026" y="4858"/>
                  </a:cubicBezTo>
                  <a:lnTo>
                    <a:pt x="3088" y="4512"/>
                  </a:lnTo>
                  <a:lnTo>
                    <a:pt x="2757" y="4443"/>
                  </a:lnTo>
                  <a:cubicBezTo>
                    <a:pt x="2136" y="4844"/>
                    <a:pt x="1466" y="5272"/>
                    <a:pt x="603" y="5272"/>
                  </a:cubicBezTo>
                  <a:cubicBezTo>
                    <a:pt x="-40" y="5272"/>
                    <a:pt x="-606" y="5085"/>
                    <a:pt x="-1000" y="4802"/>
                  </a:cubicBezTo>
                  <a:lnTo>
                    <a:pt x="-1621" y="3725"/>
                  </a:lnTo>
                  <a:lnTo>
                    <a:pt x="-1034" y="2772"/>
                  </a:lnTo>
                  <a:cubicBezTo>
                    <a:pt x="-640" y="2503"/>
                    <a:pt x="-61" y="2309"/>
                    <a:pt x="644" y="2178"/>
                  </a:cubicBezTo>
                  <a:lnTo>
                    <a:pt x="671" y="2178"/>
                  </a:lnTo>
                  <a:cubicBezTo>
                    <a:pt x="1452" y="2033"/>
                    <a:pt x="2149" y="1805"/>
                    <a:pt x="2667" y="1460"/>
                  </a:cubicBezTo>
                  <a:cubicBezTo>
                    <a:pt x="3178" y="1122"/>
                    <a:pt x="3530" y="611"/>
                    <a:pt x="3530" y="-24"/>
                  </a:cubicBezTo>
                  <a:cubicBezTo>
                    <a:pt x="3530" y="-646"/>
                    <a:pt x="3171" y="-1212"/>
                    <a:pt x="2640" y="-1592"/>
                  </a:cubicBezTo>
                  <a:cubicBezTo>
                    <a:pt x="2115" y="-1972"/>
                    <a:pt x="1410" y="-2207"/>
                    <a:pt x="623" y="-2207"/>
                  </a:cubicBezTo>
                  <a:cubicBezTo>
                    <a:pt x="-578" y="-2200"/>
                    <a:pt x="-1621" y="-1592"/>
                    <a:pt x="-2270" y="-1074"/>
                  </a:cubicBezTo>
                  <a:lnTo>
                    <a:pt x="-2305" y="-729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85E64D01-5312-B89D-4D75-9D8F1B0746EA}"/>
                </a:ext>
              </a:extLst>
            </p:cNvPr>
            <p:cNvSpPr/>
            <p:nvPr/>
          </p:nvSpPr>
          <p:spPr>
            <a:xfrm flipV="1">
              <a:off x="8258001" y="3069178"/>
              <a:ext cx="4578" cy="7851"/>
            </a:xfrm>
            <a:custGeom>
              <a:avLst/>
              <a:gdLst>
                <a:gd name="connsiteX0" fmla="*/ -2314 w 4578"/>
                <a:gd name="connsiteY0" fmla="*/ 5383 h 7851"/>
                <a:gd name="connsiteX1" fmla="*/ -2044 w 4578"/>
                <a:gd name="connsiteY1" fmla="*/ 5645 h 7851"/>
                <a:gd name="connsiteX2" fmla="*/ 1995 w 4578"/>
                <a:gd name="connsiteY2" fmla="*/ 5645 h 7851"/>
                <a:gd name="connsiteX3" fmla="*/ 2265 w 4578"/>
                <a:gd name="connsiteY3" fmla="*/ 5383 h 7851"/>
                <a:gd name="connsiteX4" fmla="*/ 1995 w 4578"/>
                <a:gd name="connsiteY4" fmla="*/ 5100 h 7851"/>
                <a:gd name="connsiteX5" fmla="*/ -1761 w 4578"/>
                <a:gd name="connsiteY5" fmla="*/ 5100 h 7851"/>
                <a:gd name="connsiteX6" fmla="*/ -1761 w 4578"/>
                <a:gd name="connsiteY6" fmla="*/ 1992 h 7851"/>
                <a:gd name="connsiteX7" fmla="*/ 1526 w 4578"/>
                <a:gd name="connsiteY7" fmla="*/ 1992 h 7851"/>
                <a:gd name="connsiteX8" fmla="*/ 1788 w 4578"/>
                <a:gd name="connsiteY8" fmla="*/ 1709 h 7851"/>
                <a:gd name="connsiteX9" fmla="*/ 1526 w 4578"/>
                <a:gd name="connsiteY9" fmla="*/ 1440 h 7851"/>
                <a:gd name="connsiteX10" fmla="*/ -1761 w 4578"/>
                <a:gd name="connsiteY10" fmla="*/ 1440 h 7851"/>
                <a:gd name="connsiteX11" fmla="*/ -1761 w 4578"/>
                <a:gd name="connsiteY11" fmla="*/ -1654 h 7851"/>
                <a:gd name="connsiteX12" fmla="*/ 1995 w 4578"/>
                <a:gd name="connsiteY12" fmla="*/ -1654 h 7851"/>
                <a:gd name="connsiteX13" fmla="*/ 2265 w 4578"/>
                <a:gd name="connsiteY13" fmla="*/ -1937 h 7851"/>
                <a:gd name="connsiteX14" fmla="*/ 1995 w 4578"/>
                <a:gd name="connsiteY14" fmla="*/ -2206 h 7851"/>
                <a:gd name="connsiteX15" fmla="*/ -2010 w 4578"/>
                <a:gd name="connsiteY15" fmla="*/ -2206 h 7851"/>
                <a:gd name="connsiteX16" fmla="*/ -2044 w 4578"/>
                <a:gd name="connsiteY16" fmla="*/ -2206 h 7851"/>
                <a:gd name="connsiteX17" fmla="*/ -2065 w 4578"/>
                <a:gd name="connsiteY17" fmla="*/ -2206 h 7851"/>
                <a:gd name="connsiteX18" fmla="*/ -2314 w 4578"/>
                <a:gd name="connsiteY18" fmla="*/ -1937 h 7851"/>
                <a:gd name="connsiteX19" fmla="*/ -2314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2314" y="5383"/>
                  </a:moveTo>
                  <a:lnTo>
                    <a:pt x="-2044" y="5645"/>
                  </a:lnTo>
                  <a:lnTo>
                    <a:pt x="1995" y="5645"/>
                  </a:lnTo>
                  <a:lnTo>
                    <a:pt x="2265" y="5383"/>
                  </a:lnTo>
                  <a:lnTo>
                    <a:pt x="1995" y="5100"/>
                  </a:lnTo>
                  <a:lnTo>
                    <a:pt x="-1761" y="5100"/>
                  </a:lnTo>
                  <a:lnTo>
                    <a:pt x="-1761" y="1992"/>
                  </a:lnTo>
                  <a:lnTo>
                    <a:pt x="1526" y="1992"/>
                  </a:lnTo>
                  <a:lnTo>
                    <a:pt x="1788" y="1709"/>
                  </a:lnTo>
                  <a:lnTo>
                    <a:pt x="1526" y="1440"/>
                  </a:lnTo>
                  <a:lnTo>
                    <a:pt x="-1761" y="1440"/>
                  </a:lnTo>
                  <a:lnTo>
                    <a:pt x="-1761" y="-1654"/>
                  </a:lnTo>
                  <a:lnTo>
                    <a:pt x="1995" y="-1654"/>
                  </a:lnTo>
                  <a:lnTo>
                    <a:pt x="2265" y="-1937"/>
                  </a:lnTo>
                  <a:lnTo>
                    <a:pt x="1995" y="-2206"/>
                  </a:lnTo>
                  <a:lnTo>
                    <a:pt x="-2010" y="-2206"/>
                  </a:lnTo>
                  <a:lnTo>
                    <a:pt x="-2044" y="-2206"/>
                  </a:lnTo>
                  <a:lnTo>
                    <a:pt x="-2065" y="-2206"/>
                  </a:lnTo>
                  <a:lnTo>
                    <a:pt x="-2314" y="-1937"/>
                  </a:lnTo>
                  <a:lnTo>
                    <a:pt x="-2314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44793080-610F-A10D-0EB5-85B14302D094}"/>
                </a:ext>
              </a:extLst>
            </p:cNvPr>
            <p:cNvSpPr/>
            <p:nvPr/>
          </p:nvSpPr>
          <p:spPr>
            <a:xfrm flipV="1">
              <a:off x="8264637" y="3069178"/>
              <a:ext cx="4716" cy="7851"/>
            </a:xfrm>
            <a:custGeom>
              <a:avLst/>
              <a:gdLst>
                <a:gd name="connsiteX0" fmla="*/ 171 w 4716"/>
                <a:gd name="connsiteY0" fmla="*/ 1702 h 7851"/>
                <a:gd name="connsiteX1" fmla="*/ 1862 w 4716"/>
                <a:gd name="connsiteY1" fmla="*/ 3401 h 7851"/>
                <a:gd name="connsiteX2" fmla="*/ 171 w 4716"/>
                <a:gd name="connsiteY2" fmla="*/ 5100 h 7851"/>
                <a:gd name="connsiteX3" fmla="*/ -1777 w 4716"/>
                <a:gd name="connsiteY3" fmla="*/ 5100 h 7851"/>
                <a:gd name="connsiteX4" fmla="*/ -1777 w 4716"/>
                <a:gd name="connsiteY4" fmla="*/ 1702 h 7851"/>
                <a:gd name="connsiteX5" fmla="*/ -2322 w 4716"/>
                <a:gd name="connsiteY5" fmla="*/ 5383 h 7851"/>
                <a:gd name="connsiteX6" fmla="*/ -2053 w 4716"/>
                <a:gd name="connsiteY6" fmla="*/ 5645 h 7851"/>
                <a:gd name="connsiteX7" fmla="*/ 171 w 4716"/>
                <a:gd name="connsiteY7" fmla="*/ 5645 h 7851"/>
                <a:gd name="connsiteX8" fmla="*/ 2394 w 4716"/>
                <a:gd name="connsiteY8" fmla="*/ 3401 h 7851"/>
                <a:gd name="connsiteX9" fmla="*/ 171 w 4716"/>
                <a:gd name="connsiteY9" fmla="*/ 1170 h 7851"/>
                <a:gd name="connsiteX10" fmla="*/ -1777 w 4716"/>
                <a:gd name="connsiteY10" fmla="*/ 1150 h 7851"/>
                <a:gd name="connsiteX11" fmla="*/ -1777 w 4716"/>
                <a:gd name="connsiteY11" fmla="*/ -1937 h 7851"/>
                <a:gd name="connsiteX12" fmla="*/ -2053 w 4716"/>
                <a:gd name="connsiteY12" fmla="*/ -2206 h 7851"/>
                <a:gd name="connsiteX13" fmla="*/ -2322 w 4716"/>
                <a:gd name="connsiteY13" fmla="*/ -1937 h 7851"/>
                <a:gd name="connsiteX14" fmla="*/ -2322 w 4716"/>
                <a:gd name="connsiteY14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716" h="7851">
                  <a:moveTo>
                    <a:pt x="171" y="1702"/>
                  </a:moveTo>
                  <a:cubicBezTo>
                    <a:pt x="1096" y="1709"/>
                    <a:pt x="1862" y="2475"/>
                    <a:pt x="1862" y="3401"/>
                  </a:cubicBezTo>
                  <a:cubicBezTo>
                    <a:pt x="1862" y="4333"/>
                    <a:pt x="1096" y="5100"/>
                    <a:pt x="171" y="5100"/>
                  </a:cubicBezTo>
                  <a:lnTo>
                    <a:pt x="-1777" y="5100"/>
                  </a:lnTo>
                  <a:lnTo>
                    <a:pt x="-1777" y="1702"/>
                  </a:lnTo>
                  <a:close/>
                  <a:moveTo>
                    <a:pt x="-2322" y="5383"/>
                  </a:moveTo>
                  <a:lnTo>
                    <a:pt x="-2053" y="5645"/>
                  </a:lnTo>
                  <a:lnTo>
                    <a:pt x="171" y="5645"/>
                  </a:lnTo>
                  <a:cubicBezTo>
                    <a:pt x="1400" y="5645"/>
                    <a:pt x="2394" y="4637"/>
                    <a:pt x="2394" y="3401"/>
                  </a:cubicBezTo>
                  <a:cubicBezTo>
                    <a:pt x="2394" y="2172"/>
                    <a:pt x="1400" y="1170"/>
                    <a:pt x="171" y="1170"/>
                  </a:cubicBezTo>
                  <a:lnTo>
                    <a:pt x="-1777" y="1150"/>
                  </a:lnTo>
                  <a:lnTo>
                    <a:pt x="-1777" y="-1937"/>
                  </a:lnTo>
                  <a:lnTo>
                    <a:pt x="-2053" y="-2206"/>
                  </a:lnTo>
                  <a:lnTo>
                    <a:pt x="-2322" y="-1937"/>
                  </a:lnTo>
                  <a:lnTo>
                    <a:pt x="-2322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EC0B99A3-36AD-7FD8-C03E-B80E5E784CF8}"/>
                </a:ext>
              </a:extLst>
            </p:cNvPr>
            <p:cNvSpPr/>
            <p:nvPr/>
          </p:nvSpPr>
          <p:spPr>
            <a:xfrm flipV="1">
              <a:off x="8270555" y="3069178"/>
              <a:ext cx="5814" cy="7851"/>
            </a:xfrm>
            <a:custGeom>
              <a:avLst/>
              <a:gdLst>
                <a:gd name="connsiteX0" fmla="*/ 308 w 5814"/>
                <a:gd name="connsiteY0" fmla="*/ 5100 h 7851"/>
                <a:gd name="connsiteX1" fmla="*/ -2061 w 5814"/>
                <a:gd name="connsiteY1" fmla="*/ 5100 h 7851"/>
                <a:gd name="connsiteX2" fmla="*/ -2330 w 5814"/>
                <a:gd name="connsiteY2" fmla="*/ 5383 h 7851"/>
                <a:gd name="connsiteX3" fmla="*/ -2061 w 5814"/>
                <a:gd name="connsiteY3" fmla="*/ 5645 h 7851"/>
                <a:gd name="connsiteX4" fmla="*/ 3208 w 5814"/>
                <a:gd name="connsiteY4" fmla="*/ 5645 h 7851"/>
                <a:gd name="connsiteX5" fmla="*/ 3484 w 5814"/>
                <a:gd name="connsiteY5" fmla="*/ 5383 h 7851"/>
                <a:gd name="connsiteX6" fmla="*/ 3208 w 5814"/>
                <a:gd name="connsiteY6" fmla="*/ 5100 h 7851"/>
                <a:gd name="connsiteX7" fmla="*/ 846 w 5814"/>
                <a:gd name="connsiteY7" fmla="*/ 5100 h 7851"/>
                <a:gd name="connsiteX8" fmla="*/ 846 w 5814"/>
                <a:gd name="connsiteY8" fmla="*/ -1937 h 7851"/>
                <a:gd name="connsiteX9" fmla="*/ 577 w 5814"/>
                <a:gd name="connsiteY9" fmla="*/ -2206 h 7851"/>
                <a:gd name="connsiteX10" fmla="*/ 308 w 5814"/>
                <a:gd name="connsiteY10" fmla="*/ -1937 h 7851"/>
                <a:gd name="connsiteX11" fmla="*/ 308 w 5814"/>
                <a:gd name="connsiteY11" fmla="*/ 5100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14" h="7851">
                  <a:moveTo>
                    <a:pt x="308" y="5100"/>
                  </a:moveTo>
                  <a:lnTo>
                    <a:pt x="-2061" y="5100"/>
                  </a:lnTo>
                  <a:lnTo>
                    <a:pt x="-2330" y="5383"/>
                  </a:lnTo>
                  <a:lnTo>
                    <a:pt x="-2061" y="5645"/>
                  </a:lnTo>
                  <a:lnTo>
                    <a:pt x="3208" y="5645"/>
                  </a:lnTo>
                  <a:lnTo>
                    <a:pt x="3484" y="5383"/>
                  </a:lnTo>
                  <a:lnTo>
                    <a:pt x="3208" y="5100"/>
                  </a:lnTo>
                  <a:lnTo>
                    <a:pt x="846" y="5100"/>
                  </a:lnTo>
                  <a:lnTo>
                    <a:pt x="846" y="-1937"/>
                  </a:lnTo>
                  <a:lnTo>
                    <a:pt x="577" y="-2206"/>
                  </a:lnTo>
                  <a:lnTo>
                    <a:pt x="308" y="-1937"/>
                  </a:lnTo>
                  <a:lnTo>
                    <a:pt x="308" y="5100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3CDFDB3F-B30F-13D9-ABC6-0ABC4B895C81}"/>
                </a:ext>
              </a:extLst>
            </p:cNvPr>
            <p:cNvSpPr/>
            <p:nvPr/>
          </p:nvSpPr>
          <p:spPr>
            <a:xfrm flipV="1">
              <a:off x="8278413" y="3069178"/>
              <a:ext cx="4578" cy="7851"/>
            </a:xfrm>
            <a:custGeom>
              <a:avLst/>
              <a:gdLst>
                <a:gd name="connsiteX0" fmla="*/ -2339 w 4578"/>
                <a:gd name="connsiteY0" fmla="*/ 5383 h 7851"/>
                <a:gd name="connsiteX1" fmla="*/ -2070 w 4578"/>
                <a:gd name="connsiteY1" fmla="*/ 5645 h 7851"/>
                <a:gd name="connsiteX2" fmla="*/ 1963 w 4578"/>
                <a:gd name="connsiteY2" fmla="*/ 5645 h 7851"/>
                <a:gd name="connsiteX3" fmla="*/ 2239 w 4578"/>
                <a:gd name="connsiteY3" fmla="*/ 5383 h 7851"/>
                <a:gd name="connsiteX4" fmla="*/ 1963 w 4578"/>
                <a:gd name="connsiteY4" fmla="*/ 5100 h 7851"/>
                <a:gd name="connsiteX5" fmla="*/ -1787 w 4578"/>
                <a:gd name="connsiteY5" fmla="*/ 5100 h 7851"/>
                <a:gd name="connsiteX6" fmla="*/ -1787 w 4578"/>
                <a:gd name="connsiteY6" fmla="*/ 1992 h 7851"/>
                <a:gd name="connsiteX7" fmla="*/ 1500 w 4578"/>
                <a:gd name="connsiteY7" fmla="*/ 1992 h 7851"/>
                <a:gd name="connsiteX8" fmla="*/ 1762 w 4578"/>
                <a:gd name="connsiteY8" fmla="*/ 1709 h 7851"/>
                <a:gd name="connsiteX9" fmla="*/ 1500 w 4578"/>
                <a:gd name="connsiteY9" fmla="*/ 1440 h 7851"/>
                <a:gd name="connsiteX10" fmla="*/ -1787 w 4578"/>
                <a:gd name="connsiteY10" fmla="*/ 1440 h 7851"/>
                <a:gd name="connsiteX11" fmla="*/ -1787 w 4578"/>
                <a:gd name="connsiteY11" fmla="*/ -1654 h 7851"/>
                <a:gd name="connsiteX12" fmla="*/ 1963 w 4578"/>
                <a:gd name="connsiteY12" fmla="*/ -1654 h 7851"/>
                <a:gd name="connsiteX13" fmla="*/ 2239 w 4578"/>
                <a:gd name="connsiteY13" fmla="*/ -1937 h 7851"/>
                <a:gd name="connsiteX14" fmla="*/ 1963 w 4578"/>
                <a:gd name="connsiteY14" fmla="*/ -2206 h 7851"/>
                <a:gd name="connsiteX15" fmla="*/ -2036 w 4578"/>
                <a:gd name="connsiteY15" fmla="*/ -2206 h 7851"/>
                <a:gd name="connsiteX16" fmla="*/ -2070 w 4578"/>
                <a:gd name="connsiteY16" fmla="*/ -2206 h 7851"/>
                <a:gd name="connsiteX17" fmla="*/ -2091 w 4578"/>
                <a:gd name="connsiteY17" fmla="*/ -2206 h 7851"/>
                <a:gd name="connsiteX18" fmla="*/ -2339 w 4578"/>
                <a:gd name="connsiteY18" fmla="*/ -1937 h 7851"/>
                <a:gd name="connsiteX19" fmla="*/ -2339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2339" y="5383"/>
                  </a:moveTo>
                  <a:lnTo>
                    <a:pt x="-2070" y="5645"/>
                  </a:lnTo>
                  <a:lnTo>
                    <a:pt x="1963" y="5645"/>
                  </a:lnTo>
                  <a:lnTo>
                    <a:pt x="2239" y="5383"/>
                  </a:lnTo>
                  <a:lnTo>
                    <a:pt x="1963" y="5100"/>
                  </a:lnTo>
                  <a:lnTo>
                    <a:pt x="-1787" y="5100"/>
                  </a:lnTo>
                  <a:lnTo>
                    <a:pt x="-1787" y="1992"/>
                  </a:lnTo>
                  <a:lnTo>
                    <a:pt x="1500" y="1992"/>
                  </a:lnTo>
                  <a:lnTo>
                    <a:pt x="1762" y="1709"/>
                  </a:lnTo>
                  <a:lnTo>
                    <a:pt x="1500" y="1440"/>
                  </a:lnTo>
                  <a:lnTo>
                    <a:pt x="-1787" y="1440"/>
                  </a:lnTo>
                  <a:lnTo>
                    <a:pt x="-1787" y="-1654"/>
                  </a:lnTo>
                  <a:lnTo>
                    <a:pt x="1963" y="-1654"/>
                  </a:lnTo>
                  <a:lnTo>
                    <a:pt x="2239" y="-1937"/>
                  </a:lnTo>
                  <a:lnTo>
                    <a:pt x="1963" y="-2206"/>
                  </a:lnTo>
                  <a:lnTo>
                    <a:pt x="-2036" y="-2206"/>
                  </a:lnTo>
                  <a:lnTo>
                    <a:pt x="-2070" y="-2206"/>
                  </a:lnTo>
                  <a:lnTo>
                    <a:pt x="-2091" y="-2206"/>
                  </a:lnTo>
                  <a:lnTo>
                    <a:pt x="-2339" y="-1937"/>
                  </a:lnTo>
                  <a:lnTo>
                    <a:pt x="-2339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37587A7B-5C37-5E66-5A43-568DBAD0D67C}"/>
                </a:ext>
              </a:extLst>
            </p:cNvPr>
            <p:cNvSpPr/>
            <p:nvPr/>
          </p:nvSpPr>
          <p:spPr>
            <a:xfrm flipV="1">
              <a:off x="8285049" y="3069254"/>
              <a:ext cx="6594" cy="7775"/>
            </a:xfrm>
            <a:custGeom>
              <a:avLst/>
              <a:gdLst>
                <a:gd name="connsiteX0" fmla="*/ 3707 w 6594"/>
                <a:gd name="connsiteY0" fmla="*/ 4526 h 7775"/>
                <a:gd name="connsiteX1" fmla="*/ 1200 w 6594"/>
                <a:gd name="connsiteY1" fmla="*/ 1039 h 7775"/>
                <a:gd name="connsiteX2" fmla="*/ 973 w 6594"/>
                <a:gd name="connsiteY2" fmla="*/ 915 h 7775"/>
                <a:gd name="connsiteX3" fmla="*/ 952 w 6594"/>
                <a:gd name="connsiteY3" fmla="*/ 915 h 7775"/>
                <a:gd name="connsiteX4" fmla="*/ 710 w 6594"/>
                <a:gd name="connsiteY4" fmla="*/ 1039 h 7775"/>
                <a:gd name="connsiteX5" fmla="*/ -1797 w 6594"/>
                <a:gd name="connsiteY5" fmla="*/ 4520 h 7775"/>
                <a:gd name="connsiteX6" fmla="*/ -1797 w 6594"/>
                <a:gd name="connsiteY6" fmla="*/ -1937 h 7775"/>
                <a:gd name="connsiteX7" fmla="*/ -2066 w 6594"/>
                <a:gd name="connsiteY7" fmla="*/ -2206 h 7775"/>
                <a:gd name="connsiteX8" fmla="*/ -2349 w 6594"/>
                <a:gd name="connsiteY8" fmla="*/ -1937 h 7775"/>
                <a:gd name="connsiteX9" fmla="*/ -2349 w 6594"/>
                <a:gd name="connsiteY9" fmla="*/ 5334 h 7775"/>
                <a:gd name="connsiteX10" fmla="*/ -2238 w 6594"/>
                <a:gd name="connsiteY10" fmla="*/ 5542 h 7775"/>
                <a:gd name="connsiteX11" fmla="*/ -2211 w 6594"/>
                <a:gd name="connsiteY11" fmla="*/ 5569 h 7775"/>
                <a:gd name="connsiteX12" fmla="*/ -1831 w 6594"/>
                <a:gd name="connsiteY12" fmla="*/ 5500 h 7775"/>
                <a:gd name="connsiteX13" fmla="*/ 959 w 6594"/>
                <a:gd name="connsiteY13" fmla="*/ 1633 h 7775"/>
                <a:gd name="connsiteX14" fmla="*/ 3742 w 6594"/>
                <a:gd name="connsiteY14" fmla="*/ 5500 h 7775"/>
                <a:gd name="connsiteX15" fmla="*/ 4121 w 6594"/>
                <a:gd name="connsiteY15" fmla="*/ 5569 h 7775"/>
                <a:gd name="connsiteX16" fmla="*/ 4204 w 6594"/>
                <a:gd name="connsiteY16" fmla="*/ 5479 h 7775"/>
                <a:gd name="connsiteX17" fmla="*/ 4246 w 6594"/>
                <a:gd name="connsiteY17" fmla="*/ 5334 h 7775"/>
                <a:gd name="connsiteX18" fmla="*/ 4246 w 6594"/>
                <a:gd name="connsiteY18" fmla="*/ -1937 h 7775"/>
                <a:gd name="connsiteX19" fmla="*/ 3976 w 6594"/>
                <a:gd name="connsiteY19" fmla="*/ -2206 h 7775"/>
                <a:gd name="connsiteX20" fmla="*/ 3707 w 6594"/>
                <a:gd name="connsiteY20" fmla="*/ -1937 h 7775"/>
                <a:gd name="connsiteX21" fmla="*/ 3707 w 6594"/>
                <a:gd name="connsiteY21" fmla="*/ 4526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94" h="7775">
                  <a:moveTo>
                    <a:pt x="3707" y="4526"/>
                  </a:moveTo>
                  <a:lnTo>
                    <a:pt x="1200" y="1039"/>
                  </a:lnTo>
                  <a:lnTo>
                    <a:pt x="973" y="915"/>
                  </a:lnTo>
                  <a:lnTo>
                    <a:pt x="952" y="915"/>
                  </a:lnTo>
                  <a:lnTo>
                    <a:pt x="710" y="1039"/>
                  </a:lnTo>
                  <a:lnTo>
                    <a:pt x="-1797" y="4520"/>
                  </a:lnTo>
                  <a:lnTo>
                    <a:pt x="-1797" y="-1937"/>
                  </a:lnTo>
                  <a:lnTo>
                    <a:pt x="-2066" y="-2206"/>
                  </a:lnTo>
                  <a:lnTo>
                    <a:pt x="-2349" y="-1937"/>
                  </a:lnTo>
                  <a:lnTo>
                    <a:pt x="-2349" y="5334"/>
                  </a:lnTo>
                  <a:lnTo>
                    <a:pt x="-2238" y="5542"/>
                  </a:lnTo>
                  <a:lnTo>
                    <a:pt x="-2211" y="5569"/>
                  </a:lnTo>
                  <a:lnTo>
                    <a:pt x="-1831" y="5500"/>
                  </a:lnTo>
                  <a:lnTo>
                    <a:pt x="959" y="1633"/>
                  </a:lnTo>
                  <a:lnTo>
                    <a:pt x="3742" y="5500"/>
                  </a:lnTo>
                  <a:lnTo>
                    <a:pt x="4121" y="5569"/>
                  </a:lnTo>
                  <a:lnTo>
                    <a:pt x="4204" y="5479"/>
                  </a:lnTo>
                  <a:lnTo>
                    <a:pt x="4246" y="5334"/>
                  </a:lnTo>
                  <a:lnTo>
                    <a:pt x="4246" y="-1937"/>
                  </a:lnTo>
                  <a:lnTo>
                    <a:pt x="3976" y="-2206"/>
                  </a:lnTo>
                  <a:lnTo>
                    <a:pt x="3707" y="-1937"/>
                  </a:lnTo>
                  <a:lnTo>
                    <a:pt x="3707" y="452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840E8820-DB31-AF42-EE8E-077A956C7003}"/>
                </a:ext>
              </a:extLst>
            </p:cNvPr>
            <p:cNvSpPr/>
            <p:nvPr/>
          </p:nvSpPr>
          <p:spPr>
            <a:xfrm flipV="1">
              <a:off x="8294496" y="3069178"/>
              <a:ext cx="4750" cy="7851"/>
            </a:xfrm>
            <a:custGeom>
              <a:avLst/>
              <a:gdLst>
                <a:gd name="connsiteX0" fmla="*/ 154 w 4750"/>
                <a:gd name="connsiteY0" fmla="*/ -1654 h 7851"/>
                <a:gd name="connsiteX1" fmla="*/ 1846 w 4750"/>
                <a:gd name="connsiteY1" fmla="*/ 38 h 7851"/>
                <a:gd name="connsiteX2" fmla="*/ 154 w 4750"/>
                <a:gd name="connsiteY2" fmla="*/ 1737 h 7851"/>
                <a:gd name="connsiteX3" fmla="*/ -1814 w 4750"/>
                <a:gd name="connsiteY3" fmla="*/ 1737 h 7851"/>
                <a:gd name="connsiteX4" fmla="*/ -1814 w 4750"/>
                <a:gd name="connsiteY4" fmla="*/ -1654 h 7851"/>
                <a:gd name="connsiteX5" fmla="*/ -343 w 4750"/>
                <a:gd name="connsiteY5" fmla="*/ 2296 h 7851"/>
                <a:gd name="connsiteX6" fmla="*/ 1058 w 4750"/>
                <a:gd name="connsiteY6" fmla="*/ 3684 h 7851"/>
                <a:gd name="connsiteX7" fmla="*/ -343 w 4750"/>
                <a:gd name="connsiteY7" fmla="*/ 5100 h 7851"/>
                <a:gd name="connsiteX8" fmla="*/ -1814 w 4750"/>
                <a:gd name="connsiteY8" fmla="*/ 5100 h 7851"/>
                <a:gd name="connsiteX9" fmla="*/ -1814 w 4750"/>
                <a:gd name="connsiteY9" fmla="*/ 2296 h 7851"/>
                <a:gd name="connsiteX10" fmla="*/ -2360 w 4750"/>
                <a:gd name="connsiteY10" fmla="*/ 5383 h 7851"/>
                <a:gd name="connsiteX11" fmla="*/ -2090 w 4750"/>
                <a:gd name="connsiteY11" fmla="*/ 5645 h 7851"/>
                <a:gd name="connsiteX12" fmla="*/ -343 w 4750"/>
                <a:gd name="connsiteY12" fmla="*/ 5645 h 7851"/>
                <a:gd name="connsiteX13" fmla="*/ 1611 w 4750"/>
                <a:gd name="connsiteY13" fmla="*/ 3684 h 7851"/>
                <a:gd name="connsiteX14" fmla="*/ 858 w 4750"/>
                <a:gd name="connsiteY14" fmla="*/ 2158 h 7851"/>
                <a:gd name="connsiteX15" fmla="*/ 2391 w 4750"/>
                <a:gd name="connsiteY15" fmla="*/ 38 h 7851"/>
                <a:gd name="connsiteX16" fmla="*/ 154 w 4750"/>
                <a:gd name="connsiteY16" fmla="*/ -2206 h 7851"/>
                <a:gd name="connsiteX17" fmla="*/ -2063 w 4750"/>
                <a:gd name="connsiteY17" fmla="*/ -2206 h 7851"/>
                <a:gd name="connsiteX18" fmla="*/ -2090 w 4750"/>
                <a:gd name="connsiteY18" fmla="*/ -2206 h 7851"/>
                <a:gd name="connsiteX19" fmla="*/ -2104 w 4750"/>
                <a:gd name="connsiteY19" fmla="*/ -2206 h 7851"/>
                <a:gd name="connsiteX20" fmla="*/ -2360 w 4750"/>
                <a:gd name="connsiteY20" fmla="*/ -1937 h 7851"/>
                <a:gd name="connsiteX21" fmla="*/ -2360 w 4750"/>
                <a:gd name="connsiteY21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750" h="7851">
                  <a:moveTo>
                    <a:pt x="154" y="-1654"/>
                  </a:moveTo>
                  <a:cubicBezTo>
                    <a:pt x="1079" y="-1654"/>
                    <a:pt x="1832" y="-901"/>
                    <a:pt x="1846" y="38"/>
                  </a:cubicBezTo>
                  <a:cubicBezTo>
                    <a:pt x="1832" y="970"/>
                    <a:pt x="1079" y="1737"/>
                    <a:pt x="154" y="1737"/>
                  </a:cubicBezTo>
                  <a:lnTo>
                    <a:pt x="-1814" y="1737"/>
                  </a:lnTo>
                  <a:lnTo>
                    <a:pt x="-1814" y="-1654"/>
                  </a:lnTo>
                  <a:close/>
                  <a:moveTo>
                    <a:pt x="-343" y="2296"/>
                  </a:moveTo>
                  <a:cubicBezTo>
                    <a:pt x="430" y="2296"/>
                    <a:pt x="1058" y="2924"/>
                    <a:pt x="1058" y="3684"/>
                  </a:cubicBezTo>
                  <a:cubicBezTo>
                    <a:pt x="1058" y="4471"/>
                    <a:pt x="430" y="5100"/>
                    <a:pt x="-343" y="5100"/>
                  </a:cubicBezTo>
                  <a:lnTo>
                    <a:pt x="-1814" y="5100"/>
                  </a:lnTo>
                  <a:lnTo>
                    <a:pt x="-1814" y="2296"/>
                  </a:lnTo>
                  <a:close/>
                  <a:moveTo>
                    <a:pt x="-2360" y="5383"/>
                  </a:moveTo>
                  <a:lnTo>
                    <a:pt x="-2090" y="5645"/>
                  </a:lnTo>
                  <a:lnTo>
                    <a:pt x="-343" y="5645"/>
                  </a:lnTo>
                  <a:cubicBezTo>
                    <a:pt x="734" y="5645"/>
                    <a:pt x="1611" y="4775"/>
                    <a:pt x="1611" y="3684"/>
                  </a:cubicBezTo>
                  <a:lnTo>
                    <a:pt x="858" y="2158"/>
                  </a:lnTo>
                  <a:cubicBezTo>
                    <a:pt x="1742" y="1854"/>
                    <a:pt x="2391" y="1025"/>
                    <a:pt x="2391" y="38"/>
                  </a:cubicBezTo>
                  <a:cubicBezTo>
                    <a:pt x="2391" y="-1205"/>
                    <a:pt x="1383" y="-2206"/>
                    <a:pt x="154" y="-2206"/>
                  </a:cubicBezTo>
                  <a:lnTo>
                    <a:pt x="-2063" y="-2206"/>
                  </a:lnTo>
                  <a:lnTo>
                    <a:pt x="-2090" y="-2206"/>
                  </a:lnTo>
                  <a:lnTo>
                    <a:pt x="-2104" y="-2206"/>
                  </a:lnTo>
                  <a:lnTo>
                    <a:pt x="-2360" y="-1937"/>
                  </a:lnTo>
                  <a:lnTo>
                    <a:pt x="-2360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50A09BD7-BDCB-2843-C6A4-32BFB861DDB0}"/>
                </a:ext>
              </a:extLst>
            </p:cNvPr>
            <p:cNvSpPr/>
            <p:nvPr/>
          </p:nvSpPr>
          <p:spPr>
            <a:xfrm flipV="1">
              <a:off x="8301139" y="3069178"/>
              <a:ext cx="4578" cy="7851"/>
            </a:xfrm>
            <a:custGeom>
              <a:avLst/>
              <a:gdLst>
                <a:gd name="connsiteX0" fmla="*/ -2368 w 4578"/>
                <a:gd name="connsiteY0" fmla="*/ 5383 h 7851"/>
                <a:gd name="connsiteX1" fmla="*/ -2099 w 4578"/>
                <a:gd name="connsiteY1" fmla="*/ 5645 h 7851"/>
                <a:gd name="connsiteX2" fmla="*/ 1941 w 4578"/>
                <a:gd name="connsiteY2" fmla="*/ 5645 h 7851"/>
                <a:gd name="connsiteX3" fmla="*/ 2210 w 4578"/>
                <a:gd name="connsiteY3" fmla="*/ 5383 h 7851"/>
                <a:gd name="connsiteX4" fmla="*/ 1941 w 4578"/>
                <a:gd name="connsiteY4" fmla="*/ 5100 h 7851"/>
                <a:gd name="connsiteX5" fmla="*/ -1815 w 4578"/>
                <a:gd name="connsiteY5" fmla="*/ 5100 h 7851"/>
                <a:gd name="connsiteX6" fmla="*/ -1815 w 4578"/>
                <a:gd name="connsiteY6" fmla="*/ 1992 h 7851"/>
                <a:gd name="connsiteX7" fmla="*/ 1472 w 4578"/>
                <a:gd name="connsiteY7" fmla="*/ 1992 h 7851"/>
                <a:gd name="connsiteX8" fmla="*/ 1741 w 4578"/>
                <a:gd name="connsiteY8" fmla="*/ 1709 h 7851"/>
                <a:gd name="connsiteX9" fmla="*/ 1472 w 4578"/>
                <a:gd name="connsiteY9" fmla="*/ 1440 h 7851"/>
                <a:gd name="connsiteX10" fmla="*/ -1815 w 4578"/>
                <a:gd name="connsiteY10" fmla="*/ 1440 h 7851"/>
                <a:gd name="connsiteX11" fmla="*/ -1815 w 4578"/>
                <a:gd name="connsiteY11" fmla="*/ -1654 h 7851"/>
                <a:gd name="connsiteX12" fmla="*/ 1941 w 4578"/>
                <a:gd name="connsiteY12" fmla="*/ -1654 h 7851"/>
                <a:gd name="connsiteX13" fmla="*/ 2210 w 4578"/>
                <a:gd name="connsiteY13" fmla="*/ -1937 h 7851"/>
                <a:gd name="connsiteX14" fmla="*/ 1941 w 4578"/>
                <a:gd name="connsiteY14" fmla="*/ -2206 h 7851"/>
                <a:gd name="connsiteX15" fmla="*/ -2064 w 4578"/>
                <a:gd name="connsiteY15" fmla="*/ -2206 h 7851"/>
                <a:gd name="connsiteX16" fmla="*/ -2099 w 4578"/>
                <a:gd name="connsiteY16" fmla="*/ -2206 h 7851"/>
                <a:gd name="connsiteX17" fmla="*/ -2112 w 4578"/>
                <a:gd name="connsiteY17" fmla="*/ -2206 h 7851"/>
                <a:gd name="connsiteX18" fmla="*/ -2368 w 4578"/>
                <a:gd name="connsiteY18" fmla="*/ -1937 h 7851"/>
                <a:gd name="connsiteX19" fmla="*/ -2368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2368" y="5383"/>
                  </a:moveTo>
                  <a:lnTo>
                    <a:pt x="-2099" y="5645"/>
                  </a:lnTo>
                  <a:lnTo>
                    <a:pt x="1941" y="5645"/>
                  </a:lnTo>
                  <a:lnTo>
                    <a:pt x="2210" y="5383"/>
                  </a:lnTo>
                  <a:lnTo>
                    <a:pt x="1941" y="5100"/>
                  </a:lnTo>
                  <a:lnTo>
                    <a:pt x="-1815" y="5100"/>
                  </a:lnTo>
                  <a:lnTo>
                    <a:pt x="-1815" y="1992"/>
                  </a:lnTo>
                  <a:lnTo>
                    <a:pt x="1472" y="1992"/>
                  </a:lnTo>
                  <a:lnTo>
                    <a:pt x="1741" y="1709"/>
                  </a:lnTo>
                  <a:lnTo>
                    <a:pt x="1472" y="1440"/>
                  </a:lnTo>
                  <a:lnTo>
                    <a:pt x="-1815" y="1440"/>
                  </a:lnTo>
                  <a:lnTo>
                    <a:pt x="-1815" y="-1654"/>
                  </a:lnTo>
                  <a:lnTo>
                    <a:pt x="1941" y="-1654"/>
                  </a:lnTo>
                  <a:lnTo>
                    <a:pt x="2210" y="-1937"/>
                  </a:lnTo>
                  <a:lnTo>
                    <a:pt x="1941" y="-2206"/>
                  </a:lnTo>
                  <a:lnTo>
                    <a:pt x="-2064" y="-2206"/>
                  </a:lnTo>
                  <a:lnTo>
                    <a:pt x="-2099" y="-2206"/>
                  </a:lnTo>
                  <a:lnTo>
                    <a:pt x="-2112" y="-2206"/>
                  </a:lnTo>
                  <a:lnTo>
                    <a:pt x="-2368" y="-1937"/>
                  </a:lnTo>
                  <a:lnTo>
                    <a:pt x="-2368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E99FAEF0-837A-2E1B-4E83-70B66D01AB08}"/>
                </a:ext>
              </a:extLst>
            </p:cNvPr>
            <p:cNvSpPr/>
            <p:nvPr/>
          </p:nvSpPr>
          <p:spPr>
            <a:xfrm flipV="1">
              <a:off x="8307844" y="3069178"/>
              <a:ext cx="5117" cy="7851"/>
            </a:xfrm>
            <a:custGeom>
              <a:avLst/>
              <a:gdLst>
                <a:gd name="connsiteX0" fmla="*/ 116 w 5117"/>
                <a:gd name="connsiteY0" fmla="*/ 5100 h 7851"/>
                <a:gd name="connsiteX1" fmla="*/ -1824 w 5117"/>
                <a:gd name="connsiteY1" fmla="*/ 5100 h 7851"/>
                <a:gd name="connsiteX2" fmla="*/ -1824 w 5117"/>
                <a:gd name="connsiteY2" fmla="*/ 1709 h 7851"/>
                <a:gd name="connsiteX3" fmla="*/ 158 w 5117"/>
                <a:gd name="connsiteY3" fmla="*/ 1709 h 7851"/>
                <a:gd name="connsiteX4" fmla="*/ 1808 w 5117"/>
                <a:gd name="connsiteY4" fmla="*/ 3401 h 7851"/>
                <a:gd name="connsiteX5" fmla="*/ 116 w 5117"/>
                <a:gd name="connsiteY5" fmla="*/ 5100 h 7851"/>
                <a:gd name="connsiteX6" fmla="*/ 1684 w 5117"/>
                <a:gd name="connsiteY6" fmla="*/ -432 h 7851"/>
                <a:gd name="connsiteX7" fmla="*/ 1042 w 5117"/>
                <a:gd name="connsiteY7" fmla="*/ 756 h 7851"/>
                <a:gd name="connsiteX8" fmla="*/ 137 w 5117"/>
                <a:gd name="connsiteY8" fmla="*/ 1150 h 7851"/>
                <a:gd name="connsiteX9" fmla="*/ 82 w 5117"/>
                <a:gd name="connsiteY9" fmla="*/ 1170 h 7851"/>
                <a:gd name="connsiteX10" fmla="*/ -1824 w 5117"/>
                <a:gd name="connsiteY10" fmla="*/ 1170 h 7851"/>
                <a:gd name="connsiteX11" fmla="*/ -1824 w 5117"/>
                <a:gd name="connsiteY11" fmla="*/ -1937 h 7851"/>
                <a:gd name="connsiteX12" fmla="*/ -2107 w 5117"/>
                <a:gd name="connsiteY12" fmla="*/ -2206 h 7851"/>
                <a:gd name="connsiteX13" fmla="*/ -2377 w 5117"/>
                <a:gd name="connsiteY13" fmla="*/ -1937 h 7851"/>
                <a:gd name="connsiteX14" fmla="*/ -2377 w 5117"/>
                <a:gd name="connsiteY14" fmla="*/ 5383 h 7851"/>
                <a:gd name="connsiteX15" fmla="*/ -2128 w 5117"/>
                <a:gd name="connsiteY15" fmla="*/ 5645 h 7851"/>
                <a:gd name="connsiteX16" fmla="*/ -2107 w 5117"/>
                <a:gd name="connsiteY16" fmla="*/ 5645 h 7851"/>
                <a:gd name="connsiteX17" fmla="*/ -2073 w 5117"/>
                <a:gd name="connsiteY17" fmla="*/ 5645 h 7851"/>
                <a:gd name="connsiteX18" fmla="*/ 116 w 5117"/>
                <a:gd name="connsiteY18" fmla="*/ 5645 h 7851"/>
                <a:gd name="connsiteX19" fmla="*/ 2347 w 5117"/>
                <a:gd name="connsiteY19" fmla="*/ 3401 h 7851"/>
                <a:gd name="connsiteX20" fmla="*/ 1055 w 5117"/>
                <a:gd name="connsiteY20" fmla="*/ 1371 h 7851"/>
                <a:gd name="connsiteX21" fmla="*/ 1166 w 5117"/>
                <a:gd name="connsiteY21" fmla="*/ 1322 h 7851"/>
                <a:gd name="connsiteX22" fmla="*/ 2222 w 5117"/>
                <a:gd name="connsiteY22" fmla="*/ -432 h 7851"/>
                <a:gd name="connsiteX23" fmla="*/ 2326 w 5117"/>
                <a:gd name="connsiteY23" fmla="*/ -1343 h 7851"/>
                <a:gd name="connsiteX24" fmla="*/ 2436 w 5117"/>
                <a:gd name="connsiteY24" fmla="*/ -1530 h 7851"/>
                <a:gd name="connsiteX25" fmla="*/ 2740 w 5117"/>
                <a:gd name="connsiteY25" fmla="*/ -1709 h 7851"/>
                <a:gd name="connsiteX26" fmla="*/ 2561 w 5117"/>
                <a:gd name="connsiteY26" fmla="*/ -2068 h 7851"/>
                <a:gd name="connsiteX27" fmla="*/ 2423 w 5117"/>
                <a:gd name="connsiteY27" fmla="*/ -2082 h 7851"/>
                <a:gd name="connsiteX28" fmla="*/ 2409 w 5117"/>
                <a:gd name="connsiteY28" fmla="*/ -2082 h 7851"/>
                <a:gd name="connsiteX29" fmla="*/ 1898 w 5117"/>
                <a:gd name="connsiteY29" fmla="*/ -1716 h 7851"/>
                <a:gd name="connsiteX30" fmla="*/ 1684 w 5117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17" h="7851">
                  <a:moveTo>
                    <a:pt x="116" y="5100"/>
                  </a:moveTo>
                  <a:lnTo>
                    <a:pt x="-1824" y="5100"/>
                  </a:lnTo>
                  <a:lnTo>
                    <a:pt x="-1824" y="1709"/>
                  </a:lnTo>
                  <a:lnTo>
                    <a:pt x="158" y="1709"/>
                  </a:lnTo>
                  <a:cubicBezTo>
                    <a:pt x="1069" y="1737"/>
                    <a:pt x="1808" y="2482"/>
                    <a:pt x="1808" y="3401"/>
                  </a:cubicBezTo>
                  <a:cubicBezTo>
                    <a:pt x="1808" y="4347"/>
                    <a:pt x="1042" y="5100"/>
                    <a:pt x="116" y="5100"/>
                  </a:cubicBezTo>
                  <a:close/>
                  <a:moveTo>
                    <a:pt x="1684" y="-432"/>
                  </a:moveTo>
                  <a:lnTo>
                    <a:pt x="1042" y="756"/>
                  </a:lnTo>
                  <a:lnTo>
                    <a:pt x="137" y="1150"/>
                  </a:lnTo>
                  <a:lnTo>
                    <a:pt x="82" y="1170"/>
                  </a:lnTo>
                  <a:lnTo>
                    <a:pt x="-1824" y="1170"/>
                  </a:lnTo>
                  <a:lnTo>
                    <a:pt x="-1824" y="-1937"/>
                  </a:lnTo>
                  <a:lnTo>
                    <a:pt x="-2107" y="-2206"/>
                  </a:lnTo>
                  <a:lnTo>
                    <a:pt x="-2377" y="-1937"/>
                  </a:lnTo>
                  <a:lnTo>
                    <a:pt x="-2377" y="5383"/>
                  </a:lnTo>
                  <a:lnTo>
                    <a:pt x="-2128" y="5645"/>
                  </a:lnTo>
                  <a:lnTo>
                    <a:pt x="-2107" y="5645"/>
                  </a:lnTo>
                  <a:lnTo>
                    <a:pt x="-2073" y="5645"/>
                  </a:lnTo>
                  <a:lnTo>
                    <a:pt x="116" y="5645"/>
                  </a:lnTo>
                  <a:cubicBezTo>
                    <a:pt x="1345" y="5645"/>
                    <a:pt x="2347" y="4651"/>
                    <a:pt x="2347" y="3401"/>
                  </a:cubicBezTo>
                  <a:cubicBezTo>
                    <a:pt x="2347" y="2510"/>
                    <a:pt x="1822" y="1737"/>
                    <a:pt x="1055" y="1371"/>
                  </a:cubicBezTo>
                  <a:lnTo>
                    <a:pt x="1166" y="1322"/>
                  </a:lnTo>
                  <a:cubicBezTo>
                    <a:pt x="1684" y="1025"/>
                    <a:pt x="2222" y="459"/>
                    <a:pt x="2222" y="-432"/>
                  </a:cubicBezTo>
                  <a:lnTo>
                    <a:pt x="2326" y="-1343"/>
                  </a:lnTo>
                  <a:lnTo>
                    <a:pt x="2436" y="-1530"/>
                  </a:lnTo>
                  <a:lnTo>
                    <a:pt x="2740" y="-1709"/>
                  </a:lnTo>
                  <a:lnTo>
                    <a:pt x="2561" y="-2068"/>
                  </a:lnTo>
                  <a:lnTo>
                    <a:pt x="2423" y="-2082"/>
                  </a:lnTo>
                  <a:lnTo>
                    <a:pt x="2409" y="-2082"/>
                  </a:lnTo>
                  <a:lnTo>
                    <a:pt x="1898" y="-1716"/>
                  </a:lnTo>
                  <a:cubicBezTo>
                    <a:pt x="1760" y="-1461"/>
                    <a:pt x="1684" y="-1095"/>
                    <a:pt x="1684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15586813-53C4-6955-5F70-4B2AEB3DF401}"/>
                </a:ext>
              </a:extLst>
            </p:cNvPr>
            <p:cNvSpPr/>
            <p:nvPr/>
          </p:nvSpPr>
          <p:spPr>
            <a:xfrm flipV="1">
              <a:off x="8356003" y="3069061"/>
              <a:ext cx="7547" cy="7968"/>
            </a:xfrm>
            <a:custGeom>
              <a:avLst/>
              <a:gdLst>
                <a:gd name="connsiteX0" fmla="*/ 1352 w 7547"/>
                <a:gd name="connsiteY0" fmla="*/ -1654 h 7968"/>
                <a:gd name="connsiteX1" fmla="*/ 4550 w 7547"/>
                <a:gd name="connsiteY1" fmla="*/ 1778 h 7968"/>
                <a:gd name="connsiteX2" fmla="*/ 1352 w 7547"/>
                <a:gd name="connsiteY2" fmla="*/ 5196 h 7968"/>
                <a:gd name="connsiteX3" fmla="*/ -1886 w 7547"/>
                <a:gd name="connsiteY3" fmla="*/ 1778 h 7968"/>
                <a:gd name="connsiteX4" fmla="*/ 1352 w 7547"/>
                <a:gd name="connsiteY4" fmla="*/ -1654 h 7968"/>
                <a:gd name="connsiteX5" fmla="*/ 1352 w 7547"/>
                <a:gd name="connsiteY5" fmla="*/ 5762 h 7968"/>
                <a:gd name="connsiteX6" fmla="*/ 5109 w 7547"/>
                <a:gd name="connsiteY6" fmla="*/ 1778 h 7968"/>
                <a:gd name="connsiteX7" fmla="*/ 1352 w 7547"/>
                <a:gd name="connsiteY7" fmla="*/ -2207 h 7968"/>
                <a:gd name="connsiteX8" fmla="*/ -2439 w 7547"/>
                <a:gd name="connsiteY8" fmla="*/ 1778 h 7968"/>
                <a:gd name="connsiteX9" fmla="*/ 1352 w 7547"/>
                <a:gd name="connsiteY9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47" h="7968">
                  <a:moveTo>
                    <a:pt x="1352" y="-1654"/>
                  </a:moveTo>
                  <a:cubicBezTo>
                    <a:pt x="3079" y="-1654"/>
                    <a:pt x="4536" y="-142"/>
                    <a:pt x="4550" y="1778"/>
                  </a:cubicBezTo>
                  <a:cubicBezTo>
                    <a:pt x="4536" y="3718"/>
                    <a:pt x="3079" y="5196"/>
                    <a:pt x="1352" y="5196"/>
                  </a:cubicBezTo>
                  <a:cubicBezTo>
                    <a:pt x="-429" y="5196"/>
                    <a:pt x="-1886" y="3718"/>
                    <a:pt x="-1886" y="1778"/>
                  </a:cubicBezTo>
                  <a:cubicBezTo>
                    <a:pt x="-1886" y="-142"/>
                    <a:pt x="-429" y="-1654"/>
                    <a:pt x="1352" y="-1654"/>
                  </a:cubicBezTo>
                  <a:close/>
                  <a:moveTo>
                    <a:pt x="1352" y="5762"/>
                  </a:moveTo>
                  <a:cubicBezTo>
                    <a:pt x="3452" y="5762"/>
                    <a:pt x="5095" y="3974"/>
                    <a:pt x="5109" y="1778"/>
                  </a:cubicBezTo>
                  <a:cubicBezTo>
                    <a:pt x="5095" y="-418"/>
                    <a:pt x="3452" y="-2207"/>
                    <a:pt x="1352" y="-2207"/>
                  </a:cubicBezTo>
                  <a:cubicBezTo>
                    <a:pt x="-767" y="-2207"/>
                    <a:pt x="-2425" y="-418"/>
                    <a:pt x="-2439" y="1778"/>
                  </a:cubicBezTo>
                  <a:cubicBezTo>
                    <a:pt x="-2425" y="3974"/>
                    <a:pt x="-767" y="5762"/>
                    <a:pt x="1352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62DD4E81-DC9A-CC92-3486-AB4D0794AE02}"/>
                </a:ext>
              </a:extLst>
            </p:cNvPr>
            <p:cNvSpPr/>
            <p:nvPr/>
          </p:nvSpPr>
          <p:spPr>
            <a:xfrm flipV="1">
              <a:off x="8365180" y="3069061"/>
              <a:ext cx="6656" cy="7968"/>
            </a:xfrm>
            <a:custGeom>
              <a:avLst/>
              <a:gdLst>
                <a:gd name="connsiteX0" fmla="*/ 1632 w 6656"/>
                <a:gd name="connsiteY0" fmla="*/ 5762 h 7968"/>
                <a:gd name="connsiteX1" fmla="*/ 4166 w 6656"/>
                <a:gd name="connsiteY1" fmla="*/ 4899 h 7968"/>
                <a:gd name="connsiteX2" fmla="*/ 4207 w 6656"/>
                <a:gd name="connsiteY2" fmla="*/ 4506 h 7968"/>
                <a:gd name="connsiteX3" fmla="*/ 3834 w 6656"/>
                <a:gd name="connsiteY3" fmla="*/ 4450 h 7968"/>
                <a:gd name="connsiteX4" fmla="*/ 1632 w 6656"/>
                <a:gd name="connsiteY4" fmla="*/ 5210 h 7968"/>
                <a:gd name="connsiteX5" fmla="*/ -1897 w 6656"/>
                <a:gd name="connsiteY5" fmla="*/ 1757 h 7968"/>
                <a:gd name="connsiteX6" fmla="*/ 1632 w 6656"/>
                <a:gd name="connsiteY6" fmla="*/ -1654 h 7968"/>
                <a:gd name="connsiteX7" fmla="*/ 3814 w 6656"/>
                <a:gd name="connsiteY7" fmla="*/ -894 h 7968"/>
                <a:gd name="connsiteX8" fmla="*/ 4200 w 6656"/>
                <a:gd name="connsiteY8" fmla="*/ -957 h 7968"/>
                <a:gd name="connsiteX9" fmla="*/ 4166 w 6656"/>
                <a:gd name="connsiteY9" fmla="*/ -1350 h 7968"/>
                <a:gd name="connsiteX10" fmla="*/ 1632 w 6656"/>
                <a:gd name="connsiteY10" fmla="*/ -2207 h 7968"/>
                <a:gd name="connsiteX11" fmla="*/ -2450 w 6656"/>
                <a:gd name="connsiteY11" fmla="*/ 1757 h 7968"/>
                <a:gd name="connsiteX12" fmla="*/ 1632 w 6656"/>
                <a:gd name="connsiteY12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56" h="7968">
                  <a:moveTo>
                    <a:pt x="1632" y="5762"/>
                  </a:moveTo>
                  <a:cubicBezTo>
                    <a:pt x="2598" y="5762"/>
                    <a:pt x="3482" y="5424"/>
                    <a:pt x="4166" y="4899"/>
                  </a:cubicBezTo>
                  <a:lnTo>
                    <a:pt x="4207" y="4506"/>
                  </a:lnTo>
                  <a:lnTo>
                    <a:pt x="3834" y="4450"/>
                  </a:lnTo>
                  <a:cubicBezTo>
                    <a:pt x="3227" y="4920"/>
                    <a:pt x="2460" y="5210"/>
                    <a:pt x="1632" y="5210"/>
                  </a:cubicBezTo>
                  <a:cubicBezTo>
                    <a:pt x="-330" y="5210"/>
                    <a:pt x="-1897" y="3670"/>
                    <a:pt x="-1897" y="1757"/>
                  </a:cubicBezTo>
                  <a:cubicBezTo>
                    <a:pt x="-1897" y="-114"/>
                    <a:pt x="-330" y="-1654"/>
                    <a:pt x="1632" y="-1654"/>
                  </a:cubicBezTo>
                  <a:cubicBezTo>
                    <a:pt x="2460" y="-1654"/>
                    <a:pt x="3227" y="-1385"/>
                    <a:pt x="3814" y="-894"/>
                  </a:cubicBezTo>
                  <a:lnTo>
                    <a:pt x="4200" y="-957"/>
                  </a:lnTo>
                  <a:lnTo>
                    <a:pt x="4166" y="-1350"/>
                  </a:lnTo>
                  <a:cubicBezTo>
                    <a:pt x="3482" y="-1875"/>
                    <a:pt x="2598" y="-2207"/>
                    <a:pt x="1632" y="-2207"/>
                  </a:cubicBezTo>
                  <a:cubicBezTo>
                    <a:pt x="-620" y="-2207"/>
                    <a:pt x="-2450" y="-432"/>
                    <a:pt x="-2450" y="1757"/>
                  </a:cubicBezTo>
                  <a:cubicBezTo>
                    <a:pt x="-2450" y="3988"/>
                    <a:pt x="-620" y="5749"/>
                    <a:pt x="1632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B5B9284D-C955-6613-E7E5-2134F89C9552}"/>
                </a:ext>
              </a:extLst>
            </p:cNvPr>
            <p:cNvSpPr/>
            <p:nvPr/>
          </p:nvSpPr>
          <p:spPr>
            <a:xfrm flipV="1">
              <a:off x="8373550" y="3069178"/>
              <a:ext cx="5807" cy="7851"/>
            </a:xfrm>
            <a:custGeom>
              <a:avLst/>
              <a:gdLst>
                <a:gd name="connsiteX0" fmla="*/ 178 w 5807"/>
                <a:gd name="connsiteY0" fmla="*/ 5100 h 7851"/>
                <a:gd name="connsiteX1" fmla="*/ -2190 w 5807"/>
                <a:gd name="connsiteY1" fmla="*/ 5100 h 7851"/>
                <a:gd name="connsiteX2" fmla="*/ -2460 w 5807"/>
                <a:gd name="connsiteY2" fmla="*/ 5383 h 7851"/>
                <a:gd name="connsiteX3" fmla="*/ -2190 w 5807"/>
                <a:gd name="connsiteY3" fmla="*/ 5645 h 7851"/>
                <a:gd name="connsiteX4" fmla="*/ 3085 w 5807"/>
                <a:gd name="connsiteY4" fmla="*/ 5645 h 7851"/>
                <a:gd name="connsiteX5" fmla="*/ 3348 w 5807"/>
                <a:gd name="connsiteY5" fmla="*/ 5383 h 7851"/>
                <a:gd name="connsiteX6" fmla="*/ 3085 w 5807"/>
                <a:gd name="connsiteY6" fmla="*/ 5100 h 7851"/>
                <a:gd name="connsiteX7" fmla="*/ 717 w 5807"/>
                <a:gd name="connsiteY7" fmla="*/ 5100 h 7851"/>
                <a:gd name="connsiteX8" fmla="*/ 717 w 5807"/>
                <a:gd name="connsiteY8" fmla="*/ -1937 h 7851"/>
                <a:gd name="connsiteX9" fmla="*/ 448 w 5807"/>
                <a:gd name="connsiteY9" fmla="*/ -2206 h 7851"/>
                <a:gd name="connsiteX10" fmla="*/ 178 w 5807"/>
                <a:gd name="connsiteY10" fmla="*/ -1937 h 7851"/>
                <a:gd name="connsiteX11" fmla="*/ 178 w 5807"/>
                <a:gd name="connsiteY11" fmla="*/ 5100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7" h="7851">
                  <a:moveTo>
                    <a:pt x="178" y="5100"/>
                  </a:moveTo>
                  <a:lnTo>
                    <a:pt x="-2190" y="5100"/>
                  </a:lnTo>
                  <a:lnTo>
                    <a:pt x="-2460" y="5383"/>
                  </a:lnTo>
                  <a:lnTo>
                    <a:pt x="-2190" y="5645"/>
                  </a:lnTo>
                  <a:lnTo>
                    <a:pt x="3085" y="5645"/>
                  </a:lnTo>
                  <a:lnTo>
                    <a:pt x="3348" y="5383"/>
                  </a:lnTo>
                  <a:lnTo>
                    <a:pt x="3085" y="5100"/>
                  </a:lnTo>
                  <a:lnTo>
                    <a:pt x="717" y="5100"/>
                  </a:lnTo>
                  <a:lnTo>
                    <a:pt x="717" y="-1937"/>
                  </a:lnTo>
                  <a:lnTo>
                    <a:pt x="448" y="-2206"/>
                  </a:lnTo>
                  <a:lnTo>
                    <a:pt x="178" y="-1937"/>
                  </a:lnTo>
                  <a:lnTo>
                    <a:pt x="178" y="5100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FEBC5E7E-D6DD-7A86-3EB1-4E6D4843A3CC}"/>
                </a:ext>
              </a:extLst>
            </p:cNvPr>
            <p:cNvSpPr/>
            <p:nvPr/>
          </p:nvSpPr>
          <p:spPr>
            <a:xfrm flipV="1">
              <a:off x="8380441" y="3069061"/>
              <a:ext cx="7554" cy="7968"/>
            </a:xfrm>
            <a:custGeom>
              <a:avLst/>
              <a:gdLst>
                <a:gd name="connsiteX0" fmla="*/ 1322 w 7554"/>
                <a:gd name="connsiteY0" fmla="*/ -1654 h 7968"/>
                <a:gd name="connsiteX1" fmla="*/ 4526 w 7554"/>
                <a:gd name="connsiteY1" fmla="*/ 1778 h 7968"/>
                <a:gd name="connsiteX2" fmla="*/ 1322 w 7554"/>
                <a:gd name="connsiteY2" fmla="*/ 5196 h 7968"/>
                <a:gd name="connsiteX3" fmla="*/ -1917 w 7554"/>
                <a:gd name="connsiteY3" fmla="*/ 1778 h 7968"/>
                <a:gd name="connsiteX4" fmla="*/ 1322 w 7554"/>
                <a:gd name="connsiteY4" fmla="*/ -1654 h 7968"/>
                <a:gd name="connsiteX5" fmla="*/ 1322 w 7554"/>
                <a:gd name="connsiteY5" fmla="*/ 5762 h 7968"/>
                <a:gd name="connsiteX6" fmla="*/ 5085 w 7554"/>
                <a:gd name="connsiteY6" fmla="*/ 1778 h 7968"/>
                <a:gd name="connsiteX7" fmla="*/ 1322 w 7554"/>
                <a:gd name="connsiteY7" fmla="*/ -2207 h 7968"/>
                <a:gd name="connsiteX8" fmla="*/ -2469 w 7554"/>
                <a:gd name="connsiteY8" fmla="*/ 1778 h 7968"/>
                <a:gd name="connsiteX9" fmla="*/ 1322 w 7554"/>
                <a:gd name="connsiteY9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54" h="7968">
                  <a:moveTo>
                    <a:pt x="1322" y="-1654"/>
                  </a:moveTo>
                  <a:cubicBezTo>
                    <a:pt x="3048" y="-1654"/>
                    <a:pt x="4512" y="-142"/>
                    <a:pt x="4526" y="1778"/>
                  </a:cubicBezTo>
                  <a:cubicBezTo>
                    <a:pt x="4512" y="3718"/>
                    <a:pt x="3048" y="5196"/>
                    <a:pt x="1322" y="5196"/>
                  </a:cubicBezTo>
                  <a:cubicBezTo>
                    <a:pt x="-460" y="5196"/>
                    <a:pt x="-1917" y="3718"/>
                    <a:pt x="-1917" y="1778"/>
                  </a:cubicBezTo>
                  <a:cubicBezTo>
                    <a:pt x="-1917" y="-142"/>
                    <a:pt x="-460" y="-1654"/>
                    <a:pt x="1322" y="-1654"/>
                  </a:cubicBezTo>
                  <a:close/>
                  <a:moveTo>
                    <a:pt x="1322" y="5762"/>
                  </a:moveTo>
                  <a:cubicBezTo>
                    <a:pt x="3421" y="5762"/>
                    <a:pt x="5071" y="3974"/>
                    <a:pt x="5085" y="1778"/>
                  </a:cubicBezTo>
                  <a:cubicBezTo>
                    <a:pt x="5071" y="-418"/>
                    <a:pt x="3421" y="-2207"/>
                    <a:pt x="1322" y="-2207"/>
                  </a:cubicBezTo>
                  <a:cubicBezTo>
                    <a:pt x="-798" y="-2207"/>
                    <a:pt x="-2456" y="-418"/>
                    <a:pt x="-2469" y="1778"/>
                  </a:cubicBezTo>
                  <a:cubicBezTo>
                    <a:pt x="-2456" y="3974"/>
                    <a:pt x="-798" y="5762"/>
                    <a:pt x="1322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7F5D2F70-6DA3-9D61-EF69-A6B7AB9C19D8}"/>
                </a:ext>
              </a:extLst>
            </p:cNvPr>
            <p:cNvSpPr/>
            <p:nvPr/>
          </p:nvSpPr>
          <p:spPr>
            <a:xfrm flipV="1">
              <a:off x="8389916" y="3069178"/>
              <a:ext cx="4750" cy="7851"/>
            </a:xfrm>
            <a:custGeom>
              <a:avLst/>
              <a:gdLst>
                <a:gd name="connsiteX0" fmla="*/ 34 w 4750"/>
                <a:gd name="connsiteY0" fmla="*/ -1654 h 7851"/>
                <a:gd name="connsiteX1" fmla="*/ 1726 w 4750"/>
                <a:gd name="connsiteY1" fmla="*/ 38 h 7851"/>
                <a:gd name="connsiteX2" fmla="*/ 34 w 4750"/>
                <a:gd name="connsiteY2" fmla="*/ 1737 h 7851"/>
                <a:gd name="connsiteX3" fmla="*/ -1934 w 4750"/>
                <a:gd name="connsiteY3" fmla="*/ 1737 h 7851"/>
                <a:gd name="connsiteX4" fmla="*/ -1934 w 4750"/>
                <a:gd name="connsiteY4" fmla="*/ -1654 h 7851"/>
                <a:gd name="connsiteX5" fmla="*/ -463 w 4750"/>
                <a:gd name="connsiteY5" fmla="*/ 2296 h 7851"/>
                <a:gd name="connsiteX6" fmla="*/ 939 w 4750"/>
                <a:gd name="connsiteY6" fmla="*/ 3684 h 7851"/>
                <a:gd name="connsiteX7" fmla="*/ -463 w 4750"/>
                <a:gd name="connsiteY7" fmla="*/ 5100 h 7851"/>
                <a:gd name="connsiteX8" fmla="*/ -1934 w 4750"/>
                <a:gd name="connsiteY8" fmla="*/ 5100 h 7851"/>
                <a:gd name="connsiteX9" fmla="*/ -1934 w 4750"/>
                <a:gd name="connsiteY9" fmla="*/ 2296 h 7851"/>
                <a:gd name="connsiteX10" fmla="*/ -2479 w 4750"/>
                <a:gd name="connsiteY10" fmla="*/ 5383 h 7851"/>
                <a:gd name="connsiteX11" fmla="*/ -2217 w 4750"/>
                <a:gd name="connsiteY11" fmla="*/ 5645 h 7851"/>
                <a:gd name="connsiteX12" fmla="*/ -463 w 4750"/>
                <a:gd name="connsiteY12" fmla="*/ 5645 h 7851"/>
                <a:gd name="connsiteX13" fmla="*/ 1491 w 4750"/>
                <a:gd name="connsiteY13" fmla="*/ 3684 h 7851"/>
                <a:gd name="connsiteX14" fmla="*/ 738 w 4750"/>
                <a:gd name="connsiteY14" fmla="*/ 2158 h 7851"/>
                <a:gd name="connsiteX15" fmla="*/ 2271 w 4750"/>
                <a:gd name="connsiteY15" fmla="*/ 38 h 7851"/>
                <a:gd name="connsiteX16" fmla="*/ 34 w 4750"/>
                <a:gd name="connsiteY16" fmla="*/ -2206 h 7851"/>
                <a:gd name="connsiteX17" fmla="*/ -2183 w 4750"/>
                <a:gd name="connsiteY17" fmla="*/ -2206 h 7851"/>
                <a:gd name="connsiteX18" fmla="*/ -2217 w 4750"/>
                <a:gd name="connsiteY18" fmla="*/ -2206 h 7851"/>
                <a:gd name="connsiteX19" fmla="*/ -2224 w 4750"/>
                <a:gd name="connsiteY19" fmla="*/ -2206 h 7851"/>
                <a:gd name="connsiteX20" fmla="*/ -2479 w 4750"/>
                <a:gd name="connsiteY20" fmla="*/ -1937 h 7851"/>
                <a:gd name="connsiteX21" fmla="*/ -2479 w 4750"/>
                <a:gd name="connsiteY21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750" h="7851">
                  <a:moveTo>
                    <a:pt x="34" y="-1654"/>
                  </a:moveTo>
                  <a:cubicBezTo>
                    <a:pt x="959" y="-1654"/>
                    <a:pt x="1712" y="-901"/>
                    <a:pt x="1726" y="38"/>
                  </a:cubicBezTo>
                  <a:cubicBezTo>
                    <a:pt x="1712" y="970"/>
                    <a:pt x="959" y="1737"/>
                    <a:pt x="34" y="1737"/>
                  </a:cubicBezTo>
                  <a:lnTo>
                    <a:pt x="-1934" y="1737"/>
                  </a:lnTo>
                  <a:lnTo>
                    <a:pt x="-1934" y="-1654"/>
                  </a:lnTo>
                  <a:close/>
                  <a:moveTo>
                    <a:pt x="-463" y="2296"/>
                  </a:moveTo>
                  <a:cubicBezTo>
                    <a:pt x="310" y="2296"/>
                    <a:pt x="939" y="2924"/>
                    <a:pt x="939" y="3684"/>
                  </a:cubicBezTo>
                  <a:cubicBezTo>
                    <a:pt x="939" y="4471"/>
                    <a:pt x="310" y="5100"/>
                    <a:pt x="-463" y="5100"/>
                  </a:cubicBezTo>
                  <a:lnTo>
                    <a:pt x="-1934" y="5100"/>
                  </a:lnTo>
                  <a:lnTo>
                    <a:pt x="-1934" y="2296"/>
                  </a:lnTo>
                  <a:close/>
                  <a:moveTo>
                    <a:pt x="-2479" y="5383"/>
                  </a:moveTo>
                  <a:lnTo>
                    <a:pt x="-2217" y="5645"/>
                  </a:lnTo>
                  <a:lnTo>
                    <a:pt x="-463" y="5645"/>
                  </a:lnTo>
                  <a:cubicBezTo>
                    <a:pt x="614" y="5645"/>
                    <a:pt x="1491" y="4775"/>
                    <a:pt x="1491" y="3684"/>
                  </a:cubicBezTo>
                  <a:lnTo>
                    <a:pt x="738" y="2158"/>
                  </a:lnTo>
                  <a:cubicBezTo>
                    <a:pt x="1622" y="1854"/>
                    <a:pt x="2271" y="1025"/>
                    <a:pt x="2271" y="38"/>
                  </a:cubicBezTo>
                  <a:cubicBezTo>
                    <a:pt x="2271" y="-1205"/>
                    <a:pt x="1263" y="-2206"/>
                    <a:pt x="34" y="-2206"/>
                  </a:cubicBezTo>
                  <a:lnTo>
                    <a:pt x="-2183" y="-2206"/>
                  </a:lnTo>
                  <a:lnTo>
                    <a:pt x="-2217" y="-2206"/>
                  </a:lnTo>
                  <a:lnTo>
                    <a:pt x="-2224" y="-2206"/>
                  </a:lnTo>
                  <a:lnTo>
                    <a:pt x="-2479" y="-1937"/>
                  </a:lnTo>
                  <a:lnTo>
                    <a:pt x="-2479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4C7006CE-E67B-BC44-1390-7CAB7C6BACD7}"/>
                </a:ext>
              </a:extLst>
            </p:cNvPr>
            <p:cNvSpPr/>
            <p:nvPr/>
          </p:nvSpPr>
          <p:spPr>
            <a:xfrm flipV="1">
              <a:off x="8396559" y="3069178"/>
              <a:ext cx="4578" cy="7851"/>
            </a:xfrm>
            <a:custGeom>
              <a:avLst/>
              <a:gdLst>
                <a:gd name="connsiteX0" fmla="*/ -2488 w 4578"/>
                <a:gd name="connsiteY0" fmla="*/ 5383 h 7851"/>
                <a:gd name="connsiteX1" fmla="*/ -2218 w 4578"/>
                <a:gd name="connsiteY1" fmla="*/ 5645 h 7851"/>
                <a:gd name="connsiteX2" fmla="*/ 1821 w 4578"/>
                <a:gd name="connsiteY2" fmla="*/ 5645 h 7851"/>
                <a:gd name="connsiteX3" fmla="*/ 2091 w 4578"/>
                <a:gd name="connsiteY3" fmla="*/ 5383 h 7851"/>
                <a:gd name="connsiteX4" fmla="*/ 1821 w 4578"/>
                <a:gd name="connsiteY4" fmla="*/ 5100 h 7851"/>
                <a:gd name="connsiteX5" fmla="*/ -1935 w 4578"/>
                <a:gd name="connsiteY5" fmla="*/ 5100 h 7851"/>
                <a:gd name="connsiteX6" fmla="*/ -1935 w 4578"/>
                <a:gd name="connsiteY6" fmla="*/ 1992 h 7851"/>
                <a:gd name="connsiteX7" fmla="*/ 1352 w 4578"/>
                <a:gd name="connsiteY7" fmla="*/ 1992 h 7851"/>
                <a:gd name="connsiteX8" fmla="*/ 1621 w 4578"/>
                <a:gd name="connsiteY8" fmla="*/ 1709 h 7851"/>
                <a:gd name="connsiteX9" fmla="*/ 1352 w 4578"/>
                <a:gd name="connsiteY9" fmla="*/ 1440 h 7851"/>
                <a:gd name="connsiteX10" fmla="*/ -1935 w 4578"/>
                <a:gd name="connsiteY10" fmla="*/ 1440 h 7851"/>
                <a:gd name="connsiteX11" fmla="*/ -1935 w 4578"/>
                <a:gd name="connsiteY11" fmla="*/ -1654 h 7851"/>
                <a:gd name="connsiteX12" fmla="*/ 1821 w 4578"/>
                <a:gd name="connsiteY12" fmla="*/ -1654 h 7851"/>
                <a:gd name="connsiteX13" fmla="*/ 2091 w 4578"/>
                <a:gd name="connsiteY13" fmla="*/ -1937 h 7851"/>
                <a:gd name="connsiteX14" fmla="*/ 1821 w 4578"/>
                <a:gd name="connsiteY14" fmla="*/ -2206 h 7851"/>
                <a:gd name="connsiteX15" fmla="*/ -2184 w 4578"/>
                <a:gd name="connsiteY15" fmla="*/ -2206 h 7851"/>
                <a:gd name="connsiteX16" fmla="*/ -2218 w 4578"/>
                <a:gd name="connsiteY16" fmla="*/ -2206 h 7851"/>
                <a:gd name="connsiteX17" fmla="*/ -2239 w 4578"/>
                <a:gd name="connsiteY17" fmla="*/ -2206 h 7851"/>
                <a:gd name="connsiteX18" fmla="*/ -2488 w 4578"/>
                <a:gd name="connsiteY18" fmla="*/ -1937 h 7851"/>
                <a:gd name="connsiteX19" fmla="*/ -2488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2488" y="5383"/>
                  </a:moveTo>
                  <a:lnTo>
                    <a:pt x="-2218" y="5645"/>
                  </a:lnTo>
                  <a:lnTo>
                    <a:pt x="1821" y="5645"/>
                  </a:lnTo>
                  <a:lnTo>
                    <a:pt x="2091" y="5383"/>
                  </a:lnTo>
                  <a:lnTo>
                    <a:pt x="1821" y="5100"/>
                  </a:lnTo>
                  <a:lnTo>
                    <a:pt x="-1935" y="5100"/>
                  </a:lnTo>
                  <a:lnTo>
                    <a:pt x="-1935" y="1992"/>
                  </a:lnTo>
                  <a:lnTo>
                    <a:pt x="1352" y="1992"/>
                  </a:lnTo>
                  <a:lnTo>
                    <a:pt x="1621" y="1709"/>
                  </a:lnTo>
                  <a:lnTo>
                    <a:pt x="1352" y="1440"/>
                  </a:lnTo>
                  <a:lnTo>
                    <a:pt x="-1935" y="1440"/>
                  </a:lnTo>
                  <a:lnTo>
                    <a:pt x="-1935" y="-1654"/>
                  </a:lnTo>
                  <a:lnTo>
                    <a:pt x="1821" y="-1654"/>
                  </a:lnTo>
                  <a:lnTo>
                    <a:pt x="2091" y="-1937"/>
                  </a:lnTo>
                  <a:lnTo>
                    <a:pt x="1821" y="-2206"/>
                  </a:lnTo>
                  <a:lnTo>
                    <a:pt x="-2184" y="-2206"/>
                  </a:lnTo>
                  <a:lnTo>
                    <a:pt x="-2218" y="-2206"/>
                  </a:lnTo>
                  <a:lnTo>
                    <a:pt x="-2239" y="-2206"/>
                  </a:lnTo>
                  <a:lnTo>
                    <a:pt x="-2488" y="-1937"/>
                  </a:lnTo>
                  <a:lnTo>
                    <a:pt x="-2488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9576B50F-EB77-AF70-A270-DFAD3EFF4281}"/>
                </a:ext>
              </a:extLst>
            </p:cNvPr>
            <p:cNvSpPr/>
            <p:nvPr/>
          </p:nvSpPr>
          <p:spPr>
            <a:xfrm flipV="1">
              <a:off x="8403264" y="3069178"/>
              <a:ext cx="5109" cy="7851"/>
            </a:xfrm>
            <a:custGeom>
              <a:avLst/>
              <a:gdLst>
                <a:gd name="connsiteX0" fmla="*/ -11 w 5109"/>
                <a:gd name="connsiteY0" fmla="*/ 5100 h 7851"/>
                <a:gd name="connsiteX1" fmla="*/ -1944 w 5109"/>
                <a:gd name="connsiteY1" fmla="*/ 5100 h 7851"/>
                <a:gd name="connsiteX2" fmla="*/ -1944 w 5109"/>
                <a:gd name="connsiteY2" fmla="*/ 1709 h 7851"/>
                <a:gd name="connsiteX3" fmla="*/ 38 w 5109"/>
                <a:gd name="connsiteY3" fmla="*/ 1709 h 7851"/>
                <a:gd name="connsiteX4" fmla="*/ 1681 w 5109"/>
                <a:gd name="connsiteY4" fmla="*/ 3401 h 7851"/>
                <a:gd name="connsiteX5" fmla="*/ -11 w 5109"/>
                <a:gd name="connsiteY5" fmla="*/ 5100 h 7851"/>
                <a:gd name="connsiteX6" fmla="*/ 1564 w 5109"/>
                <a:gd name="connsiteY6" fmla="*/ -432 h 7851"/>
                <a:gd name="connsiteX7" fmla="*/ 929 w 5109"/>
                <a:gd name="connsiteY7" fmla="*/ 756 h 7851"/>
                <a:gd name="connsiteX8" fmla="*/ 10 w 5109"/>
                <a:gd name="connsiteY8" fmla="*/ 1150 h 7851"/>
                <a:gd name="connsiteX9" fmla="*/ -45 w 5109"/>
                <a:gd name="connsiteY9" fmla="*/ 1170 h 7851"/>
                <a:gd name="connsiteX10" fmla="*/ -1944 w 5109"/>
                <a:gd name="connsiteY10" fmla="*/ 1170 h 7851"/>
                <a:gd name="connsiteX11" fmla="*/ -1944 w 5109"/>
                <a:gd name="connsiteY11" fmla="*/ -1937 h 7851"/>
                <a:gd name="connsiteX12" fmla="*/ -2227 w 5109"/>
                <a:gd name="connsiteY12" fmla="*/ -2206 h 7851"/>
                <a:gd name="connsiteX13" fmla="*/ -2496 w 5109"/>
                <a:gd name="connsiteY13" fmla="*/ -1937 h 7851"/>
                <a:gd name="connsiteX14" fmla="*/ -2496 w 5109"/>
                <a:gd name="connsiteY14" fmla="*/ 5383 h 7851"/>
                <a:gd name="connsiteX15" fmla="*/ -2248 w 5109"/>
                <a:gd name="connsiteY15" fmla="*/ 5645 h 7851"/>
                <a:gd name="connsiteX16" fmla="*/ -2227 w 5109"/>
                <a:gd name="connsiteY16" fmla="*/ 5645 h 7851"/>
                <a:gd name="connsiteX17" fmla="*/ -2193 w 5109"/>
                <a:gd name="connsiteY17" fmla="*/ 5645 h 7851"/>
                <a:gd name="connsiteX18" fmla="*/ -11 w 5109"/>
                <a:gd name="connsiteY18" fmla="*/ 5645 h 7851"/>
                <a:gd name="connsiteX19" fmla="*/ 2227 w 5109"/>
                <a:gd name="connsiteY19" fmla="*/ 3401 h 7851"/>
                <a:gd name="connsiteX20" fmla="*/ 936 w 5109"/>
                <a:gd name="connsiteY20" fmla="*/ 1371 h 7851"/>
                <a:gd name="connsiteX21" fmla="*/ 1046 w 5109"/>
                <a:gd name="connsiteY21" fmla="*/ 1322 h 7851"/>
                <a:gd name="connsiteX22" fmla="*/ 2103 w 5109"/>
                <a:gd name="connsiteY22" fmla="*/ -432 h 7851"/>
                <a:gd name="connsiteX23" fmla="*/ 2206 w 5109"/>
                <a:gd name="connsiteY23" fmla="*/ -1343 h 7851"/>
                <a:gd name="connsiteX24" fmla="*/ 2310 w 5109"/>
                <a:gd name="connsiteY24" fmla="*/ -1530 h 7851"/>
                <a:gd name="connsiteX25" fmla="*/ 2614 w 5109"/>
                <a:gd name="connsiteY25" fmla="*/ -1709 h 7851"/>
                <a:gd name="connsiteX26" fmla="*/ 2434 w 5109"/>
                <a:gd name="connsiteY26" fmla="*/ -2068 h 7851"/>
                <a:gd name="connsiteX27" fmla="*/ 2303 w 5109"/>
                <a:gd name="connsiteY27" fmla="*/ -2082 h 7851"/>
                <a:gd name="connsiteX28" fmla="*/ 2275 w 5109"/>
                <a:gd name="connsiteY28" fmla="*/ -2082 h 7851"/>
                <a:gd name="connsiteX29" fmla="*/ 1778 w 5109"/>
                <a:gd name="connsiteY29" fmla="*/ -1716 h 7851"/>
                <a:gd name="connsiteX30" fmla="*/ 1564 w 5109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09" h="7851">
                  <a:moveTo>
                    <a:pt x="-11" y="5100"/>
                  </a:moveTo>
                  <a:lnTo>
                    <a:pt x="-1944" y="5100"/>
                  </a:lnTo>
                  <a:lnTo>
                    <a:pt x="-1944" y="1709"/>
                  </a:lnTo>
                  <a:lnTo>
                    <a:pt x="38" y="1709"/>
                  </a:lnTo>
                  <a:cubicBezTo>
                    <a:pt x="949" y="1737"/>
                    <a:pt x="1681" y="2482"/>
                    <a:pt x="1681" y="3401"/>
                  </a:cubicBezTo>
                  <a:cubicBezTo>
                    <a:pt x="1681" y="4347"/>
                    <a:pt x="929" y="5100"/>
                    <a:pt x="-11" y="5100"/>
                  </a:cubicBezTo>
                  <a:close/>
                  <a:moveTo>
                    <a:pt x="1564" y="-432"/>
                  </a:moveTo>
                  <a:lnTo>
                    <a:pt x="929" y="756"/>
                  </a:lnTo>
                  <a:lnTo>
                    <a:pt x="10" y="1150"/>
                  </a:lnTo>
                  <a:lnTo>
                    <a:pt x="-45" y="1170"/>
                  </a:lnTo>
                  <a:lnTo>
                    <a:pt x="-1944" y="1170"/>
                  </a:lnTo>
                  <a:lnTo>
                    <a:pt x="-1944" y="-1937"/>
                  </a:lnTo>
                  <a:lnTo>
                    <a:pt x="-2227" y="-2206"/>
                  </a:lnTo>
                  <a:lnTo>
                    <a:pt x="-2496" y="-1937"/>
                  </a:lnTo>
                  <a:lnTo>
                    <a:pt x="-2496" y="5383"/>
                  </a:lnTo>
                  <a:lnTo>
                    <a:pt x="-2248" y="5645"/>
                  </a:lnTo>
                  <a:lnTo>
                    <a:pt x="-2227" y="5645"/>
                  </a:lnTo>
                  <a:lnTo>
                    <a:pt x="-2193" y="5645"/>
                  </a:lnTo>
                  <a:lnTo>
                    <a:pt x="-11" y="5645"/>
                  </a:lnTo>
                  <a:cubicBezTo>
                    <a:pt x="1225" y="5645"/>
                    <a:pt x="2227" y="4651"/>
                    <a:pt x="2227" y="3401"/>
                  </a:cubicBezTo>
                  <a:cubicBezTo>
                    <a:pt x="2227" y="2510"/>
                    <a:pt x="1695" y="1737"/>
                    <a:pt x="936" y="1371"/>
                  </a:cubicBezTo>
                  <a:lnTo>
                    <a:pt x="1046" y="1322"/>
                  </a:lnTo>
                  <a:cubicBezTo>
                    <a:pt x="1564" y="1025"/>
                    <a:pt x="2103" y="459"/>
                    <a:pt x="2103" y="-432"/>
                  </a:cubicBezTo>
                  <a:lnTo>
                    <a:pt x="2206" y="-1343"/>
                  </a:lnTo>
                  <a:lnTo>
                    <a:pt x="2310" y="-1530"/>
                  </a:lnTo>
                  <a:lnTo>
                    <a:pt x="2614" y="-1709"/>
                  </a:lnTo>
                  <a:lnTo>
                    <a:pt x="2434" y="-2068"/>
                  </a:lnTo>
                  <a:lnTo>
                    <a:pt x="2303" y="-2082"/>
                  </a:lnTo>
                  <a:lnTo>
                    <a:pt x="2275" y="-2082"/>
                  </a:lnTo>
                  <a:lnTo>
                    <a:pt x="1778" y="-1716"/>
                  </a:lnTo>
                  <a:cubicBezTo>
                    <a:pt x="1647" y="-1461"/>
                    <a:pt x="1564" y="-1095"/>
                    <a:pt x="1564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B8353876-1094-4F77-8079-84A889FBB9C0}"/>
                </a:ext>
              </a:extLst>
            </p:cNvPr>
            <p:cNvSpPr/>
            <p:nvPr/>
          </p:nvSpPr>
          <p:spPr>
            <a:xfrm flipV="1">
              <a:off x="8453149" y="3069254"/>
              <a:ext cx="5786" cy="7775"/>
            </a:xfrm>
            <a:custGeom>
              <a:avLst/>
              <a:gdLst>
                <a:gd name="connsiteX0" fmla="*/ -2021 w 5786"/>
                <a:gd name="connsiteY0" fmla="*/ 4492 h 7775"/>
                <a:gd name="connsiteX1" fmla="*/ -2021 w 5786"/>
                <a:gd name="connsiteY1" fmla="*/ -1937 h 7775"/>
                <a:gd name="connsiteX2" fmla="*/ -2290 w 5786"/>
                <a:gd name="connsiteY2" fmla="*/ -2206 h 7775"/>
                <a:gd name="connsiteX3" fmla="*/ -2560 w 5786"/>
                <a:gd name="connsiteY3" fmla="*/ -1937 h 7775"/>
                <a:gd name="connsiteX4" fmla="*/ -2560 w 5786"/>
                <a:gd name="connsiteY4" fmla="*/ 5265 h 7775"/>
                <a:gd name="connsiteX5" fmla="*/ -2463 w 5786"/>
                <a:gd name="connsiteY5" fmla="*/ 5569 h 7775"/>
                <a:gd name="connsiteX6" fmla="*/ -2076 w 5786"/>
                <a:gd name="connsiteY6" fmla="*/ 5500 h 7775"/>
                <a:gd name="connsiteX7" fmla="*/ 2675 w 5786"/>
                <a:gd name="connsiteY7" fmla="*/ -1095 h 7775"/>
                <a:gd name="connsiteX8" fmla="*/ 2675 w 5786"/>
                <a:gd name="connsiteY8" fmla="*/ 5300 h 7775"/>
                <a:gd name="connsiteX9" fmla="*/ 2944 w 5786"/>
                <a:gd name="connsiteY9" fmla="*/ 5569 h 7775"/>
                <a:gd name="connsiteX10" fmla="*/ 3227 w 5786"/>
                <a:gd name="connsiteY10" fmla="*/ 5300 h 7775"/>
                <a:gd name="connsiteX11" fmla="*/ 3227 w 5786"/>
                <a:gd name="connsiteY11" fmla="*/ -1937 h 7775"/>
                <a:gd name="connsiteX12" fmla="*/ 2944 w 5786"/>
                <a:gd name="connsiteY12" fmla="*/ -2206 h 7775"/>
                <a:gd name="connsiteX13" fmla="*/ 2730 w 5786"/>
                <a:gd name="connsiteY13" fmla="*/ -2103 h 7775"/>
                <a:gd name="connsiteX14" fmla="*/ 2689 w 5786"/>
                <a:gd name="connsiteY14" fmla="*/ -2054 h 7775"/>
                <a:gd name="connsiteX15" fmla="*/ -2021 w 5786"/>
                <a:gd name="connsiteY15" fmla="*/ 4492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86" h="7775">
                  <a:moveTo>
                    <a:pt x="-2021" y="4492"/>
                  </a:moveTo>
                  <a:lnTo>
                    <a:pt x="-2021" y="-1937"/>
                  </a:lnTo>
                  <a:lnTo>
                    <a:pt x="-2290" y="-2206"/>
                  </a:lnTo>
                  <a:lnTo>
                    <a:pt x="-2560" y="-1937"/>
                  </a:lnTo>
                  <a:lnTo>
                    <a:pt x="-2560" y="5265"/>
                  </a:lnTo>
                  <a:lnTo>
                    <a:pt x="-2463" y="5569"/>
                  </a:lnTo>
                  <a:lnTo>
                    <a:pt x="-2076" y="5500"/>
                  </a:lnTo>
                  <a:lnTo>
                    <a:pt x="2675" y="-1095"/>
                  </a:lnTo>
                  <a:lnTo>
                    <a:pt x="2675" y="5300"/>
                  </a:lnTo>
                  <a:lnTo>
                    <a:pt x="2944" y="5569"/>
                  </a:lnTo>
                  <a:lnTo>
                    <a:pt x="3227" y="5300"/>
                  </a:lnTo>
                  <a:lnTo>
                    <a:pt x="3227" y="-1937"/>
                  </a:lnTo>
                  <a:lnTo>
                    <a:pt x="2944" y="-2206"/>
                  </a:lnTo>
                  <a:lnTo>
                    <a:pt x="2730" y="-2103"/>
                  </a:lnTo>
                  <a:lnTo>
                    <a:pt x="2689" y="-2054"/>
                  </a:lnTo>
                  <a:lnTo>
                    <a:pt x="-2021" y="4492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A7DBADA3-6418-DF33-D3EF-488885063C56}"/>
                </a:ext>
              </a:extLst>
            </p:cNvPr>
            <p:cNvSpPr/>
            <p:nvPr/>
          </p:nvSpPr>
          <p:spPr>
            <a:xfrm flipV="1">
              <a:off x="8460835" y="3069061"/>
              <a:ext cx="7547" cy="7968"/>
            </a:xfrm>
            <a:custGeom>
              <a:avLst/>
              <a:gdLst>
                <a:gd name="connsiteX0" fmla="*/ 1221 w 7547"/>
                <a:gd name="connsiteY0" fmla="*/ -1654 h 7968"/>
                <a:gd name="connsiteX1" fmla="*/ 4418 w 7547"/>
                <a:gd name="connsiteY1" fmla="*/ 1778 h 7968"/>
                <a:gd name="connsiteX2" fmla="*/ 1221 w 7547"/>
                <a:gd name="connsiteY2" fmla="*/ 5196 h 7968"/>
                <a:gd name="connsiteX3" fmla="*/ -2018 w 7547"/>
                <a:gd name="connsiteY3" fmla="*/ 1778 h 7968"/>
                <a:gd name="connsiteX4" fmla="*/ 1221 w 7547"/>
                <a:gd name="connsiteY4" fmla="*/ -1654 h 7968"/>
                <a:gd name="connsiteX5" fmla="*/ 1221 w 7547"/>
                <a:gd name="connsiteY5" fmla="*/ 5762 h 7968"/>
                <a:gd name="connsiteX6" fmla="*/ 4977 w 7547"/>
                <a:gd name="connsiteY6" fmla="*/ 1778 h 7968"/>
                <a:gd name="connsiteX7" fmla="*/ 1221 w 7547"/>
                <a:gd name="connsiteY7" fmla="*/ -2207 h 7968"/>
                <a:gd name="connsiteX8" fmla="*/ -2570 w 7547"/>
                <a:gd name="connsiteY8" fmla="*/ 1778 h 7968"/>
                <a:gd name="connsiteX9" fmla="*/ 1221 w 7547"/>
                <a:gd name="connsiteY9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47" h="7968">
                  <a:moveTo>
                    <a:pt x="1221" y="-1654"/>
                  </a:moveTo>
                  <a:cubicBezTo>
                    <a:pt x="2947" y="-1654"/>
                    <a:pt x="4411" y="-142"/>
                    <a:pt x="4418" y="1778"/>
                  </a:cubicBezTo>
                  <a:cubicBezTo>
                    <a:pt x="4411" y="3718"/>
                    <a:pt x="2947" y="5196"/>
                    <a:pt x="1221" y="5196"/>
                  </a:cubicBezTo>
                  <a:cubicBezTo>
                    <a:pt x="-561" y="5196"/>
                    <a:pt x="-2018" y="3718"/>
                    <a:pt x="-2018" y="1778"/>
                  </a:cubicBezTo>
                  <a:cubicBezTo>
                    <a:pt x="-2018" y="-142"/>
                    <a:pt x="-561" y="-1654"/>
                    <a:pt x="1221" y="-1654"/>
                  </a:cubicBezTo>
                  <a:close/>
                  <a:moveTo>
                    <a:pt x="1221" y="5762"/>
                  </a:moveTo>
                  <a:cubicBezTo>
                    <a:pt x="3320" y="5762"/>
                    <a:pt x="4964" y="3974"/>
                    <a:pt x="4977" y="1778"/>
                  </a:cubicBezTo>
                  <a:cubicBezTo>
                    <a:pt x="4964" y="-418"/>
                    <a:pt x="3320" y="-2207"/>
                    <a:pt x="1221" y="-2207"/>
                  </a:cubicBezTo>
                  <a:cubicBezTo>
                    <a:pt x="-892" y="-2207"/>
                    <a:pt x="-2556" y="-418"/>
                    <a:pt x="-2570" y="1778"/>
                  </a:cubicBezTo>
                  <a:cubicBezTo>
                    <a:pt x="-2556" y="3974"/>
                    <a:pt x="-892" y="5762"/>
                    <a:pt x="1221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411CEC8C-2F6C-D5A5-73FA-89E4B0CB9554}"/>
                </a:ext>
              </a:extLst>
            </p:cNvPr>
            <p:cNvSpPr/>
            <p:nvPr/>
          </p:nvSpPr>
          <p:spPr>
            <a:xfrm flipV="1">
              <a:off x="8469770" y="3069247"/>
              <a:ext cx="6615" cy="7782"/>
            </a:xfrm>
            <a:custGeom>
              <a:avLst/>
              <a:gdLst>
                <a:gd name="connsiteX0" fmla="*/ 478 w 6615"/>
                <a:gd name="connsiteY0" fmla="*/ -2047 h 7782"/>
                <a:gd name="connsiteX1" fmla="*/ 465 w 6615"/>
                <a:gd name="connsiteY1" fmla="*/ -2020 h 7782"/>
                <a:gd name="connsiteX2" fmla="*/ 458 w 6615"/>
                <a:gd name="connsiteY2" fmla="*/ -2013 h 7782"/>
                <a:gd name="connsiteX3" fmla="*/ -2581 w 6615"/>
                <a:gd name="connsiteY3" fmla="*/ 5224 h 7782"/>
                <a:gd name="connsiteX4" fmla="*/ -2436 w 6615"/>
                <a:gd name="connsiteY4" fmla="*/ 5576 h 7782"/>
                <a:gd name="connsiteX5" fmla="*/ -2077 w 6615"/>
                <a:gd name="connsiteY5" fmla="*/ 5445 h 7782"/>
                <a:gd name="connsiteX6" fmla="*/ 727 w 6615"/>
                <a:gd name="connsiteY6" fmla="*/ -1240 h 7782"/>
                <a:gd name="connsiteX7" fmla="*/ 3537 w 6615"/>
                <a:gd name="connsiteY7" fmla="*/ 5445 h 7782"/>
                <a:gd name="connsiteX8" fmla="*/ 3890 w 6615"/>
                <a:gd name="connsiteY8" fmla="*/ 5576 h 7782"/>
                <a:gd name="connsiteX9" fmla="*/ 4035 w 6615"/>
                <a:gd name="connsiteY9" fmla="*/ 5224 h 7782"/>
                <a:gd name="connsiteX10" fmla="*/ 989 w 6615"/>
                <a:gd name="connsiteY10" fmla="*/ -1958 h 7782"/>
                <a:gd name="connsiteX11" fmla="*/ 831 w 6615"/>
                <a:gd name="connsiteY11" fmla="*/ -2179 h 7782"/>
                <a:gd name="connsiteX12" fmla="*/ 824 w 6615"/>
                <a:gd name="connsiteY12" fmla="*/ -2179 h 7782"/>
                <a:gd name="connsiteX13" fmla="*/ 727 w 6615"/>
                <a:gd name="connsiteY13" fmla="*/ -2206 h 7782"/>
                <a:gd name="connsiteX14" fmla="*/ 623 w 6615"/>
                <a:gd name="connsiteY14" fmla="*/ -2193 h 7782"/>
                <a:gd name="connsiteX15" fmla="*/ 616 w 6615"/>
                <a:gd name="connsiteY15" fmla="*/ -2179 h 7782"/>
                <a:gd name="connsiteX16" fmla="*/ 478 w 6615"/>
                <a:gd name="connsiteY16" fmla="*/ -2047 h 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15" h="7782">
                  <a:moveTo>
                    <a:pt x="478" y="-2047"/>
                  </a:moveTo>
                  <a:lnTo>
                    <a:pt x="465" y="-2020"/>
                  </a:lnTo>
                  <a:lnTo>
                    <a:pt x="458" y="-2013"/>
                  </a:lnTo>
                  <a:lnTo>
                    <a:pt x="-2581" y="5224"/>
                  </a:lnTo>
                  <a:lnTo>
                    <a:pt x="-2436" y="5576"/>
                  </a:lnTo>
                  <a:lnTo>
                    <a:pt x="-2077" y="5445"/>
                  </a:lnTo>
                  <a:lnTo>
                    <a:pt x="727" y="-1240"/>
                  </a:lnTo>
                  <a:lnTo>
                    <a:pt x="3537" y="5445"/>
                  </a:lnTo>
                  <a:lnTo>
                    <a:pt x="3890" y="5576"/>
                  </a:lnTo>
                  <a:lnTo>
                    <a:pt x="4035" y="5224"/>
                  </a:lnTo>
                  <a:lnTo>
                    <a:pt x="989" y="-1958"/>
                  </a:lnTo>
                  <a:lnTo>
                    <a:pt x="831" y="-2179"/>
                  </a:lnTo>
                  <a:lnTo>
                    <a:pt x="824" y="-2179"/>
                  </a:lnTo>
                  <a:lnTo>
                    <a:pt x="727" y="-2206"/>
                  </a:lnTo>
                  <a:lnTo>
                    <a:pt x="623" y="-2193"/>
                  </a:lnTo>
                  <a:lnTo>
                    <a:pt x="616" y="-2179"/>
                  </a:lnTo>
                  <a:lnTo>
                    <a:pt x="478" y="-2047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65054B86-B792-2959-AE05-5183ECDA76A0}"/>
                </a:ext>
              </a:extLst>
            </p:cNvPr>
            <p:cNvSpPr/>
            <p:nvPr/>
          </p:nvSpPr>
          <p:spPr>
            <a:xfrm flipV="1">
              <a:off x="8478305" y="3069178"/>
              <a:ext cx="4571" cy="7851"/>
            </a:xfrm>
            <a:custGeom>
              <a:avLst/>
              <a:gdLst>
                <a:gd name="connsiteX0" fmla="*/ -2590 w 4571"/>
                <a:gd name="connsiteY0" fmla="*/ 5383 h 7851"/>
                <a:gd name="connsiteX1" fmla="*/ -2321 w 4571"/>
                <a:gd name="connsiteY1" fmla="*/ 5645 h 7851"/>
                <a:gd name="connsiteX2" fmla="*/ 1712 w 4571"/>
                <a:gd name="connsiteY2" fmla="*/ 5645 h 7851"/>
                <a:gd name="connsiteX3" fmla="*/ 1981 w 4571"/>
                <a:gd name="connsiteY3" fmla="*/ 5383 h 7851"/>
                <a:gd name="connsiteX4" fmla="*/ 1712 w 4571"/>
                <a:gd name="connsiteY4" fmla="*/ 5100 h 7851"/>
                <a:gd name="connsiteX5" fmla="*/ -2038 w 4571"/>
                <a:gd name="connsiteY5" fmla="*/ 5100 h 7851"/>
                <a:gd name="connsiteX6" fmla="*/ -2038 w 4571"/>
                <a:gd name="connsiteY6" fmla="*/ 1992 h 7851"/>
                <a:gd name="connsiteX7" fmla="*/ 1242 w 4571"/>
                <a:gd name="connsiteY7" fmla="*/ 1992 h 7851"/>
                <a:gd name="connsiteX8" fmla="*/ 1511 w 4571"/>
                <a:gd name="connsiteY8" fmla="*/ 1709 h 7851"/>
                <a:gd name="connsiteX9" fmla="*/ 1242 w 4571"/>
                <a:gd name="connsiteY9" fmla="*/ 1440 h 7851"/>
                <a:gd name="connsiteX10" fmla="*/ -2038 w 4571"/>
                <a:gd name="connsiteY10" fmla="*/ 1440 h 7851"/>
                <a:gd name="connsiteX11" fmla="*/ -2038 w 4571"/>
                <a:gd name="connsiteY11" fmla="*/ -1654 h 7851"/>
                <a:gd name="connsiteX12" fmla="*/ 1712 w 4571"/>
                <a:gd name="connsiteY12" fmla="*/ -1654 h 7851"/>
                <a:gd name="connsiteX13" fmla="*/ 1981 w 4571"/>
                <a:gd name="connsiteY13" fmla="*/ -1937 h 7851"/>
                <a:gd name="connsiteX14" fmla="*/ 1712 w 4571"/>
                <a:gd name="connsiteY14" fmla="*/ -2206 h 7851"/>
                <a:gd name="connsiteX15" fmla="*/ -2287 w 4571"/>
                <a:gd name="connsiteY15" fmla="*/ -2206 h 7851"/>
                <a:gd name="connsiteX16" fmla="*/ -2321 w 4571"/>
                <a:gd name="connsiteY16" fmla="*/ -2206 h 7851"/>
                <a:gd name="connsiteX17" fmla="*/ -2342 w 4571"/>
                <a:gd name="connsiteY17" fmla="*/ -2206 h 7851"/>
                <a:gd name="connsiteX18" fmla="*/ -2590 w 4571"/>
                <a:gd name="connsiteY18" fmla="*/ -1937 h 7851"/>
                <a:gd name="connsiteX19" fmla="*/ -2590 w 4571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1" h="7851">
                  <a:moveTo>
                    <a:pt x="-2590" y="5383"/>
                  </a:moveTo>
                  <a:lnTo>
                    <a:pt x="-2321" y="5645"/>
                  </a:lnTo>
                  <a:lnTo>
                    <a:pt x="1712" y="5645"/>
                  </a:lnTo>
                  <a:lnTo>
                    <a:pt x="1981" y="5383"/>
                  </a:lnTo>
                  <a:lnTo>
                    <a:pt x="1712" y="5100"/>
                  </a:lnTo>
                  <a:lnTo>
                    <a:pt x="-2038" y="5100"/>
                  </a:lnTo>
                  <a:lnTo>
                    <a:pt x="-2038" y="1992"/>
                  </a:lnTo>
                  <a:lnTo>
                    <a:pt x="1242" y="1992"/>
                  </a:lnTo>
                  <a:lnTo>
                    <a:pt x="1511" y="1709"/>
                  </a:lnTo>
                  <a:lnTo>
                    <a:pt x="1242" y="1440"/>
                  </a:lnTo>
                  <a:lnTo>
                    <a:pt x="-2038" y="1440"/>
                  </a:lnTo>
                  <a:lnTo>
                    <a:pt x="-2038" y="-1654"/>
                  </a:lnTo>
                  <a:lnTo>
                    <a:pt x="1712" y="-1654"/>
                  </a:lnTo>
                  <a:lnTo>
                    <a:pt x="1981" y="-1937"/>
                  </a:lnTo>
                  <a:lnTo>
                    <a:pt x="1712" y="-2206"/>
                  </a:lnTo>
                  <a:lnTo>
                    <a:pt x="-2287" y="-2206"/>
                  </a:lnTo>
                  <a:lnTo>
                    <a:pt x="-2321" y="-2206"/>
                  </a:lnTo>
                  <a:lnTo>
                    <a:pt x="-2342" y="-2206"/>
                  </a:lnTo>
                  <a:lnTo>
                    <a:pt x="-2590" y="-1937"/>
                  </a:lnTo>
                  <a:lnTo>
                    <a:pt x="-2590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EA9A77C7-40D5-9830-9D01-CF2EC054B702}"/>
                </a:ext>
              </a:extLst>
            </p:cNvPr>
            <p:cNvSpPr/>
            <p:nvPr/>
          </p:nvSpPr>
          <p:spPr>
            <a:xfrm flipV="1">
              <a:off x="8484942" y="3069254"/>
              <a:ext cx="6594" cy="7775"/>
            </a:xfrm>
            <a:custGeom>
              <a:avLst/>
              <a:gdLst>
                <a:gd name="connsiteX0" fmla="*/ 3456 w 6594"/>
                <a:gd name="connsiteY0" fmla="*/ 4526 h 7775"/>
                <a:gd name="connsiteX1" fmla="*/ 943 w 6594"/>
                <a:gd name="connsiteY1" fmla="*/ 1039 h 7775"/>
                <a:gd name="connsiteX2" fmla="*/ 721 w 6594"/>
                <a:gd name="connsiteY2" fmla="*/ 915 h 7775"/>
                <a:gd name="connsiteX3" fmla="*/ 701 w 6594"/>
                <a:gd name="connsiteY3" fmla="*/ 915 h 7775"/>
                <a:gd name="connsiteX4" fmla="*/ 459 w 6594"/>
                <a:gd name="connsiteY4" fmla="*/ 1039 h 7775"/>
                <a:gd name="connsiteX5" fmla="*/ -2048 w 6594"/>
                <a:gd name="connsiteY5" fmla="*/ 4520 h 7775"/>
                <a:gd name="connsiteX6" fmla="*/ -2048 w 6594"/>
                <a:gd name="connsiteY6" fmla="*/ -1937 h 7775"/>
                <a:gd name="connsiteX7" fmla="*/ -2317 w 6594"/>
                <a:gd name="connsiteY7" fmla="*/ -2206 h 7775"/>
                <a:gd name="connsiteX8" fmla="*/ -2600 w 6594"/>
                <a:gd name="connsiteY8" fmla="*/ -1937 h 7775"/>
                <a:gd name="connsiteX9" fmla="*/ -2600 w 6594"/>
                <a:gd name="connsiteY9" fmla="*/ 5334 h 7775"/>
                <a:gd name="connsiteX10" fmla="*/ -2489 w 6594"/>
                <a:gd name="connsiteY10" fmla="*/ 5542 h 7775"/>
                <a:gd name="connsiteX11" fmla="*/ -2462 w 6594"/>
                <a:gd name="connsiteY11" fmla="*/ 5569 h 7775"/>
                <a:gd name="connsiteX12" fmla="*/ -2089 w 6594"/>
                <a:gd name="connsiteY12" fmla="*/ 5500 h 7775"/>
                <a:gd name="connsiteX13" fmla="*/ 708 w 6594"/>
                <a:gd name="connsiteY13" fmla="*/ 1633 h 7775"/>
                <a:gd name="connsiteX14" fmla="*/ 3484 w 6594"/>
                <a:gd name="connsiteY14" fmla="*/ 5500 h 7775"/>
                <a:gd name="connsiteX15" fmla="*/ 3870 w 6594"/>
                <a:gd name="connsiteY15" fmla="*/ 5569 h 7775"/>
                <a:gd name="connsiteX16" fmla="*/ 3953 w 6594"/>
                <a:gd name="connsiteY16" fmla="*/ 5479 h 7775"/>
                <a:gd name="connsiteX17" fmla="*/ 3995 w 6594"/>
                <a:gd name="connsiteY17" fmla="*/ 5334 h 7775"/>
                <a:gd name="connsiteX18" fmla="*/ 3995 w 6594"/>
                <a:gd name="connsiteY18" fmla="*/ -1937 h 7775"/>
                <a:gd name="connsiteX19" fmla="*/ 3725 w 6594"/>
                <a:gd name="connsiteY19" fmla="*/ -2206 h 7775"/>
                <a:gd name="connsiteX20" fmla="*/ 3456 w 6594"/>
                <a:gd name="connsiteY20" fmla="*/ -1937 h 7775"/>
                <a:gd name="connsiteX21" fmla="*/ 3456 w 6594"/>
                <a:gd name="connsiteY21" fmla="*/ 4526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94" h="7775">
                  <a:moveTo>
                    <a:pt x="3456" y="4526"/>
                  </a:moveTo>
                  <a:lnTo>
                    <a:pt x="943" y="1039"/>
                  </a:lnTo>
                  <a:lnTo>
                    <a:pt x="721" y="915"/>
                  </a:lnTo>
                  <a:lnTo>
                    <a:pt x="701" y="915"/>
                  </a:lnTo>
                  <a:lnTo>
                    <a:pt x="459" y="1039"/>
                  </a:lnTo>
                  <a:lnTo>
                    <a:pt x="-2048" y="4520"/>
                  </a:lnTo>
                  <a:lnTo>
                    <a:pt x="-2048" y="-1937"/>
                  </a:lnTo>
                  <a:lnTo>
                    <a:pt x="-2317" y="-2206"/>
                  </a:lnTo>
                  <a:lnTo>
                    <a:pt x="-2600" y="-1937"/>
                  </a:lnTo>
                  <a:lnTo>
                    <a:pt x="-2600" y="5334"/>
                  </a:lnTo>
                  <a:lnTo>
                    <a:pt x="-2489" y="5542"/>
                  </a:lnTo>
                  <a:lnTo>
                    <a:pt x="-2462" y="5569"/>
                  </a:lnTo>
                  <a:lnTo>
                    <a:pt x="-2089" y="5500"/>
                  </a:lnTo>
                  <a:lnTo>
                    <a:pt x="708" y="1633"/>
                  </a:lnTo>
                  <a:lnTo>
                    <a:pt x="3484" y="5500"/>
                  </a:lnTo>
                  <a:lnTo>
                    <a:pt x="3870" y="5569"/>
                  </a:lnTo>
                  <a:lnTo>
                    <a:pt x="3953" y="5479"/>
                  </a:lnTo>
                  <a:lnTo>
                    <a:pt x="3995" y="5334"/>
                  </a:lnTo>
                  <a:lnTo>
                    <a:pt x="3995" y="-1937"/>
                  </a:lnTo>
                  <a:lnTo>
                    <a:pt x="3725" y="-2206"/>
                  </a:lnTo>
                  <a:lnTo>
                    <a:pt x="3456" y="-1937"/>
                  </a:lnTo>
                  <a:lnTo>
                    <a:pt x="3456" y="452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7862B142-F6D8-7E1D-4FC7-4935DF9B271F}"/>
                </a:ext>
              </a:extLst>
            </p:cNvPr>
            <p:cNvSpPr/>
            <p:nvPr/>
          </p:nvSpPr>
          <p:spPr>
            <a:xfrm flipV="1">
              <a:off x="8494388" y="3069178"/>
              <a:ext cx="4750" cy="7851"/>
            </a:xfrm>
            <a:custGeom>
              <a:avLst/>
              <a:gdLst>
                <a:gd name="connsiteX0" fmla="*/ -97 w 4750"/>
                <a:gd name="connsiteY0" fmla="*/ -1654 h 7851"/>
                <a:gd name="connsiteX1" fmla="*/ 1595 w 4750"/>
                <a:gd name="connsiteY1" fmla="*/ 38 h 7851"/>
                <a:gd name="connsiteX2" fmla="*/ -97 w 4750"/>
                <a:gd name="connsiteY2" fmla="*/ 1737 h 7851"/>
                <a:gd name="connsiteX3" fmla="*/ -2058 w 4750"/>
                <a:gd name="connsiteY3" fmla="*/ 1737 h 7851"/>
                <a:gd name="connsiteX4" fmla="*/ -2058 w 4750"/>
                <a:gd name="connsiteY4" fmla="*/ -1654 h 7851"/>
                <a:gd name="connsiteX5" fmla="*/ -594 w 4750"/>
                <a:gd name="connsiteY5" fmla="*/ 2296 h 7851"/>
                <a:gd name="connsiteX6" fmla="*/ 808 w 4750"/>
                <a:gd name="connsiteY6" fmla="*/ 3684 h 7851"/>
                <a:gd name="connsiteX7" fmla="*/ -594 w 4750"/>
                <a:gd name="connsiteY7" fmla="*/ 5100 h 7851"/>
                <a:gd name="connsiteX8" fmla="*/ -2058 w 4750"/>
                <a:gd name="connsiteY8" fmla="*/ 5100 h 7851"/>
                <a:gd name="connsiteX9" fmla="*/ -2058 w 4750"/>
                <a:gd name="connsiteY9" fmla="*/ 2296 h 7851"/>
                <a:gd name="connsiteX10" fmla="*/ -2611 w 4750"/>
                <a:gd name="connsiteY10" fmla="*/ 5383 h 7851"/>
                <a:gd name="connsiteX11" fmla="*/ -2341 w 4750"/>
                <a:gd name="connsiteY11" fmla="*/ 5645 h 7851"/>
                <a:gd name="connsiteX12" fmla="*/ -594 w 4750"/>
                <a:gd name="connsiteY12" fmla="*/ 5645 h 7851"/>
                <a:gd name="connsiteX13" fmla="*/ 1360 w 4750"/>
                <a:gd name="connsiteY13" fmla="*/ 3684 h 7851"/>
                <a:gd name="connsiteX14" fmla="*/ 607 w 4750"/>
                <a:gd name="connsiteY14" fmla="*/ 2158 h 7851"/>
                <a:gd name="connsiteX15" fmla="*/ 2140 w 4750"/>
                <a:gd name="connsiteY15" fmla="*/ 38 h 7851"/>
                <a:gd name="connsiteX16" fmla="*/ -97 w 4750"/>
                <a:gd name="connsiteY16" fmla="*/ -2206 h 7851"/>
                <a:gd name="connsiteX17" fmla="*/ -2307 w 4750"/>
                <a:gd name="connsiteY17" fmla="*/ -2206 h 7851"/>
                <a:gd name="connsiteX18" fmla="*/ -2341 w 4750"/>
                <a:gd name="connsiteY18" fmla="*/ -2206 h 7851"/>
                <a:gd name="connsiteX19" fmla="*/ -2355 w 4750"/>
                <a:gd name="connsiteY19" fmla="*/ -2206 h 7851"/>
                <a:gd name="connsiteX20" fmla="*/ -2611 w 4750"/>
                <a:gd name="connsiteY20" fmla="*/ -1937 h 7851"/>
                <a:gd name="connsiteX21" fmla="*/ -2611 w 4750"/>
                <a:gd name="connsiteY21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750" h="7851">
                  <a:moveTo>
                    <a:pt x="-97" y="-1654"/>
                  </a:moveTo>
                  <a:cubicBezTo>
                    <a:pt x="828" y="-1654"/>
                    <a:pt x="1581" y="-901"/>
                    <a:pt x="1595" y="38"/>
                  </a:cubicBezTo>
                  <a:cubicBezTo>
                    <a:pt x="1581" y="970"/>
                    <a:pt x="828" y="1737"/>
                    <a:pt x="-97" y="1737"/>
                  </a:cubicBezTo>
                  <a:lnTo>
                    <a:pt x="-2058" y="1737"/>
                  </a:lnTo>
                  <a:lnTo>
                    <a:pt x="-2058" y="-1654"/>
                  </a:lnTo>
                  <a:close/>
                  <a:moveTo>
                    <a:pt x="-594" y="2296"/>
                  </a:moveTo>
                  <a:cubicBezTo>
                    <a:pt x="179" y="2296"/>
                    <a:pt x="808" y="2924"/>
                    <a:pt x="808" y="3684"/>
                  </a:cubicBezTo>
                  <a:cubicBezTo>
                    <a:pt x="808" y="4471"/>
                    <a:pt x="179" y="5100"/>
                    <a:pt x="-594" y="5100"/>
                  </a:cubicBezTo>
                  <a:lnTo>
                    <a:pt x="-2058" y="5100"/>
                  </a:lnTo>
                  <a:lnTo>
                    <a:pt x="-2058" y="2296"/>
                  </a:lnTo>
                  <a:close/>
                  <a:moveTo>
                    <a:pt x="-2611" y="5383"/>
                  </a:moveTo>
                  <a:lnTo>
                    <a:pt x="-2341" y="5645"/>
                  </a:lnTo>
                  <a:lnTo>
                    <a:pt x="-594" y="5645"/>
                  </a:lnTo>
                  <a:cubicBezTo>
                    <a:pt x="483" y="5645"/>
                    <a:pt x="1360" y="4775"/>
                    <a:pt x="1360" y="3684"/>
                  </a:cubicBezTo>
                  <a:lnTo>
                    <a:pt x="607" y="2158"/>
                  </a:lnTo>
                  <a:cubicBezTo>
                    <a:pt x="1491" y="1854"/>
                    <a:pt x="2140" y="1025"/>
                    <a:pt x="2140" y="38"/>
                  </a:cubicBezTo>
                  <a:cubicBezTo>
                    <a:pt x="2140" y="-1205"/>
                    <a:pt x="1132" y="-2206"/>
                    <a:pt x="-97" y="-2206"/>
                  </a:cubicBezTo>
                  <a:lnTo>
                    <a:pt x="-2307" y="-2206"/>
                  </a:lnTo>
                  <a:lnTo>
                    <a:pt x="-2341" y="-2206"/>
                  </a:lnTo>
                  <a:lnTo>
                    <a:pt x="-2355" y="-2206"/>
                  </a:lnTo>
                  <a:lnTo>
                    <a:pt x="-2611" y="-1937"/>
                  </a:lnTo>
                  <a:lnTo>
                    <a:pt x="-2611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236E4A9D-3809-5640-49EF-EC7BC6600CEC}"/>
                </a:ext>
              </a:extLst>
            </p:cNvPr>
            <p:cNvSpPr/>
            <p:nvPr/>
          </p:nvSpPr>
          <p:spPr>
            <a:xfrm flipV="1">
              <a:off x="8501038" y="3069178"/>
              <a:ext cx="4571" cy="7851"/>
            </a:xfrm>
            <a:custGeom>
              <a:avLst/>
              <a:gdLst>
                <a:gd name="connsiteX0" fmla="*/ -2619 w 4571"/>
                <a:gd name="connsiteY0" fmla="*/ 5383 h 7851"/>
                <a:gd name="connsiteX1" fmla="*/ -2349 w 4571"/>
                <a:gd name="connsiteY1" fmla="*/ 5645 h 7851"/>
                <a:gd name="connsiteX2" fmla="*/ 1683 w 4571"/>
                <a:gd name="connsiteY2" fmla="*/ 5645 h 7851"/>
                <a:gd name="connsiteX3" fmla="*/ 1953 w 4571"/>
                <a:gd name="connsiteY3" fmla="*/ 5383 h 7851"/>
                <a:gd name="connsiteX4" fmla="*/ 1683 w 4571"/>
                <a:gd name="connsiteY4" fmla="*/ 5100 h 7851"/>
                <a:gd name="connsiteX5" fmla="*/ -2073 w 4571"/>
                <a:gd name="connsiteY5" fmla="*/ 5100 h 7851"/>
                <a:gd name="connsiteX6" fmla="*/ -2073 w 4571"/>
                <a:gd name="connsiteY6" fmla="*/ 1992 h 7851"/>
                <a:gd name="connsiteX7" fmla="*/ 1214 w 4571"/>
                <a:gd name="connsiteY7" fmla="*/ 1992 h 7851"/>
                <a:gd name="connsiteX8" fmla="*/ 1483 w 4571"/>
                <a:gd name="connsiteY8" fmla="*/ 1709 h 7851"/>
                <a:gd name="connsiteX9" fmla="*/ 1214 w 4571"/>
                <a:gd name="connsiteY9" fmla="*/ 1440 h 7851"/>
                <a:gd name="connsiteX10" fmla="*/ -2073 w 4571"/>
                <a:gd name="connsiteY10" fmla="*/ 1440 h 7851"/>
                <a:gd name="connsiteX11" fmla="*/ -2073 w 4571"/>
                <a:gd name="connsiteY11" fmla="*/ -1654 h 7851"/>
                <a:gd name="connsiteX12" fmla="*/ 1683 w 4571"/>
                <a:gd name="connsiteY12" fmla="*/ -1654 h 7851"/>
                <a:gd name="connsiteX13" fmla="*/ 1953 w 4571"/>
                <a:gd name="connsiteY13" fmla="*/ -1937 h 7851"/>
                <a:gd name="connsiteX14" fmla="*/ 1683 w 4571"/>
                <a:gd name="connsiteY14" fmla="*/ -2206 h 7851"/>
                <a:gd name="connsiteX15" fmla="*/ -2315 w 4571"/>
                <a:gd name="connsiteY15" fmla="*/ -2206 h 7851"/>
                <a:gd name="connsiteX16" fmla="*/ -2349 w 4571"/>
                <a:gd name="connsiteY16" fmla="*/ -2206 h 7851"/>
                <a:gd name="connsiteX17" fmla="*/ -2370 w 4571"/>
                <a:gd name="connsiteY17" fmla="*/ -2206 h 7851"/>
                <a:gd name="connsiteX18" fmla="*/ -2619 w 4571"/>
                <a:gd name="connsiteY18" fmla="*/ -1937 h 7851"/>
                <a:gd name="connsiteX19" fmla="*/ -2619 w 4571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1" h="7851">
                  <a:moveTo>
                    <a:pt x="-2619" y="5383"/>
                  </a:moveTo>
                  <a:lnTo>
                    <a:pt x="-2349" y="5645"/>
                  </a:lnTo>
                  <a:lnTo>
                    <a:pt x="1683" y="5645"/>
                  </a:lnTo>
                  <a:lnTo>
                    <a:pt x="1953" y="5383"/>
                  </a:lnTo>
                  <a:lnTo>
                    <a:pt x="1683" y="5100"/>
                  </a:lnTo>
                  <a:lnTo>
                    <a:pt x="-2073" y="5100"/>
                  </a:lnTo>
                  <a:lnTo>
                    <a:pt x="-2073" y="1992"/>
                  </a:lnTo>
                  <a:lnTo>
                    <a:pt x="1214" y="1992"/>
                  </a:lnTo>
                  <a:lnTo>
                    <a:pt x="1483" y="1709"/>
                  </a:lnTo>
                  <a:lnTo>
                    <a:pt x="1214" y="1440"/>
                  </a:lnTo>
                  <a:lnTo>
                    <a:pt x="-2073" y="1440"/>
                  </a:lnTo>
                  <a:lnTo>
                    <a:pt x="-2073" y="-1654"/>
                  </a:lnTo>
                  <a:lnTo>
                    <a:pt x="1683" y="-1654"/>
                  </a:lnTo>
                  <a:lnTo>
                    <a:pt x="1953" y="-1937"/>
                  </a:lnTo>
                  <a:lnTo>
                    <a:pt x="1683" y="-2206"/>
                  </a:lnTo>
                  <a:lnTo>
                    <a:pt x="-2315" y="-2206"/>
                  </a:lnTo>
                  <a:lnTo>
                    <a:pt x="-2349" y="-2206"/>
                  </a:lnTo>
                  <a:lnTo>
                    <a:pt x="-2370" y="-2206"/>
                  </a:lnTo>
                  <a:lnTo>
                    <a:pt x="-2619" y="-1937"/>
                  </a:lnTo>
                  <a:lnTo>
                    <a:pt x="-2619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D5ABE94B-DDEF-5180-D951-033470EE585E}"/>
                </a:ext>
              </a:extLst>
            </p:cNvPr>
            <p:cNvSpPr/>
            <p:nvPr/>
          </p:nvSpPr>
          <p:spPr>
            <a:xfrm flipV="1">
              <a:off x="8507736" y="3069178"/>
              <a:ext cx="5117" cy="7851"/>
            </a:xfrm>
            <a:custGeom>
              <a:avLst/>
              <a:gdLst>
                <a:gd name="connsiteX0" fmla="*/ -135 w 5117"/>
                <a:gd name="connsiteY0" fmla="*/ 5100 h 7851"/>
                <a:gd name="connsiteX1" fmla="*/ -2075 w 5117"/>
                <a:gd name="connsiteY1" fmla="*/ 5100 h 7851"/>
                <a:gd name="connsiteX2" fmla="*/ -2075 w 5117"/>
                <a:gd name="connsiteY2" fmla="*/ 1709 h 7851"/>
                <a:gd name="connsiteX3" fmla="*/ -93 w 5117"/>
                <a:gd name="connsiteY3" fmla="*/ 1709 h 7851"/>
                <a:gd name="connsiteX4" fmla="*/ 1557 w 5117"/>
                <a:gd name="connsiteY4" fmla="*/ 3401 h 7851"/>
                <a:gd name="connsiteX5" fmla="*/ -135 w 5117"/>
                <a:gd name="connsiteY5" fmla="*/ 5100 h 7851"/>
                <a:gd name="connsiteX6" fmla="*/ 1433 w 5117"/>
                <a:gd name="connsiteY6" fmla="*/ -432 h 7851"/>
                <a:gd name="connsiteX7" fmla="*/ 798 w 5117"/>
                <a:gd name="connsiteY7" fmla="*/ 756 h 7851"/>
                <a:gd name="connsiteX8" fmla="*/ -114 w 5117"/>
                <a:gd name="connsiteY8" fmla="*/ 1150 h 7851"/>
                <a:gd name="connsiteX9" fmla="*/ -169 w 5117"/>
                <a:gd name="connsiteY9" fmla="*/ 1170 h 7851"/>
                <a:gd name="connsiteX10" fmla="*/ -2075 w 5117"/>
                <a:gd name="connsiteY10" fmla="*/ 1170 h 7851"/>
                <a:gd name="connsiteX11" fmla="*/ -2075 w 5117"/>
                <a:gd name="connsiteY11" fmla="*/ -1937 h 7851"/>
                <a:gd name="connsiteX12" fmla="*/ -2358 w 5117"/>
                <a:gd name="connsiteY12" fmla="*/ -2206 h 7851"/>
                <a:gd name="connsiteX13" fmla="*/ -2628 w 5117"/>
                <a:gd name="connsiteY13" fmla="*/ -1937 h 7851"/>
                <a:gd name="connsiteX14" fmla="*/ -2628 w 5117"/>
                <a:gd name="connsiteY14" fmla="*/ 5383 h 7851"/>
                <a:gd name="connsiteX15" fmla="*/ -2372 w 5117"/>
                <a:gd name="connsiteY15" fmla="*/ 5645 h 7851"/>
                <a:gd name="connsiteX16" fmla="*/ -2358 w 5117"/>
                <a:gd name="connsiteY16" fmla="*/ 5645 h 7851"/>
                <a:gd name="connsiteX17" fmla="*/ -2324 w 5117"/>
                <a:gd name="connsiteY17" fmla="*/ 5645 h 7851"/>
                <a:gd name="connsiteX18" fmla="*/ -135 w 5117"/>
                <a:gd name="connsiteY18" fmla="*/ 5645 h 7851"/>
                <a:gd name="connsiteX19" fmla="*/ 2096 w 5117"/>
                <a:gd name="connsiteY19" fmla="*/ 3401 h 7851"/>
                <a:gd name="connsiteX20" fmla="*/ 805 w 5117"/>
                <a:gd name="connsiteY20" fmla="*/ 1371 h 7851"/>
                <a:gd name="connsiteX21" fmla="*/ 915 w 5117"/>
                <a:gd name="connsiteY21" fmla="*/ 1322 h 7851"/>
                <a:gd name="connsiteX22" fmla="*/ 1972 w 5117"/>
                <a:gd name="connsiteY22" fmla="*/ -432 h 7851"/>
                <a:gd name="connsiteX23" fmla="*/ 2075 w 5117"/>
                <a:gd name="connsiteY23" fmla="*/ -1343 h 7851"/>
                <a:gd name="connsiteX24" fmla="*/ 2186 w 5117"/>
                <a:gd name="connsiteY24" fmla="*/ -1530 h 7851"/>
                <a:gd name="connsiteX25" fmla="*/ 2489 w 5117"/>
                <a:gd name="connsiteY25" fmla="*/ -1709 h 7851"/>
                <a:gd name="connsiteX26" fmla="*/ 2310 w 5117"/>
                <a:gd name="connsiteY26" fmla="*/ -2068 h 7851"/>
                <a:gd name="connsiteX27" fmla="*/ 2172 w 5117"/>
                <a:gd name="connsiteY27" fmla="*/ -2082 h 7851"/>
                <a:gd name="connsiteX28" fmla="*/ 2151 w 5117"/>
                <a:gd name="connsiteY28" fmla="*/ -2082 h 7851"/>
                <a:gd name="connsiteX29" fmla="*/ 1647 w 5117"/>
                <a:gd name="connsiteY29" fmla="*/ -1716 h 7851"/>
                <a:gd name="connsiteX30" fmla="*/ 1433 w 5117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17" h="7851">
                  <a:moveTo>
                    <a:pt x="-135" y="5100"/>
                  </a:moveTo>
                  <a:lnTo>
                    <a:pt x="-2075" y="5100"/>
                  </a:lnTo>
                  <a:lnTo>
                    <a:pt x="-2075" y="1709"/>
                  </a:lnTo>
                  <a:lnTo>
                    <a:pt x="-93" y="1709"/>
                  </a:lnTo>
                  <a:cubicBezTo>
                    <a:pt x="818" y="1737"/>
                    <a:pt x="1557" y="2482"/>
                    <a:pt x="1557" y="3401"/>
                  </a:cubicBezTo>
                  <a:cubicBezTo>
                    <a:pt x="1557" y="4347"/>
                    <a:pt x="798" y="5100"/>
                    <a:pt x="-135" y="5100"/>
                  </a:cubicBezTo>
                  <a:close/>
                  <a:moveTo>
                    <a:pt x="1433" y="-432"/>
                  </a:moveTo>
                  <a:lnTo>
                    <a:pt x="798" y="756"/>
                  </a:lnTo>
                  <a:lnTo>
                    <a:pt x="-114" y="1150"/>
                  </a:lnTo>
                  <a:lnTo>
                    <a:pt x="-169" y="1170"/>
                  </a:lnTo>
                  <a:lnTo>
                    <a:pt x="-2075" y="1170"/>
                  </a:lnTo>
                  <a:lnTo>
                    <a:pt x="-2075" y="-1937"/>
                  </a:lnTo>
                  <a:lnTo>
                    <a:pt x="-2358" y="-2206"/>
                  </a:lnTo>
                  <a:lnTo>
                    <a:pt x="-2628" y="-1937"/>
                  </a:lnTo>
                  <a:lnTo>
                    <a:pt x="-2628" y="5383"/>
                  </a:lnTo>
                  <a:lnTo>
                    <a:pt x="-2372" y="5645"/>
                  </a:lnTo>
                  <a:lnTo>
                    <a:pt x="-2358" y="5645"/>
                  </a:lnTo>
                  <a:lnTo>
                    <a:pt x="-2324" y="5645"/>
                  </a:lnTo>
                  <a:lnTo>
                    <a:pt x="-135" y="5645"/>
                  </a:lnTo>
                  <a:cubicBezTo>
                    <a:pt x="1095" y="5645"/>
                    <a:pt x="2096" y="4651"/>
                    <a:pt x="2096" y="3401"/>
                  </a:cubicBezTo>
                  <a:cubicBezTo>
                    <a:pt x="2096" y="2510"/>
                    <a:pt x="1571" y="1737"/>
                    <a:pt x="805" y="1371"/>
                  </a:cubicBezTo>
                  <a:lnTo>
                    <a:pt x="915" y="1322"/>
                  </a:lnTo>
                  <a:cubicBezTo>
                    <a:pt x="1433" y="1025"/>
                    <a:pt x="1972" y="459"/>
                    <a:pt x="1972" y="-432"/>
                  </a:cubicBezTo>
                  <a:lnTo>
                    <a:pt x="2075" y="-1343"/>
                  </a:lnTo>
                  <a:lnTo>
                    <a:pt x="2186" y="-1530"/>
                  </a:lnTo>
                  <a:lnTo>
                    <a:pt x="2489" y="-1709"/>
                  </a:lnTo>
                  <a:lnTo>
                    <a:pt x="2310" y="-2068"/>
                  </a:lnTo>
                  <a:lnTo>
                    <a:pt x="2172" y="-2082"/>
                  </a:lnTo>
                  <a:lnTo>
                    <a:pt x="2151" y="-2082"/>
                  </a:lnTo>
                  <a:lnTo>
                    <a:pt x="1647" y="-1716"/>
                  </a:lnTo>
                  <a:cubicBezTo>
                    <a:pt x="1516" y="-1461"/>
                    <a:pt x="1433" y="-1095"/>
                    <a:pt x="1433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A10A0DDD-F06B-8121-A8A8-CFA709DF12BC}"/>
                </a:ext>
              </a:extLst>
            </p:cNvPr>
            <p:cNvSpPr/>
            <p:nvPr/>
          </p:nvSpPr>
          <p:spPr>
            <a:xfrm flipV="1">
              <a:off x="8554949" y="3069178"/>
              <a:ext cx="5662" cy="7851"/>
            </a:xfrm>
            <a:custGeom>
              <a:avLst/>
              <a:gdLst>
                <a:gd name="connsiteX0" fmla="*/ -947 w 5662"/>
                <a:gd name="connsiteY0" fmla="*/ -1654 h 7851"/>
                <a:gd name="connsiteX1" fmla="*/ 2430 w 5662"/>
                <a:gd name="connsiteY1" fmla="*/ 1709 h 7851"/>
                <a:gd name="connsiteX2" fmla="*/ -947 w 5662"/>
                <a:gd name="connsiteY2" fmla="*/ 5100 h 7851"/>
                <a:gd name="connsiteX3" fmla="*/ -2135 w 5662"/>
                <a:gd name="connsiteY3" fmla="*/ 5100 h 7851"/>
                <a:gd name="connsiteX4" fmla="*/ -2135 w 5662"/>
                <a:gd name="connsiteY4" fmla="*/ -1654 h 7851"/>
                <a:gd name="connsiteX5" fmla="*/ -2390 w 5662"/>
                <a:gd name="connsiteY5" fmla="*/ -2206 h 7851"/>
                <a:gd name="connsiteX6" fmla="*/ -2439 w 5662"/>
                <a:gd name="connsiteY6" fmla="*/ -2206 h 7851"/>
                <a:gd name="connsiteX7" fmla="*/ -2687 w 5662"/>
                <a:gd name="connsiteY7" fmla="*/ -1937 h 7851"/>
                <a:gd name="connsiteX8" fmla="*/ -2687 w 5662"/>
                <a:gd name="connsiteY8" fmla="*/ 5383 h 7851"/>
                <a:gd name="connsiteX9" fmla="*/ -2418 w 5662"/>
                <a:gd name="connsiteY9" fmla="*/ 5645 h 7851"/>
                <a:gd name="connsiteX10" fmla="*/ -2383 w 5662"/>
                <a:gd name="connsiteY10" fmla="*/ 5645 h 7851"/>
                <a:gd name="connsiteX11" fmla="*/ -947 w 5662"/>
                <a:gd name="connsiteY11" fmla="*/ 5645 h 7851"/>
                <a:gd name="connsiteX12" fmla="*/ 2975 w 5662"/>
                <a:gd name="connsiteY12" fmla="*/ 1709 h 7851"/>
                <a:gd name="connsiteX13" fmla="*/ -947 w 5662"/>
                <a:gd name="connsiteY13" fmla="*/ -2206 h 7851"/>
                <a:gd name="connsiteX14" fmla="*/ -2390 w 5662"/>
                <a:gd name="connsiteY14" fmla="*/ -2206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62" h="7851">
                  <a:moveTo>
                    <a:pt x="-947" y="-1654"/>
                  </a:moveTo>
                  <a:cubicBezTo>
                    <a:pt x="917" y="-1654"/>
                    <a:pt x="2430" y="-148"/>
                    <a:pt x="2430" y="1709"/>
                  </a:cubicBezTo>
                  <a:cubicBezTo>
                    <a:pt x="2430" y="3587"/>
                    <a:pt x="917" y="5086"/>
                    <a:pt x="-947" y="5100"/>
                  </a:cubicBezTo>
                  <a:lnTo>
                    <a:pt x="-2135" y="5100"/>
                  </a:lnTo>
                  <a:lnTo>
                    <a:pt x="-2135" y="-1654"/>
                  </a:lnTo>
                  <a:close/>
                  <a:moveTo>
                    <a:pt x="-2390" y="-2206"/>
                  </a:moveTo>
                  <a:lnTo>
                    <a:pt x="-2439" y="-2206"/>
                  </a:lnTo>
                  <a:lnTo>
                    <a:pt x="-2687" y="-1937"/>
                  </a:lnTo>
                  <a:lnTo>
                    <a:pt x="-2687" y="5383"/>
                  </a:lnTo>
                  <a:lnTo>
                    <a:pt x="-2418" y="5645"/>
                  </a:lnTo>
                  <a:lnTo>
                    <a:pt x="-2383" y="5645"/>
                  </a:lnTo>
                  <a:lnTo>
                    <a:pt x="-947" y="5645"/>
                  </a:lnTo>
                  <a:cubicBezTo>
                    <a:pt x="1214" y="5645"/>
                    <a:pt x="2975" y="3877"/>
                    <a:pt x="2975" y="1709"/>
                  </a:cubicBezTo>
                  <a:cubicBezTo>
                    <a:pt x="2975" y="-452"/>
                    <a:pt x="1214" y="-2206"/>
                    <a:pt x="-947" y="-2206"/>
                  </a:cubicBezTo>
                  <a:lnTo>
                    <a:pt x="-2390" y="-220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B7AEF11A-0A40-9675-9A88-F6AA6C7BE4AA}"/>
                </a:ext>
              </a:extLst>
            </p:cNvPr>
            <p:cNvSpPr/>
            <p:nvPr/>
          </p:nvSpPr>
          <p:spPr>
            <a:xfrm flipV="1">
              <a:off x="8562442" y="3069178"/>
              <a:ext cx="4571" cy="7851"/>
            </a:xfrm>
            <a:custGeom>
              <a:avLst/>
              <a:gdLst>
                <a:gd name="connsiteX0" fmla="*/ -2696 w 4571"/>
                <a:gd name="connsiteY0" fmla="*/ 5383 h 7851"/>
                <a:gd name="connsiteX1" fmla="*/ -2434 w 4571"/>
                <a:gd name="connsiteY1" fmla="*/ 5645 h 7851"/>
                <a:gd name="connsiteX2" fmla="*/ 1606 w 4571"/>
                <a:gd name="connsiteY2" fmla="*/ 5645 h 7851"/>
                <a:gd name="connsiteX3" fmla="*/ 1875 w 4571"/>
                <a:gd name="connsiteY3" fmla="*/ 5383 h 7851"/>
                <a:gd name="connsiteX4" fmla="*/ 1606 w 4571"/>
                <a:gd name="connsiteY4" fmla="*/ 5100 h 7851"/>
                <a:gd name="connsiteX5" fmla="*/ -2151 w 4571"/>
                <a:gd name="connsiteY5" fmla="*/ 5100 h 7851"/>
                <a:gd name="connsiteX6" fmla="*/ -2151 w 4571"/>
                <a:gd name="connsiteY6" fmla="*/ 1992 h 7851"/>
                <a:gd name="connsiteX7" fmla="*/ 1136 w 4571"/>
                <a:gd name="connsiteY7" fmla="*/ 1992 h 7851"/>
                <a:gd name="connsiteX8" fmla="*/ 1406 w 4571"/>
                <a:gd name="connsiteY8" fmla="*/ 1709 h 7851"/>
                <a:gd name="connsiteX9" fmla="*/ 1136 w 4571"/>
                <a:gd name="connsiteY9" fmla="*/ 1440 h 7851"/>
                <a:gd name="connsiteX10" fmla="*/ -2151 w 4571"/>
                <a:gd name="connsiteY10" fmla="*/ 1440 h 7851"/>
                <a:gd name="connsiteX11" fmla="*/ -2151 w 4571"/>
                <a:gd name="connsiteY11" fmla="*/ -1654 h 7851"/>
                <a:gd name="connsiteX12" fmla="*/ 1606 w 4571"/>
                <a:gd name="connsiteY12" fmla="*/ -1654 h 7851"/>
                <a:gd name="connsiteX13" fmla="*/ 1875 w 4571"/>
                <a:gd name="connsiteY13" fmla="*/ -1937 h 7851"/>
                <a:gd name="connsiteX14" fmla="*/ 1606 w 4571"/>
                <a:gd name="connsiteY14" fmla="*/ -2206 h 7851"/>
                <a:gd name="connsiteX15" fmla="*/ -2399 w 4571"/>
                <a:gd name="connsiteY15" fmla="*/ -2206 h 7851"/>
                <a:gd name="connsiteX16" fmla="*/ -2434 w 4571"/>
                <a:gd name="connsiteY16" fmla="*/ -2206 h 7851"/>
                <a:gd name="connsiteX17" fmla="*/ -2454 w 4571"/>
                <a:gd name="connsiteY17" fmla="*/ -2206 h 7851"/>
                <a:gd name="connsiteX18" fmla="*/ -2696 w 4571"/>
                <a:gd name="connsiteY18" fmla="*/ -1937 h 7851"/>
                <a:gd name="connsiteX19" fmla="*/ -2696 w 4571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1" h="7851">
                  <a:moveTo>
                    <a:pt x="-2696" y="5383"/>
                  </a:moveTo>
                  <a:lnTo>
                    <a:pt x="-2434" y="5645"/>
                  </a:lnTo>
                  <a:lnTo>
                    <a:pt x="1606" y="5645"/>
                  </a:lnTo>
                  <a:lnTo>
                    <a:pt x="1875" y="5383"/>
                  </a:lnTo>
                  <a:lnTo>
                    <a:pt x="1606" y="5100"/>
                  </a:lnTo>
                  <a:lnTo>
                    <a:pt x="-2151" y="5100"/>
                  </a:lnTo>
                  <a:lnTo>
                    <a:pt x="-2151" y="1992"/>
                  </a:lnTo>
                  <a:lnTo>
                    <a:pt x="1136" y="1992"/>
                  </a:lnTo>
                  <a:lnTo>
                    <a:pt x="1406" y="1709"/>
                  </a:lnTo>
                  <a:lnTo>
                    <a:pt x="1136" y="1440"/>
                  </a:lnTo>
                  <a:lnTo>
                    <a:pt x="-2151" y="1440"/>
                  </a:lnTo>
                  <a:lnTo>
                    <a:pt x="-2151" y="-1654"/>
                  </a:lnTo>
                  <a:lnTo>
                    <a:pt x="1606" y="-1654"/>
                  </a:lnTo>
                  <a:lnTo>
                    <a:pt x="1875" y="-1937"/>
                  </a:lnTo>
                  <a:lnTo>
                    <a:pt x="1606" y="-2206"/>
                  </a:lnTo>
                  <a:lnTo>
                    <a:pt x="-2399" y="-2206"/>
                  </a:lnTo>
                  <a:lnTo>
                    <a:pt x="-2434" y="-2206"/>
                  </a:lnTo>
                  <a:lnTo>
                    <a:pt x="-2454" y="-2206"/>
                  </a:lnTo>
                  <a:lnTo>
                    <a:pt x="-2696" y="-1937"/>
                  </a:lnTo>
                  <a:lnTo>
                    <a:pt x="-2696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8CBDEE01-2C38-7994-0B35-9A06E09D618D}"/>
                </a:ext>
              </a:extLst>
            </p:cNvPr>
            <p:cNvSpPr/>
            <p:nvPr/>
          </p:nvSpPr>
          <p:spPr>
            <a:xfrm flipV="1">
              <a:off x="8568725" y="3069061"/>
              <a:ext cx="6663" cy="7968"/>
            </a:xfrm>
            <a:custGeom>
              <a:avLst/>
              <a:gdLst>
                <a:gd name="connsiteX0" fmla="*/ 1376 w 6663"/>
                <a:gd name="connsiteY0" fmla="*/ 5762 h 7968"/>
                <a:gd name="connsiteX1" fmla="*/ 3910 w 6663"/>
                <a:gd name="connsiteY1" fmla="*/ 4899 h 7968"/>
                <a:gd name="connsiteX2" fmla="*/ 3959 w 6663"/>
                <a:gd name="connsiteY2" fmla="*/ 4506 h 7968"/>
                <a:gd name="connsiteX3" fmla="*/ 3579 w 6663"/>
                <a:gd name="connsiteY3" fmla="*/ 4450 h 7968"/>
                <a:gd name="connsiteX4" fmla="*/ 1376 w 6663"/>
                <a:gd name="connsiteY4" fmla="*/ 5210 h 7968"/>
                <a:gd name="connsiteX5" fmla="*/ -2153 w 6663"/>
                <a:gd name="connsiteY5" fmla="*/ 1757 h 7968"/>
                <a:gd name="connsiteX6" fmla="*/ 1376 w 6663"/>
                <a:gd name="connsiteY6" fmla="*/ -1654 h 7968"/>
                <a:gd name="connsiteX7" fmla="*/ 3551 w 6663"/>
                <a:gd name="connsiteY7" fmla="*/ -894 h 7968"/>
                <a:gd name="connsiteX8" fmla="*/ 3945 w 6663"/>
                <a:gd name="connsiteY8" fmla="*/ -957 h 7968"/>
                <a:gd name="connsiteX9" fmla="*/ 3910 w 6663"/>
                <a:gd name="connsiteY9" fmla="*/ -1350 h 7968"/>
                <a:gd name="connsiteX10" fmla="*/ 1376 w 6663"/>
                <a:gd name="connsiteY10" fmla="*/ -2207 h 7968"/>
                <a:gd name="connsiteX11" fmla="*/ -2705 w 6663"/>
                <a:gd name="connsiteY11" fmla="*/ 1757 h 7968"/>
                <a:gd name="connsiteX12" fmla="*/ 1376 w 6663"/>
                <a:gd name="connsiteY12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63" h="7968">
                  <a:moveTo>
                    <a:pt x="1376" y="5762"/>
                  </a:moveTo>
                  <a:cubicBezTo>
                    <a:pt x="2343" y="5762"/>
                    <a:pt x="3227" y="5424"/>
                    <a:pt x="3910" y="4899"/>
                  </a:cubicBezTo>
                  <a:lnTo>
                    <a:pt x="3959" y="4506"/>
                  </a:lnTo>
                  <a:lnTo>
                    <a:pt x="3579" y="4450"/>
                  </a:lnTo>
                  <a:cubicBezTo>
                    <a:pt x="2971" y="4920"/>
                    <a:pt x="2212" y="5210"/>
                    <a:pt x="1376" y="5210"/>
                  </a:cubicBezTo>
                  <a:cubicBezTo>
                    <a:pt x="-585" y="5210"/>
                    <a:pt x="-2153" y="3670"/>
                    <a:pt x="-2153" y="1757"/>
                  </a:cubicBezTo>
                  <a:cubicBezTo>
                    <a:pt x="-2153" y="-114"/>
                    <a:pt x="-585" y="-1654"/>
                    <a:pt x="1376" y="-1654"/>
                  </a:cubicBezTo>
                  <a:cubicBezTo>
                    <a:pt x="2212" y="-1654"/>
                    <a:pt x="2971" y="-1385"/>
                    <a:pt x="3551" y="-894"/>
                  </a:cubicBezTo>
                  <a:lnTo>
                    <a:pt x="3945" y="-957"/>
                  </a:lnTo>
                  <a:lnTo>
                    <a:pt x="3910" y="-1350"/>
                  </a:lnTo>
                  <a:cubicBezTo>
                    <a:pt x="3227" y="-1875"/>
                    <a:pt x="2343" y="-2207"/>
                    <a:pt x="1376" y="-2207"/>
                  </a:cubicBezTo>
                  <a:cubicBezTo>
                    <a:pt x="-875" y="-2207"/>
                    <a:pt x="-2705" y="-432"/>
                    <a:pt x="-2705" y="1757"/>
                  </a:cubicBezTo>
                  <a:cubicBezTo>
                    <a:pt x="-2705" y="3988"/>
                    <a:pt x="-875" y="5749"/>
                    <a:pt x="1376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424E5133-E314-D603-EC3D-5C42CF7F4037}"/>
                </a:ext>
              </a:extLst>
            </p:cNvPr>
            <p:cNvSpPr/>
            <p:nvPr/>
          </p:nvSpPr>
          <p:spPr>
            <a:xfrm flipV="1">
              <a:off x="8577703" y="3069178"/>
              <a:ext cx="4571" cy="7851"/>
            </a:xfrm>
            <a:custGeom>
              <a:avLst/>
              <a:gdLst>
                <a:gd name="connsiteX0" fmla="*/ -2715 w 4571"/>
                <a:gd name="connsiteY0" fmla="*/ 5383 h 7851"/>
                <a:gd name="connsiteX1" fmla="*/ -2446 w 4571"/>
                <a:gd name="connsiteY1" fmla="*/ 5645 h 7851"/>
                <a:gd name="connsiteX2" fmla="*/ 1587 w 4571"/>
                <a:gd name="connsiteY2" fmla="*/ 5645 h 7851"/>
                <a:gd name="connsiteX3" fmla="*/ 1856 w 4571"/>
                <a:gd name="connsiteY3" fmla="*/ 5383 h 7851"/>
                <a:gd name="connsiteX4" fmla="*/ 1587 w 4571"/>
                <a:gd name="connsiteY4" fmla="*/ 5100 h 7851"/>
                <a:gd name="connsiteX5" fmla="*/ -2170 w 4571"/>
                <a:gd name="connsiteY5" fmla="*/ 5100 h 7851"/>
                <a:gd name="connsiteX6" fmla="*/ -2170 w 4571"/>
                <a:gd name="connsiteY6" fmla="*/ 1992 h 7851"/>
                <a:gd name="connsiteX7" fmla="*/ 1118 w 4571"/>
                <a:gd name="connsiteY7" fmla="*/ 1992 h 7851"/>
                <a:gd name="connsiteX8" fmla="*/ 1387 w 4571"/>
                <a:gd name="connsiteY8" fmla="*/ 1709 h 7851"/>
                <a:gd name="connsiteX9" fmla="*/ 1118 w 4571"/>
                <a:gd name="connsiteY9" fmla="*/ 1440 h 7851"/>
                <a:gd name="connsiteX10" fmla="*/ -2170 w 4571"/>
                <a:gd name="connsiteY10" fmla="*/ 1440 h 7851"/>
                <a:gd name="connsiteX11" fmla="*/ -2170 w 4571"/>
                <a:gd name="connsiteY11" fmla="*/ -1654 h 7851"/>
                <a:gd name="connsiteX12" fmla="*/ 1587 w 4571"/>
                <a:gd name="connsiteY12" fmla="*/ -1654 h 7851"/>
                <a:gd name="connsiteX13" fmla="*/ 1856 w 4571"/>
                <a:gd name="connsiteY13" fmla="*/ -1937 h 7851"/>
                <a:gd name="connsiteX14" fmla="*/ 1587 w 4571"/>
                <a:gd name="connsiteY14" fmla="*/ -2206 h 7851"/>
                <a:gd name="connsiteX15" fmla="*/ -2411 w 4571"/>
                <a:gd name="connsiteY15" fmla="*/ -2206 h 7851"/>
                <a:gd name="connsiteX16" fmla="*/ -2446 w 4571"/>
                <a:gd name="connsiteY16" fmla="*/ -2206 h 7851"/>
                <a:gd name="connsiteX17" fmla="*/ -2466 w 4571"/>
                <a:gd name="connsiteY17" fmla="*/ -2206 h 7851"/>
                <a:gd name="connsiteX18" fmla="*/ -2715 w 4571"/>
                <a:gd name="connsiteY18" fmla="*/ -1937 h 7851"/>
                <a:gd name="connsiteX19" fmla="*/ -2715 w 4571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1" h="7851">
                  <a:moveTo>
                    <a:pt x="-2715" y="5383"/>
                  </a:moveTo>
                  <a:lnTo>
                    <a:pt x="-2446" y="5645"/>
                  </a:lnTo>
                  <a:lnTo>
                    <a:pt x="1587" y="5645"/>
                  </a:lnTo>
                  <a:lnTo>
                    <a:pt x="1856" y="5383"/>
                  </a:lnTo>
                  <a:lnTo>
                    <a:pt x="1587" y="5100"/>
                  </a:lnTo>
                  <a:lnTo>
                    <a:pt x="-2170" y="5100"/>
                  </a:lnTo>
                  <a:lnTo>
                    <a:pt x="-2170" y="1992"/>
                  </a:lnTo>
                  <a:lnTo>
                    <a:pt x="1118" y="1992"/>
                  </a:lnTo>
                  <a:lnTo>
                    <a:pt x="1387" y="1709"/>
                  </a:lnTo>
                  <a:lnTo>
                    <a:pt x="1118" y="1440"/>
                  </a:lnTo>
                  <a:lnTo>
                    <a:pt x="-2170" y="1440"/>
                  </a:lnTo>
                  <a:lnTo>
                    <a:pt x="-2170" y="-1654"/>
                  </a:lnTo>
                  <a:lnTo>
                    <a:pt x="1587" y="-1654"/>
                  </a:lnTo>
                  <a:lnTo>
                    <a:pt x="1856" y="-1937"/>
                  </a:lnTo>
                  <a:lnTo>
                    <a:pt x="1587" y="-2206"/>
                  </a:lnTo>
                  <a:lnTo>
                    <a:pt x="-2411" y="-2206"/>
                  </a:lnTo>
                  <a:lnTo>
                    <a:pt x="-2446" y="-2206"/>
                  </a:lnTo>
                  <a:lnTo>
                    <a:pt x="-2466" y="-2206"/>
                  </a:lnTo>
                  <a:lnTo>
                    <a:pt x="-2715" y="-1937"/>
                  </a:lnTo>
                  <a:lnTo>
                    <a:pt x="-2715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A25B067F-E721-D76A-3235-CEB589B0F351}"/>
                </a:ext>
              </a:extLst>
            </p:cNvPr>
            <p:cNvSpPr/>
            <p:nvPr/>
          </p:nvSpPr>
          <p:spPr>
            <a:xfrm flipV="1">
              <a:off x="8584339" y="3069254"/>
              <a:ext cx="6594" cy="7775"/>
            </a:xfrm>
            <a:custGeom>
              <a:avLst/>
              <a:gdLst>
                <a:gd name="connsiteX0" fmla="*/ 3331 w 6594"/>
                <a:gd name="connsiteY0" fmla="*/ 4526 h 7775"/>
                <a:gd name="connsiteX1" fmla="*/ 818 w 6594"/>
                <a:gd name="connsiteY1" fmla="*/ 1039 h 7775"/>
                <a:gd name="connsiteX2" fmla="*/ 597 w 6594"/>
                <a:gd name="connsiteY2" fmla="*/ 915 h 7775"/>
                <a:gd name="connsiteX3" fmla="*/ 576 w 6594"/>
                <a:gd name="connsiteY3" fmla="*/ 915 h 7775"/>
                <a:gd name="connsiteX4" fmla="*/ 334 w 6594"/>
                <a:gd name="connsiteY4" fmla="*/ 1039 h 7775"/>
                <a:gd name="connsiteX5" fmla="*/ -2172 w 6594"/>
                <a:gd name="connsiteY5" fmla="*/ 4520 h 7775"/>
                <a:gd name="connsiteX6" fmla="*/ -2172 w 6594"/>
                <a:gd name="connsiteY6" fmla="*/ -1937 h 7775"/>
                <a:gd name="connsiteX7" fmla="*/ -2442 w 6594"/>
                <a:gd name="connsiteY7" fmla="*/ -2206 h 7775"/>
                <a:gd name="connsiteX8" fmla="*/ -2725 w 6594"/>
                <a:gd name="connsiteY8" fmla="*/ -1937 h 7775"/>
                <a:gd name="connsiteX9" fmla="*/ -2725 w 6594"/>
                <a:gd name="connsiteY9" fmla="*/ 5334 h 7775"/>
                <a:gd name="connsiteX10" fmla="*/ -2614 w 6594"/>
                <a:gd name="connsiteY10" fmla="*/ 5542 h 7775"/>
                <a:gd name="connsiteX11" fmla="*/ -2587 w 6594"/>
                <a:gd name="connsiteY11" fmla="*/ 5569 h 7775"/>
                <a:gd name="connsiteX12" fmla="*/ -2214 w 6594"/>
                <a:gd name="connsiteY12" fmla="*/ 5500 h 7775"/>
                <a:gd name="connsiteX13" fmla="*/ 583 w 6594"/>
                <a:gd name="connsiteY13" fmla="*/ 1633 h 7775"/>
                <a:gd name="connsiteX14" fmla="*/ 3366 w 6594"/>
                <a:gd name="connsiteY14" fmla="*/ 5500 h 7775"/>
                <a:gd name="connsiteX15" fmla="*/ 3746 w 6594"/>
                <a:gd name="connsiteY15" fmla="*/ 5569 h 7775"/>
                <a:gd name="connsiteX16" fmla="*/ 3822 w 6594"/>
                <a:gd name="connsiteY16" fmla="*/ 5479 h 7775"/>
                <a:gd name="connsiteX17" fmla="*/ 3870 w 6594"/>
                <a:gd name="connsiteY17" fmla="*/ 5334 h 7775"/>
                <a:gd name="connsiteX18" fmla="*/ 3870 w 6594"/>
                <a:gd name="connsiteY18" fmla="*/ -1937 h 7775"/>
                <a:gd name="connsiteX19" fmla="*/ 3601 w 6594"/>
                <a:gd name="connsiteY19" fmla="*/ -2206 h 7775"/>
                <a:gd name="connsiteX20" fmla="*/ 3331 w 6594"/>
                <a:gd name="connsiteY20" fmla="*/ -1937 h 7775"/>
                <a:gd name="connsiteX21" fmla="*/ 3331 w 6594"/>
                <a:gd name="connsiteY21" fmla="*/ 4526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94" h="7775">
                  <a:moveTo>
                    <a:pt x="3331" y="4526"/>
                  </a:moveTo>
                  <a:lnTo>
                    <a:pt x="818" y="1039"/>
                  </a:lnTo>
                  <a:lnTo>
                    <a:pt x="597" y="915"/>
                  </a:lnTo>
                  <a:lnTo>
                    <a:pt x="576" y="915"/>
                  </a:lnTo>
                  <a:lnTo>
                    <a:pt x="334" y="1039"/>
                  </a:lnTo>
                  <a:lnTo>
                    <a:pt x="-2172" y="4520"/>
                  </a:lnTo>
                  <a:lnTo>
                    <a:pt x="-2172" y="-1937"/>
                  </a:lnTo>
                  <a:lnTo>
                    <a:pt x="-2442" y="-2206"/>
                  </a:lnTo>
                  <a:lnTo>
                    <a:pt x="-2725" y="-1937"/>
                  </a:lnTo>
                  <a:lnTo>
                    <a:pt x="-2725" y="5334"/>
                  </a:lnTo>
                  <a:lnTo>
                    <a:pt x="-2614" y="5542"/>
                  </a:lnTo>
                  <a:lnTo>
                    <a:pt x="-2587" y="5569"/>
                  </a:lnTo>
                  <a:lnTo>
                    <a:pt x="-2214" y="5500"/>
                  </a:lnTo>
                  <a:lnTo>
                    <a:pt x="583" y="1633"/>
                  </a:lnTo>
                  <a:lnTo>
                    <a:pt x="3366" y="5500"/>
                  </a:lnTo>
                  <a:lnTo>
                    <a:pt x="3746" y="5569"/>
                  </a:lnTo>
                  <a:lnTo>
                    <a:pt x="3822" y="5479"/>
                  </a:lnTo>
                  <a:lnTo>
                    <a:pt x="3870" y="5334"/>
                  </a:lnTo>
                  <a:lnTo>
                    <a:pt x="3870" y="-1937"/>
                  </a:lnTo>
                  <a:lnTo>
                    <a:pt x="3601" y="-2206"/>
                  </a:lnTo>
                  <a:lnTo>
                    <a:pt x="3331" y="-1937"/>
                  </a:lnTo>
                  <a:lnTo>
                    <a:pt x="3331" y="452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ADA1E2CA-C3EE-47ED-5016-F167056563E6}"/>
                </a:ext>
              </a:extLst>
            </p:cNvPr>
            <p:cNvSpPr/>
            <p:nvPr/>
          </p:nvSpPr>
          <p:spPr>
            <a:xfrm flipV="1">
              <a:off x="8593785" y="3069178"/>
              <a:ext cx="4751" cy="7851"/>
            </a:xfrm>
            <a:custGeom>
              <a:avLst/>
              <a:gdLst>
                <a:gd name="connsiteX0" fmla="*/ -222 w 4751"/>
                <a:gd name="connsiteY0" fmla="*/ -1654 h 7851"/>
                <a:gd name="connsiteX1" fmla="*/ 1470 w 4751"/>
                <a:gd name="connsiteY1" fmla="*/ 38 h 7851"/>
                <a:gd name="connsiteX2" fmla="*/ -222 w 4751"/>
                <a:gd name="connsiteY2" fmla="*/ 1737 h 7851"/>
                <a:gd name="connsiteX3" fmla="*/ -2190 w 4751"/>
                <a:gd name="connsiteY3" fmla="*/ 1737 h 7851"/>
                <a:gd name="connsiteX4" fmla="*/ -2190 w 4751"/>
                <a:gd name="connsiteY4" fmla="*/ -1654 h 7851"/>
                <a:gd name="connsiteX5" fmla="*/ -719 w 4751"/>
                <a:gd name="connsiteY5" fmla="*/ 2296 h 7851"/>
                <a:gd name="connsiteX6" fmla="*/ 683 w 4751"/>
                <a:gd name="connsiteY6" fmla="*/ 3684 h 7851"/>
                <a:gd name="connsiteX7" fmla="*/ -719 w 4751"/>
                <a:gd name="connsiteY7" fmla="*/ 5100 h 7851"/>
                <a:gd name="connsiteX8" fmla="*/ -2190 w 4751"/>
                <a:gd name="connsiteY8" fmla="*/ 5100 h 7851"/>
                <a:gd name="connsiteX9" fmla="*/ -2190 w 4751"/>
                <a:gd name="connsiteY9" fmla="*/ 2296 h 7851"/>
                <a:gd name="connsiteX10" fmla="*/ -2735 w 4751"/>
                <a:gd name="connsiteY10" fmla="*/ 5383 h 7851"/>
                <a:gd name="connsiteX11" fmla="*/ -2466 w 4751"/>
                <a:gd name="connsiteY11" fmla="*/ 5645 h 7851"/>
                <a:gd name="connsiteX12" fmla="*/ -719 w 4751"/>
                <a:gd name="connsiteY12" fmla="*/ 5645 h 7851"/>
                <a:gd name="connsiteX13" fmla="*/ 1235 w 4751"/>
                <a:gd name="connsiteY13" fmla="*/ 3684 h 7851"/>
                <a:gd name="connsiteX14" fmla="*/ 483 w 4751"/>
                <a:gd name="connsiteY14" fmla="*/ 2158 h 7851"/>
                <a:gd name="connsiteX15" fmla="*/ 2016 w 4751"/>
                <a:gd name="connsiteY15" fmla="*/ 38 h 7851"/>
                <a:gd name="connsiteX16" fmla="*/ -222 w 4751"/>
                <a:gd name="connsiteY16" fmla="*/ -2206 h 7851"/>
                <a:gd name="connsiteX17" fmla="*/ -2432 w 4751"/>
                <a:gd name="connsiteY17" fmla="*/ -2206 h 7851"/>
                <a:gd name="connsiteX18" fmla="*/ -2466 w 4751"/>
                <a:gd name="connsiteY18" fmla="*/ -2206 h 7851"/>
                <a:gd name="connsiteX19" fmla="*/ -2480 w 4751"/>
                <a:gd name="connsiteY19" fmla="*/ -2206 h 7851"/>
                <a:gd name="connsiteX20" fmla="*/ -2735 w 4751"/>
                <a:gd name="connsiteY20" fmla="*/ -1937 h 7851"/>
                <a:gd name="connsiteX21" fmla="*/ -2735 w 4751"/>
                <a:gd name="connsiteY21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751" h="7851">
                  <a:moveTo>
                    <a:pt x="-222" y="-1654"/>
                  </a:moveTo>
                  <a:cubicBezTo>
                    <a:pt x="704" y="-1654"/>
                    <a:pt x="1456" y="-901"/>
                    <a:pt x="1470" y="38"/>
                  </a:cubicBezTo>
                  <a:cubicBezTo>
                    <a:pt x="1456" y="970"/>
                    <a:pt x="704" y="1737"/>
                    <a:pt x="-222" y="1737"/>
                  </a:cubicBezTo>
                  <a:lnTo>
                    <a:pt x="-2190" y="1737"/>
                  </a:lnTo>
                  <a:lnTo>
                    <a:pt x="-2190" y="-1654"/>
                  </a:lnTo>
                  <a:close/>
                  <a:moveTo>
                    <a:pt x="-719" y="2296"/>
                  </a:moveTo>
                  <a:cubicBezTo>
                    <a:pt x="54" y="2296"/>
                    <a:pt x="683" y="2924"/>
                    <a:pt x="683" y="3684"/>
                  </a:cubicBezTo>
                  <a:cubicBezTo>
                    <a:pt x="683" y="4471"/>
                    <a:pt x="54" y="5100"/>
                    <a:pt x="-719" y="5100"/>
                  </a:cubicBezTo>
                  <a:lnTo>
                    <a:pt x="-2190" y="5100"/>
                  </a:lnTo>
                  <a:lnTo>
                    <a:pt x="-2190" y="2296"/>
                  </a:lnTo>
                  <a:close/>
                  <a:moveTo>
                    <a:pt x="-2735" y="5383"/>
                  </a:moveTo>
                  <a:lnTo>
                    <a:pt x="-2466" y="5645"/>
                  </a:lnTo>
                  <a:lnTo>
                    <a:pt x="-719" y="5645"/>
                  </a:lnTo>
                  <a:cubicBezTo>
                    <a:pt x="358" y="5645"/>
                    <a:pt x="1235" y="4775"/>
                    <a:pt x="1235" y="3684"/>
                  </a:cubicBezTo>
                  <a:lnTo>
                    <a:pt x="483" y="2158"/>
                  </a:lnTo>
                  <a:cubicBezTo>
                    <a:pt x="1366" y="1854"/>
                    <a:pt x="2016" y="1025"/>
                    <a:pt x="2016" y="38"/>
                  </a:cubicBezTo>
                  <a:cubicBezTo>
                    <a:pt x="2016" y="-1205"/>
                    <a:pt x="1007" y="-2206"/>
                    <a:pt x="-222" y="-2206"/>
                  </a:cubicBezTo>
                  <a:lnTo>
                    <a:pt x="-2432" y="-2206"/>
                  </a:lnTo>
                  <a:lnTo>
                    <a:pt x="-2466" y="-2206"/>
                  </a:lnTo>
                  <a:lnTo>
                    <a:pt x="-2480" y="-2206"/>
                  </a:lnTo>
                  <a:lnTo>
                    <a:pt x="-2735" y="-1937"/>
                  </a:lnTo>
                  <a:lnTo>
                    <a:pt x="-2735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084288CF-375E-3632-754B-8C54AA3A696C}"/>
                </a:ext>
              </a:extLst>
            </p:cNvPr>
            <p:cNvSpPr/>
            <p:nvPr/>
          </p:nvSpPr>
          <p:spPr>
            <a:xfrm flipV="1">
              <a:off x="8600428" y="3069178"/>
              <a:ext cx="4578" cy="7851"/>
            </a:xfrm>
            <a:custGeom>
              <a:avLst/>
              <a:gdLst>
                <a:gd name="connsiteX0" fmla="*/ -2744 w 4578"/>
                <a:gd name="connsiteY0" fmla="*/ 5383 h 7851"/>
                <a:gd name="connsiteX1" fmla="*/ -2474 w 4578"/>
                <a:gd name="connsiteY1" fmla="*/ 5645 h 7851"/>
                <a:gd name="connsiteX2" fmla="*/ 1565 w 4578"/>
                <a:gd name="connsiteY2" fmla="*/ 5645 h 7851"/>
                <a:gd name="connsiteX3" fmla="*/ 1835 w 4578"/>
                <a:gd name="connsiteY3" fmla="*/ 5383 h 7851"/>
                <a:gd name="connsiteX4" fmla="*/ 1565 w 4578"/>
                <a:gd name="connsiteY4" fmla="*/ 5100 h 7851"/>
                <a:gd name="connsiteX5" fmla="*/ -2191 w 4578"/>
                <a:gd name="connsiteY5" fmla="*/ 5100 h 7851"/>
                <a:gd name="connsiteX6" fmla="*/ -2191 w 4578"/>
                <a:gd name="connsiteY6" fmla="*/ 1992 h 7851"/>
                <a:gd name="connsiteX7" fmla="*/ 1096 w 4578"/>
                <a:gd name="connsiteY7" fmla="*/ 1992 h 7851"/>
                <a:gd name="connsiteX8" fmla="*/ 1365 w 4578"/>
                <a:gd name="connsiteY8" fmla="*/ 1709 h 7851"/>
                <a:gd name="connsiteX9" fmla="*/ 1096 w 4578"/>
                <a:gd name="connsiteY9" fmla="*/ 1440 h 7851"/>
                <a:gd name="connsiteX10" fmla="*/ -2191 w 4578"/>
                <a:gd name="connsiteY10" fmla="*/ 1440 h 7851"/>
                <a:gd name="connsiteX11" fmla="*/ -2191 w 4578"/>
                <a:gd name="connsiteY11" fmla="*/ -1654 h 7851"/>
                <a:gd name="connsiteX12" fmla="*/ 1565 w 4578"/>
                <a:gd name="connsiteY12" fmla="*/ -1654 h 7851"/>
                <a:gd name="connsiteX13" fmla="*/ 1835 w 4578"/>
                <a:gd name="connsiteY13" fmla="*/ -1937 h 7851"/>
                <a:gd name="connsiteX14" fmla="*/ 1565 w 4578"/>
                <a:gd name="connsiteY14" fmla="*/ -2206 h 7851"/>
                <a:gd name="connsiteX15" fmla="*/ -2440 w 4578"/>
                <a:gd name="connsiteY15" fmla="*/ -2206 h 7851"/>
                <a:gd name="connsiteX16" fmla="*/ -2474 w 4578"/>
                <a:gd name="connsiteY16" fmla="*/ -2206 h 7851"/>
                <a:gd name="connsiteX17" fmla="*/ -2495 w 4578"/>
                <a:gd name="connsiteY17" fmla="*/ -2206 h 7851"/>
                <a:gd name="connsiteX18" fmla="*/ -2744 w 4578"/>
                <a:gd name="connsiteY18" fmla="*/ -1937 h 7851"/>
                <a:gd name="connsiteX19" fmla="*/ -2744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2744" y="5383"/>
                  </a:moveTo>
                  <a:lnTo>
                    <a:pt x="-2474" y="5645"/>
                  </a:lnTo>
                  <a:lnTo>
                    <a:pt x="1565" y="5645"/>
                  </a:lnTo>
                  <a:lnTo>
                    <a:pt x="1835" y="5383"/>
                  </a:lnTo>
                  <a:lnTo>
                    <a:pt x="1565" y="5100"/>
                  </a:lnTo>
                  <a:lnTo>
                    <a:pt x="-2191" y="5100"/>
                  </a:lnTo>
                  <a:lnTo>
                    <a:pt x="-2191" y="1992"/>
                  </a:lnTo>
                  <a:lnTo>
                    <a:pt x="1096" y="1992"/>
                  </a:lnTo>
                  <a:lnTo>
                    <a:pt x="1365" y="1709"/>
                  </a:lnTo>
                  <a:lnTo>
                    <a:pt x="1096" y="1440"/>
                  </a:lnTo>
                  <a:lnTo>
                    <a:pt x="-2191" y="1440"/>
                  </a:lnTo>
                  <a:lnTo>
                    <a:pt x="-2191" y="-1654"/>
                  </a:lnTo>
                  <a:lnTo>
                    <a:pt x="1565" y="-1654"/>
                  </a:lnTo>
                  <a:lnTo>
                    <a:pt x="1835" y="-1937"/>
                  </a:lnTo>
                  <a:lnTo>
                    <a:pt x="1565" y="-2206"/>
                  </a:lnTo>
                  <a:lnTo>
                    <a:pt x="-2440" y="-2206"/>
                  </a:lnTo>
                  <a:lnTo>
                    <a:pt x="-2474" y="-2206"/>
                  </a:lnTo>
                  <a:lnTo>
                    <a:pt x="-2495" y="-2206"/>
                  </a:lnTo>
                  <a:lnTo>
                    <a:pt x="-2744" y="-1937"/>
                  </a:lnTo>
                  <a:lnTo>
                    <a:pt x="-2744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D4CFF581-AA37-FC88-F6BE-8D4AD745CCCA}"/>
                </a:ext>
              </a:extLst>
            </p:cNvPr>
            <p:cNvSpPr/>
            <p:nvPr/>
          </p:nvSpPr>
          <p:spPr>
            <a:xfrm flipV="1">
              <a:off x="8607134" y="3069178"/>
              <a:ext cx="5116" cy="7851"/>
            </a:xfrm>
            <a:custGeom>
              <a:avLst/>
              <a:gdLst>
                <a:gd name="connsiteX0" fmla="*/ -260 w 5116"/>
                <a:gd name="connsiteY0" fmla="*/ 5100 h 7851"/>
                <a:gd name="connsiteX1" fmla="*/ -2200 w 5116"/>
                <a:gd name="connsiteY1" fmla="*/ 5100 h 7851"/>
                <a:gd name="connsiteX2" fmla="*/ -2200 w 5116"/>
                <a:gd name="connsiteY2" fmla="*/ 1709 h 7851"/>
                <a:gd name="connsiteX3" fmla="*/ -218 w 5116"/>
                <a:gd name="connsiteY3" fmla="*/ 1709 h 7851"/>
                <a:gd name="connsiteX4" fmla="*/ 1425 w 5116"/>
                <a:gd name="connsiteY4" fmla="*/ 3401 h 7851"/>
                <a:gd name="connsiteX5" fmla="*/ -260 w 5116"/>
                <a:gd name="connsiteY5" fmla="*/ 5100 h 7851"/>
                <a:gd name="connsiteX6" fmla="*/ 1308 w 5116"/>
                <a:gd name="connsiteY6" fmla="*/ -432 h 7851"/>
                <a:gd name="connsiteX7" fmla="*/ 666 w 5116"/>
                <a:gd name="connsiteY7" fmla="*/ 756 h 7851"/>
                <a:gd name="connsiteX8" fmla="*/ -239 w 5116"/>
                <a:gd name="connsiteY8" fmla="*/ 1150 h 7851"/>
                <a:gd name="connsiteX9" fmla="*/ -301 w 5116"/>
                <a:gd name="connsiteY9" fmla="*/ 1170 h 7851"/>
                <a:gd name="connsiteX10" fmla="*/ -2200 w 5116"/>
                <a:gd name="connsiteY10" fmla="*/ 1170 h 7851"/>
                <a:gd name="connsiteX11" fmla="*/ -2200 w 5116"/>
                <a:gd name="connsiteY11" fmla="*/ -1937 h 7851"/>
                <a:gd name="connsiteX12" fmla="*/ -2483 w 5116"/>
                <a:gd name="connsiteY12" fmla="*/ -2206 h 7851"/>
                <a:gd name="connsiteX13" fmla="*/ -2752 w 5116"/>
                <a:gd name="connsiteY13" fmla="*/ -1937 h 7851"/>
                <a:gd name="connsiteX14" fmla="*/ -2752 w 5116"/>
                <a:gd name="connsiteY14" fmla="*/ 5383 h 7851"/>
                <a:gd name="connsiteX15" fmla="*/ -2504 w 5116"/>
                <a:gd name="connsiteY15" fmla="*/ 5645 h 7851"/>
                <a:gd name="connsiteX16" fmla="*/ -2483 w 5116"/>
                <a:gd name="connsiteY16" fmla="*/ 5645 h 7851"/>
                <a:gd name="connsiteX17" fmla="*/ -2449 w 5116"/>
                <a:gd name="connsiteY17" fmla="*/ 5645 h 7851"/>
                <a:gd name="connsiteX18" fmla="*/ -260 w 5116"/>
                <a:gd name="connsiteY18" fmla="*/ 5645 h 7851"/>
                <a:gd name="connsiteX19" fmla="*/ 1971 w 5116"/>
                <a:gd name="connsiteY19" fmla="*/ 3401 h 7851"/>
                <a:gd name="connsiteX20" fmla="*/ 680 w 5116"/>
                <a:gd name="connsiteY20" fmla="*/ 1371 h 7851"/>
                <a:gd name="connsiteX21" fmla="*/ 790 w 5116"/>
                <a:gd name="connsiteY21" fmla="*/ 1322 h 7851"/>
                <a:gd name="connsiteX22" fmla="*/ 1840 w 5116"/>
                <a:gd name="connsiteY22" fmla="*/ -432 h 7851"/>
                <a:gd name="connsiteX23" fmla="*/ 1950 w 5116"/>
                <a:gd name="connsiteY23" fmla="*/ -1343 h 7851"/>
                <a:gd name="connsiteX24" fmla="*/ 2061 w 5116"/>
                <a:gd name="connsiteY24" fmla="*/ -1530 h 7851"/>
                <a:gd name="connsiteX25" fmla="*/ 2365 w 5116"/>
                <a:gd name="connsiteY25" fmla="*/ -1709 h 7851"/>
                <a:gd name="connsiteX26" fmla="*/ 2185 w 5116"/>
                <a:gd name="connsiteY26" fmla="*/ -2068 h 7851"/>
                <a:gd name="connsiteX27" fmla="*/ 2047 w 5116"/>
                <a:gd name="connsiteY27" fmla="*/ -2082 h 7851"/>
                <a:gd name="connsiteX28" fmla="*/ 2026 w 5116"/>
                <a:gd name="connsiteY28" fmla="*/ -2082 h 7851"/>
                <a:gd name="connsiteX29" fmla="*/ 1522 w 5116"/>
                <a:gd name="connsiteY29" fmla="*/ -1716 h 7851"/>
                <a:gd name="connsiteX30" fmla="*/ 1308 w 5116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16" h="7851">
                  <a:moveTo>
                    <a:pt x="-260" y="5100"/>
                  </a:moveTo>
                  <a:lnTo>
                    <a:pt x="-2200" y="5100"/>
                  </a:lnTo>
                  <a:lnTo>
                    <a:pt x="-2200" y="1709"/>
                  </a:lnTo>
                  <a:lnTo>
                    <a:pt x="-218" y="1709"/>
                  </a:lnTo>
                  <a:cubicBezTo>
                    <a:pt x="687" y="1737"/>
                    <a:pt x="1425" y="2482"/>
                    <a:pt x="1425" y="3401"/>
                  </a:cubicBezTo>
                  <a:cubicBezTo>
                    <a:pt x="1425" y="4347"/>
                    <a:pt x="666" y="5100"/>
                    <a:pt x="-260" y="5100"/>
                  </a:cubicBezTo>
                  <a:close/>
                  <a:moveTo>
                    <a:pt x="1308" y="-432"/>
                  </a:moveTo>
                  <a:lnTo>
                    <a:pt x="666" y="756"/>
                  </a:lnTo>
                  <a:lnTo>
                    <a:pt x="-239" y="1150"/>
                  </a:lnTo>
                  <a:lnTo>
                    <a:pt x="-301" y="1170"/>
                  </a:lnTo>
                  <a:lnTo>
                    <a:pt x="-2200" y="1170"/>
                  </a:lnTo>
                  <a:lnTo>
                    <a:pt x="-2200" y="-1937"/>
                  </a:lnTo>
                  <a:lnTo>
                    <a:pt x="-2483" y="-2206"/>
                  </a:lnTo>
                  <a:lnTo>
                    <a:pt x="-2752" y="-1937"/>
                  </a:lnTo>
                  <a:lnTo>
                    <a:pt x="-2752" y="5383"/>
                  </a:lnTo>
                  <a:lnTo>
                    <a:pt x="-2504" y="5645"/>
                  </a:lnTo>
                  <a:lnTo>
                    <a:pt x="-2483" y="5645"/>
                  </a:lnTo>
                  <a:lnTo>
                    <a:pt x="-2449" y="5645"/>
                  </a:lnTo>
                  <a:lnTo>
                    <a:pt x="-260" y="5645"/>
                  </a:lnTo>
                  <a:cubicBezTo>
                    <a:pt x="970" y="5645"/>
                    <a:pt x="1971" y="4651"/>
                    <a:pt x="1971" y="3401"/>
                  </a:cubicBezTo>
                  <a:cubicBezTo>
                    <a:pt x="1971" y="2510"/>
                    <a:pt x="1446" y="1737"/>
                    <a:pt x="680" y="1371"/>
                  </a:cubicBezTo>
                  <a:lnTo>
                    <a:pt x="790" y="1322"/>
                  </a:lnTo>
                  <a:cubicBezTo>
                    <a:pt x="1308" y="1025"/>
                    <a:pt x="1840" y="459"/>
                    <a:pt x="1840" y="-432"/>
                  </a:cubicBezTo>
                  <a:lnTo>
                    <a:pt x="1950" y="-1343"/>
                  </a:lnTo>
                  <a:lnTo>
                    <a:pt x="2061" y="-1530"/>
                  </a:lnTo>
                  <a:lnTo>
                    <a:pt x="2365" y="-1709"/>
                  </a:lnTo>
                  <a:lnTo>
                    <a:pt x="2185" y="-2068"/>
                  </a:lnTo>
                  <a:lnTo>
                    <a:pt x="2047" y="-2082"/>
                  </a:lnTo>
                  <a:lnTo>
                    <a:pt x="2026" y="-2082"/>
                  </a:lnTo>
                  <a:lnTo>
                    <a:pt x="1522" y="-1716"/>
                  </a:lnTo>
                  <a:cubicBezTo>
                    <a:pt x="1384" y="-1461"/>
                    <a:pt x="1308" y="-1095"/>
                    <a:pt x="1308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BE3BEB5A-F49A-A589-42FA-6D448C6669D7}"/>
                </a:ext>
              </a:extLst>
            </p:cNvPr>
            <p:cNvSpPr/>
            <p:nvPr/>
          </p:nvSpPr>
          <p:spPr>
            <a:xfrm flipV="1">
              <a:off x="8801350" y="2540897"/>
              <a:ext cx="1383300" cy="613750"/>
            </a:xfrm>
            <a:custGeom>
              <a:avLst/>
              <a:gdLst>
                <a:gd name="connsiteX0" fmla="*/ 1379440 w 1383300"/>
                <a:gd name="connsiteY0" fmla="*/ -2576 h 613750"/>
                <a:gd name="connsiteX1" fmla="*/ -3861 w 1383300"/>
                <a:gd name="connsiteY1" fmla="*/ -2576 h 613750"/>
                <a:gd name="connsiteX2" fmla="*/ -3861 w 1383300"/>
                <a:gd name="connsiteY2" fmla="*/ 611174 h 613750"/>
                <a:gd name="connsiteX3" fmla="*/ 1379440 w 1383300"/>
                <a:gd name="connsiteY3" fmla="*/ 611174 h 613750"/>
                <a:gd name="connsiteX4" fmla="*/ 1379440 w 1383300"/>
                <a:gd name="connsiteY4" fmla="*/ -2576 h 61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00" h="613750">
                  <a:moveTo>
                    <a:pt x="1379440" y="-2576"/>
                  </a:moveTo>
                  <a:lnTo>
                    <a:pt x="-3861" y="-2576"/>
                  </a:lnTo>
                  <a:lnTo>
                    <a:pt x="-3861" y="611174"/>
                  </a:lnTo>
                  <a:lnTo>
                    <a:pt x="1379440" y="611174"/>
                  </a:lnTo>
                  <a:lnTo>
                    <a:pt x="1379440" y="-2576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281F666-EE40-F9ED-CFC9-C364F5827F7E}"/>
                </a:ext>
              </a:extLst>
            </p:cNvPr>
            <p:cNvSpPr/>
            <p:nvPr/>
          </p:nvSpPr>
          <p:spPr>
            <a:xfrm flipV="1">
              <a:off x="8969559" y="2619916"/>
              <a:ext cx="1864" cy="440982"/>
            </a:xfrm>
            <a:custGeom>
              <a:avLst/>
              <a:gdLst>
                <a:gd name="connsiteX0" fmla="*/ -2273 w 1864"/>
                <a:gd name="connsiteY0" fmla="*/ -2588 h 440982"/>
                <a:gd name="connsiteX1" fmla="*/ -2722 w 1864"/>
                <a:gd name="connsiteY1" fmla="*/ 33576 h 440982"/>
                <a:gd name="connsiteX2" fmla="*/ -2894 w 1864"/>
                <a:gd name="connsiteY2" fmla="*/ 69739 h 440982"/>
                <a:gd name="connsiteX3" fmla="*/ -3205 w 1864"/>
                <a:gd name="connsiteY3" fmla="*/ 142067 h 440982"/>
                <a:gd name="connsiteX4" fmla="*/ -2894 w 1864"/>
                <a:gd name="connsiteY4" fmla="*/ 366073 h 440982"/>
                <a:gd name="connsiteX5" fmla="*/ -2729 w 1864"/>
                <a:gd name="connsiteY5" fmla="*/ 402237 h 440982"/>
                <a:gd name="connsiteX6" fmla="*/ -2273 w 1864"/>
                <a:gd name="connsiteY6" fmla="*/ 438394 h 440982"/>
                <a:gd name="connsiteX7" fmla="*/ -1817 w 1864"/>
                <a:gd name="connsiteY7" fmla="*/ 402237 h 440982"/>
                <a:gd name="connsiteX8" fmla="*/ -1651 w 1864"/>
                <a:gd name="connsiteY8" fmla="*/ 366073 h 440982"/>
                <a:gd name="connsiteX9" fmla="*/ -1341 w 1864"/>
                <a:gd name="connsiteY9" fmla="*/ 142067 h 440982"/>
                <a:gd name="connsiteX10" fmla="*/ -1651 w 1864"/>
                <a:gd name="connsiteY10" fmla="*/ 69739 h 440982"/>
                <a:gd name="connsiteX11" fmla="*/ -1817 w 1864"/>
                <a:gd name="connsiteY11" fmla="*/ 33576 h 440982"/>
                <a:gd name="connsiteX12" fmla="*/ -2273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2273" y="-2588"/>
                  </a:moveTo>
                  <a:lnTo>
                    <a:pt x="-2722" y="33576"/>
                  </a:lnTo>
                  <a:lnTo>
                    <a:pt x="-2894" y="69739"/>
                  </a:lnTo>
                  <a:lnTo>
                    <a:pt x="-3205" y="142067"/>
                  </a:lnTo>
                  <a:lnTo>
                    <a:pt x="-2894" y="366073"/>
                  </a:lnTo>
                  <a:lnTo>
                    <a:pt x="-2729" y="402237"/>
                  </a:lnTo>
                  <a:lnTo>
                    <a:pt x="-2273" y="438394"/>
                  </a:lnTo>
                  <a:lnTo>
                    <a:pt x="-1817" y="402237"/>
                  </a:lnTo>
                  <a:lnTo>
                    <a:pt x="-1651" y="366073"/>
                  </a:lnTo>
                  <a:lnTo>
                    <a:pt x="-1341" y="142067"/>
                  </a:lnTo>
                  <a:lnTo>
                    <a:pt x="-1651" y="69739"/>
                  </a:lnTo>
                  <a:lnTo>
                    <a:pt x="-1817" y="33576"/>
                  </a:lnTo>
                  <a:lnTo>
                    <a:pt x="-2273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807B404F-73D1-D59E-C6B5-4BF771511AC6}"/>
                </a:ext>
              </a:extLst>
            </p:cNvPr>
            <p:cNvSpPr/>
            <p:nvPr/>
          </p:nvSpPr>
          <p:spPr>
            <a:xfrm flipV="1">
              <a:off x="9070179" y="2619916"/>
              <a:ext cx="1857" cy="440982"/>
            </a:xfrm>
            <a:custGeom>
              <a:avLst/>
              <a:gdLst>
                <a:gd name="connsiteX0" fmla="*/ -2406 w 1857"/>
                <a:gd name="connsiteY0" fmla="*/ -2588 h 440982"/>
                <a:gd name="connsiteX1" fmla="*/ -2855 w 1857"/>
                <a:gd name="connsiteY1" fmla="*/ 33576 h 440982"/>
                <a:gd name="connsiteX2" fmla="*/ -3014 w 1857"/>
                <a:gd name="connsiteY2" fmla="*/ 69739 h 440982"/>
                <a:gd name="connsiteX3" fmla="*/ -3331 w 1857"/>
                <a:gd name="connsiteY3" fmla="*/ 142067 h 440982"/>
                <a:gd name="connsiteX4" fmla="*/ -3014 w 1857"/>
                <a:gd name="connsiteY4" fmla="*/ 366073 h 440982"/>
                <a:gd name="connsiteX5" fmla="*/ -2855 w 1857"/>
                <a:gd name="connsiteY5" fmla="*/ 402237 h 440982"/>
                <a:gd name="connsiteX6" fmla="*/ -2406 w 1857"/>
                <a:gd name="connsiteY6" fmla="*/ 438394 h 440982"/>
                <a:gd name="connsiteX7" fmla="*/ -1944 w 1857"/>
                <a:gd name="connsiteY7" fmla="*/ 402237 h 440982"/>
                <a:gd name="connsiteX8" fmla="*/ -1785 w 1857"/>
                <a:gd name="connsiteY8" fmla="*/ 366073 h 440982"/>
                <a:gd name="connsiteX9" fmla="*/ -1474 w 1857"/>
                <a:gd name="connsiteY9" fmla="*/ 142067 h 440982"/>
                <a:gd name="connsiteX10" fmla="*/ -1785 w 1857"/>
                <a:gd name="connsiteY10" fmla="*/ 69739 h 440982"/>
                <a:gd name="connsiteX11" fmla="*/ -1944 w 1857"/>
                <a:gd name="connsiteY11" fmla="*/ 33576 h 440982"/>
                <a:gd name="connsiteX12" fmla="*/ -2406 w 1857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7" h="440982">
                  <a:moveTo>
                    <a:pt x="-2406" y="-2588"/>
                  </a:moveTo>
                  <a:lnTo>
                    <a:pt x="-2855" y="33576"/>
                  </a:lnTo>
                  <a:lnTo>
                    <a:pt x="-3014" y="69739"/>
                  </a:lnTo>
                  <a:lnTo>
                    <a:pt x="-3331" y="142067"/>
                  </a:lnTo>
                  <a:lnTo>
                    <a:pt x="-3014" y="366073"/>
                  </a:lnTo>
                  <a:lnTo>
                    <a:pt x="-2855" y="402237"/>
                  </a:lnTo>
                  <a:lnTo>
                    <a:pt x="-2406" y="438394"/>
                  </a:lnTo>
                  <a:lnTo>
                    <a:pt x="-1944" y="402237"/>
                  </a:lnTo>
                  <a:lnTo>
                    <a:pt x="-1785" y="366073"/>
                  </a:lnTo>
                  <a:lnTo>
                    <a:pt x="-1474" y="142067"/>
                  </a:lnTo>
                  <a:lnTo>
                    <a:pt x="-1785" y="69739"/>
                  </a:lnTo>
                  <a:lnTo>
                    <a:pt x="-1944" y="33576"/>
                  </a:lnTo>
                  <a:lnTo>
                    <a:pt x="-2406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8B880E75-75B5-D552-F1BA-B106A4408AEF}"/>
                </a:ext>
              </a:extLst>
            </p:cNvPr>
            <p:cNvSpPr/>
            <p:nvPr/>
          </p:nvSpPr>
          <p:spPr>
            <a:xfrm flipV="1">
              <a:off x="9170798" y="2619916"/>
              <a:ext cx="1857" cy="440982"/>
            </a:xfrm>
            <a:custGeom>
              <a:avLst/>
              <a:gdLst>
                <a:gd name="connsiteX0" fmla="*/ -2526 w 1857"/>
                <a:gd name="connsiteY0" fmla="*/ -2588 h 440982"/>
                <a:gd name="connsiteX1" fmla="*/ -2981 w 1857"/>
                <a:gd name="connsiteY1" fmla="*/ 33576 h 440982"/>
                <a:gd name="connsiteX2" fmla="*/ -3147 w 1857"/>
                <a:gd name="connsiteY2" fmla="*/ 69739 h 440982"/>
                <a:gd name="connsiteX3" fmla="*/ -3458 w 1857"/>
                <a:gd name="connsiteY3" fmla="*/ 142067 h 440982"/>
                <a:gd name="connsiteX4" fmla="*/ -3147 w 1857"/>
                <a:gd name="connsiteY4" fmla="*/ 366073 h 440982"/>
                <a:gd name="connsiteX5" fmla="*/ -2988 w 1857"/>
                <a:gd name="connsiteY5" fmla="*/ 402237 h 440982"/>
                <a:gd name="connsiteX6" fmla="*/ -2526 w 1857"/>
                <a:gd name="connsiteY6" fmla="*/ 438394 h 440982"/>
                <a:gd name="connsiteX7" fmla="*/ -2070 w 1857"/>
                <a:gd name="connsiteY7" fmla="*/ 402237 h 440982"/>
                <a:gd name="connsiteX8" fmla="*/ -1904 w 1857"/>
                <a:gd name="connsiteY8" fmla="*/ 366073 h 440982"/>
                <a:gd name="connsiteX9" fmla="*/ -1600 w 1857"/>
                <a:gd name="connsiteY9" fmla="*/ 142067 h 440982"/>
                <a:gd name="connsiteX10" fmla="*/ -1904 w 1857"/>
                <a:gd name="connsiteY10" fmla="*/ 69739 h 440982"/>
                <a:gd name="connsiteX11" fmla="*/ -2077 w 1857"/>
                <a:gd name="connsiteY11" fmla="*/ 33576 h 440982"/>
                <a:gd name="connsiteX12" fmla="*/ -2526 w 1857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7" h="440982">
                  <a:moveTo>
                    <a:pt x="-2526" y="-2588"/>
                  </a:moveTo>
                  <a:lnTo>
                    <a:pt x="-2981" y="33576"/>
                  </a:lnTo>
                  <a:lnTo>
                    <a:pt x="-3147" y="69739"/>
                  </a:lnTo>
                  <a:lnTo>
                    <a:pt x="-3458" y="142067"/>
                  </a:lnTo>
                  <a:lnTo>
                    <a:pt x="-3147" y="366073"/>
                  </a:lnTo>
                  <a:lnTo>
                    <a:pt x="-2988" y="402237"/>
                  </a:lnTo>
                  <a:lnTo>
                    <a:pt x="-2526" y="438394"/>
                  </a:lnTo>
                  <a:lnTo>
                    <a:pt x="-2070" y="402237"/>
                  </a:lnTo>
                  <a:lnTo>
                    <a:pt x="-1904" y="366073"/>
                  </a:lnTo>
                  <a:lnTo>
                    <a:pt x="-1600" y="142067"/>
                  </a:lnTo>
                  <a:lnTo>
                    <a:pt x="-1904" y="69739"/>
                  </a:lnTo>
                  <a:lnTo>
                    <a:pt x="-2077" y="33576"/>
                  </a:lnTo>
                  <a:lnTo>
                    <a:pt x="-2526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ACED7865-B929-5B67-08F9-7FC0FA380BB2}"/>
                </a:ext>
              </a:extLst>
            </p:cNvPr>
            <p:cNvSpPr/>
            <p:nvPr/>
          </p:nvSpPr>
          <p:spPr>
            <a:xfrm flipV="1">
              <a:off x="9271411" y="2619916"/>
              <a:ext cx="1864" cy="440982"/>
            </a:xfrm>
            <a:custGeom>
              <a:avLst/>
              <a:gdLst>
                <a:gd name="connsiteX0" fmla="*/ -2652 w 1864"/>
                <a:gd name="connsiteY0" fmla="*/ -2588 h 440982"/>
                <a:gd name="connsiteX1" fmla="*/ -3100 w 1864"/>
                <a:gd name="connsiteY1" fmla="*/ 33576 h 440982"/>
                <a:gd name="connsiteX2" fmla="*/ -3266 w 1864"/>
                <a:gd name="connsiteY2" fmla="*/ 69739 h 440982"/>
                <a:gd name="connsiteX3" fmla="*/ -3584 w 1864"/>
                <a:gd name="connsiteY3" fmla="*/ 142067 h 440982"/>
                <a:gd name="connsiteX4" fmla="*/ -3266 w 1864"/>
                <a:gd name="connsiteY4" fmla="*/ 366073 h 440982"/>
                <a:gd name="connsiteX5" fmla="*/ -3100 w 1864"/>
                <a:gd name="connsiteY5" fmla="*/ 402237 h 440982"/>
                <a:gd name="connsiteX6" fmla="*/ -2652 w 1864"/>
                <a:gd name="connsiteY6" fmla="*/ 438394 h 440982"/>
                <a:gd name="connsiteX7" fmla="*/ -2196 w 1864"/>
                <a:gd name="connsiteY7" fmla="*/ 402237 h 440982"/>
                <a:gd name="connsiteX8" fmla="*/ -2030 w 1864"/>
                <a:gd name="connsiteY8" fmla="*/ 366073 h 440982"/>
                <a:gd name="connsiteX9" fmla="*/ -1719 w 1864"/>
                <a:gd name="connsiteY9" fmla="*/ 142067 h 440982"/>
                <a:gd name="connsiteX10" fmla="*/ -2030 w 1864"/>
                <a:gd name="connsiteY10" fmla="*/ 69739 h 440982"/>
                <a:gd name="connsiteX11" fmla="*/ -2196 w 1864"/>
                <a:gd name="connsiteY11" fmla="*/ 33576 h 440982"/>
                <a:gd name="connsiteX12" fmla="*/ -2652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2652" y="-2588"/>
                  </a:moveTo>
                  <a:lnTo>
                    <a:pt x="-3100" y="33576"/>
                  </a:lnTo>
                  <a:lnTo>
                    <a:pt x="-3266" y="69739"/>
                  </a:lnTo>
                  <a:lnTo>
                    <a:pt x="-3584" y="142067"/>
                  </a:lnTo>
                  <a:lnTo>
                    <a:pt x="-3266" y="366073"/>
                  </a:lnTo>
                  <a:lnTo>
                    <a:pt x="-3100" y="402237"/>
                  </a:lnTo>
                  <a:lnTo>
                    <a:pt x="-2652" y="438394"/>
                  </a:lnTo>
                  <a:lnTo>
                    <a:pt x="-2196" y="402237"/>
                  </a:lnTo>
                  <a:lnTo>
                    <a:pt x="-2030" y="366073"/>
                  </a:lnTo>
                  <a:lnTo>
                    <a:pt x="-1719" y="142067"/>
                  </a:lnTo>
                  <a:lnTo>
                    <a:pt x="-2030" y="69739"/>
                  </a:lnTo>
                  <a:lnTo>
                    <a:pt x="-2196" y="33576"/>
                  </a:lnTo>
                  <a:lnTo>
                    <a:pt x="-2652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04038A45-7A64-33D2-9C5D-C7530C65402A}"/>
                </a:ext>
              </a:extLst>
            </p:cNvPr>
            <p:cNvSpPr/>
            <p:nvPr/>
          </p:nvSpPr>
          <p:spPr>
            <a:xfrm flipV="1">
              <a:off x="9372037" y="2619916"/>
              <a:ext cx="1857" cy="440982"/>
            </a:xfrm>
            <a:custGeom>
              <a:avLst/>
              <a:gdLst>
                <a:gd name="connsiteX0" fmla="*/ -2785 w 1857"/>
                <a:gd name="connsiteY0" fmla="*/ -2588 h 440982"/>
                <a:gd name="connsiteX1" fmla="*/ -3234 w 1857"/>
                <a:gd name="connsiteY1" fmla="*/ 33576 h 440982"/>
                <a:gd name="connsiteX2" fmla="*/ -3406 w 1857"/>
                <a:gd name="connsiteY2" fmla="*/ 69739 h 440982"/>
                <a:gd name="connsiteX3" fmla="*/ -3710 w 1857"/>
                <a:gd name="connsiteY3" fmla="*/ 142067 h 440982"/>
                <a:gd name="connsiteX4" fmla="*/ -3406 w 1857"/>
                <a:gd name="connsiteY4" fmla="*/ 366073 h 440982"/>
                <a:gd name="connsiteX5" fmla="*/ -3241 w 1857"/>
                <a:gd name="connsiteY5" fmla="*/ 402237 h 440982"/>
                <a:gd name="connsiteX6" fmla="*/ -2785 w 1857"/>
                <a:gd name="connsiteY6" fmla="*/ 438394 h 440982"/>
                <a:gd name="connsiteX7" fmla="*/ -2322 w 1857"/>
                <a:gd name="connsiteY7" fmla="*/ 402237 h 440982"/>
                <a:gd name="connsiteX8" fmla="*/ -2163 w 1857"/>
                <a:gd name="connsiteY8" fmla="*/ 366073 h 440982"/>
                <a:gd name="connsiteX9" fmla="*/ -1853 w 1857"/>
                <a:gd name="connsiteY9" fmla="*/ 142067 h 440982"/>
                <a:gd name="connsiteX10" fmla="*/ -2163 w 1857"/>
                <a:gd name="connsiteY10" fmla="*/ 69739 h 440982"/>
                <a:gd name="connsiteX11" fmla="*/ -2329 w 1857"/>
                <a:gd name="connsiteY11" fmla="*/ 33576 h 440982"/>
                <a:gd name="connsiteX12" fmla="*/ -2785 w 1857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7" h="440982">
                  <a:moveTo>
                    <a:pt x="-2785" y="-2588"/>
                  </a:moveTo>
                  <a:lnTo>
                    <a:pt x="-3234" y="33576"/>
                  </a:lnTo>
                  <a:lnTo>
                    <a:pt x="-3406" y="69739"/>
                  </a:lnTo>
                  <a:lnTo>
                    <a:pt x="-3710" y="142067"/>
                  </a:lnTo>
                  <a:lnTo>
                    <a:pt x="-3406" y="366073"/>
                  </a:lnTo>
                  <a:lnTo>
                    <a:pt x="-3241" y="402237"/>
                  </a:lnTo>
                  <a:lnTo>
                    <a:pt x="-2785" y="438394"/>
                  </a:lnTo>
                  <a:lnTo>
                    <a:pt x="-2322" y="402237"/>
                  </a:lnTo>
                  <a:lnTo>
                    <a:pt x="-2163" y="366073"/>
                  </a:lnTo>
                  <a:lnTo>
                    <a:pt x="-1853" y="142067"/>
                  </a:lnTo>
                  <a:lnTo>
                    <a:pt x="-2163" y="69739"/>
                  </a:lnTo>
                  <a:lnTo>
                    <a:pt x="-2329" y="33576"/>
                  </a:lnTo>
                  <a:lnTo>
                    <a:pt x="-2785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036BE517-E97C-8B59-57F3-27ADB2027FD1}"/>
                </a:ext>
              </a:extLst>
            </p:cNvPr>
            <p:cNvSpPr/>
            <p:nvPr/>
          </p:nvSpPr>
          <p:spPr>
            <a:xfrm flipV="1">
              <a:off x="9472650" y="2619916"/>
              <a:ext cx="1857" cy="440982"/>
            </a:xfrm>
            <a:custGeom>
              <a:avLst/>
              <a:gdLst>
                <a:gd name="connsiteX0" fmla="*/ -2898 w 1857"/>
                <a:gd name="connsiteY0" fmla="*/ -2588 h 440982"/>
                <a:gd name="connsiteX1" fmla="*/ -3360 w 1857"/>
                <a:gd name="connsiteY1" fmla="*/ 33576 h 440982"/>
                <a:gd name="connsiteX2" fmla="*/ -3519 w 1857"/>
                <a:gd name="connsiteY2" fmla="*/ 69739 h 440982"/>
                <a:gd name="connsiteX3" fmla="*/ -3837 w 1857"/>
                <a:gd name="connsiteY3" fmla="*/ 142067 h 440982"/>
                <a:gd name="connsiteX4" fmla="*/ -3519 w 1857"/>
                <a:gd name="connsiteY4" fmla="*/ 366073 h 440982"/>
                <a:gd name="connsiteX5" fmla="*/ -3360 w 1857"/>
                <a:gd name="connsiteY5" fmla="*/ 402237 h 440982"/>
                <a:gd name="connsiteX6" fmla="*/ -2898 w 1857"/>
                <a:gd name="connsiteY6" fmla="*/ 438394 h 440982"/>
                <a:gd name="connsiteX7" fmla="*/ -2449 w 1857"/>
                <a:gd name="connsiteY7" fmla="*/ 402237 h 440982"/>
                <a:gd name="connsiteX8" fmla="*/ -2290 w 1857"/>
                <a:gd name="connsiteY8" fmla="*/ 366073 h 440982"/>
                <a:gd name="connsiteX9" fmla="*/ -1979 w 1857"/>
                <a:gd name="connsiteY9" fmla="*/ 142067 h 440982"/>
                <a:gd name="connsiteX10" fmla="*/ -2290 w 1857"/>
                <a:gd name="connsiteY10" fmla="*/ 69739 h 440982"/>
                <a:gd name="connsiteX11" fmla="*/ -2449 w 1857"/>
                <a:gd name="connsiteY11" fmla="*/ 33576 h 440982"/>
                <a:gd name="connsiteX12" fmla="*/ -2898 w 1857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7" h="440982">
                  <a:moveTo>
                    <a:pt x="-2898" y="-2588"/>
                  </a:moveTo>
                  <a:lnTo>
                    <a:pt x="-3360" y="33576"/>
                  </a:lnTo>
                  <a:lnTo>
                    <a:pt x="-3519" y="69739"/>
                  </a:lnTo>
                  <a:lnTo>
                    <a:pt x="-3837" y="142067"/>
                  </a:lnTo>
                  <a:lnTo>
                    <a:pt x="-3519" y="366073"/>
                  </a:lnTo>
                  <a:lnTo>
                    <a:pt x="-3360" y="402237"/>
                  </a:lnTo>
                  <a:lnTo>
                    <a:pt x="-2898" y="438394"/>
                  </a:lnTo>
                  <a:lnTo>
                    <a:pt x="-2449" y="402237"/>
                  </a:lnTo>
                  <a:lnTo>
                    <a:pt x="-2290" y="366073"/>
                  </a:lnTo>
                  <a:lnTo>
                    <a:pt x="-1979" y="142067"/>
                  </a:lnTo>
                  <a:lnTo>
                    <a:pt x="-2290" y="69739"/>
                  </a:lnTo>
                  <a:lnTo>
                    <a:pt x="-2449" y="33576"/>
                  </a:lnTo>
                  <a:lnTo>
                    <a:pt x="-2898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19AA003C-35F3-DA3C-69C1-C9ABA70D6ED6}"/>
                </a:ext>
              </a:extLst>
            </p:cNvPr>
            <p:cNvSpPr/>
            <p:nvPr/>
          </p:nvSpPr>
          <p:spPr>
            <a:xfrm flipV="1">
              <a:off x="9573269" y="2619916"/>
              <a:ext cx="1864" cy="440982"/>
            </a:xfrm>
            <a:custGeom>
              <a:avLst/>
              <a:gdLst>
                <a:gd name="connsiteX0" fmla="*/ -3031 w 1864"/>
                <a:gd name="connsiteY0" fmla="*/ -2588 h 440982"/>
                <a:gd name="connsiteX1" fmla="*/ -3486 w 1864"/>
                <a:gd name="connsiteY1" fmla="*/ 33576 h 440982"/>
                <a:gd name="connsiteX2" fmla="*/ -3652 w 1864"/>
                <a:gd name="connsiteY2" fmla="*/ 69739 h 440982"/>
                <a:gd name="connsiteX3" fmla="*/ -3963 w 1864"/>
                <a:gd name="connsiteY3" fmla="*/ 142067 h 440982"/>
                <a:gd name="connsiteX4" fmla="*/ -3652 w 1864"/>
                <a:gd name="connsiteY4" fmla="*/ 366073 h 440982"/>
                <a:gd name="connsiteX5" fmla="*/ -3493 w 1864"/>
                <a:gd name="connsiteY5" fmla="*/ 402237 h 440982"/>
                <a:gd name="connsiteX6" fmla="*/ -3031 w 1864"/>
                <a:gd name="connsiteY6" fmla="*/ 438394 h 440982"/>
                <a:gd name="connsiteX7" fmla="*/ -2575 w 1864"/>
                <a:gd name="connsiteY7" fmla="*/ 402237 h 440982"/>
                <a:gd name="connsiteX8" fmla="*/ -2409 w 1864"/>
                <a:gd name="connsiteY8" fmla="*/ 366073 h 440982"/>
                <a:gd name="connsiteX9" fmla="*/ -2099 w 1864"/>
                <a:gd name="connsiteY9" fmla="*/ 142067 h 440982"/>
                <a:gd name="connsiteX10" fmla="*/ -2409 w 1864"/>
                <a:gd name="connsiteY10" fmla="*/ 69739 h 440982"/>
                <a:gd name="connsiteX11" fmla="*/ -2582 w 1864"/>
                <a:gd name="connsiteY11" fmla="*/ 33576 h 440982"/>
                <a:gd name="connsiteX12" fmla="*/ -3031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3031" y="-2588"/>
                  </a:moveTo>
                  <a:lnTo>
                    <a:pt x="-3486" y="33576"/>
                  </a:lnTo>
                  <a:lnTo>
                    <a:pt x="-3652" y="69739"/>
                  </a:lnTo>
                  <a:lnTo>
                    <a:pt x="-3963" y="142067"/>
                  </a:lnTo>
                  <a:lnTo>
                    <a:pt x="-3652" y="366073"/>
                  </a:lnTo>
                  <a:lnTo>
                    <a:pt x="-3493" y="402237"/>
                  </a:lnTo>
                  <a:lnTo>
                    <a:pt x="-3031" y="438394"/>
                  </a:lnTo>
                  <a:lnTo>
                    <a:pt x="-2575" y="402237"/>
                  </a:lnTo>
                  <a:lnTo>
                    <a:pt x="-2409" y="366073"/>
                  </a:lnTo>
                  <a:lnTo>
                    <a:pt x="-2099" y="142067"/>
                  </a:lnTo>
                  <a:lnTo>
                    <a:pt x="-2409" y="69739"/>
                  </a:lnTo>
                  <a:lnTo>
                    <a:pt x="-2582" y="33576"/>
                  </a:lnTo>
                  <a:lnTo>
                    <a:pt x="-3031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6D168501-76EF-3976-F509-C9D565F382C0}"/>
                </a:ext>
              </a:extLst>
            </p:cNvPr>
            <p:cNvSpPr/>
            <p:nvPr/>
          </p:nvSpPr>
          <p:spPr>
            <a:xfrm flipV="1">
              <a:off x="9673889" y="2619916"/>
              <a:ext cx="1864" cy="440982"/>
            </a:xfrm>
            <a:custGeom>
              <a:avLst/>
              <a:gdLst>
                <a:gd name="connsiteX0" fmla="*/ -3157 w 1864"/>
                <a:gd name="connsiteY0" fmla="*/ -2588 h 440982"/>
                <a:gd name="connsiteX1" fmla="*/ -3613 w 1864"/>
                <a:gd name="connsiteY1" fmla="*/ 33576 h 440982"/>
                <a:gd name="connsiteX2" fmla="*/ -3779 w 1864"/>
                <a:gd name="connsiteY2" fmla="*/ 69739 h 440982"/>
                <a:gd name="connsiteX3" fmla="*/ -4089 w 1864"/>
                <a:gd name="connsiteY3" fmla="*/ 142067 h 440982"/>
                <a:gd name="connsiteX4" fmla="*/ -3779 w 1864"/>
                <a:gd name="connsiteY4" fmla="*/ 366073 h 440982"/>
                <a:gd name="connsiteX5" fmla="*/ -3613 w 1864"/>
                <a:gd name="connsiteY5" fmla="*/ 402237 h 440982"/>
                <a:gd name="connsiteX6" fmla="*/ -3157 w 1864"/>
                <a:gd name="connsiteY6" fmla="*/ 438394 h 440982"/>
                <a:gd name="connsiteX7" fmla="*/ -2701 w 1864"/>
                <a:gd name="connsiteY7" fmla="*/ 402237 h 440982"/>
                <a:gd name="connsiteX8" fmla="*/ -2542 w 1864"/>
                <a:gd name="connsiteY8" fmla="*/ 366073 h 440982"/>
                <a:gd name="connsiteX9" fmla="*/ -2225 w 1864"/>
                <a:gd name="connsiteY9" fmla="*/ 142067 h 440982"/>
                <a:gd name="connsiteX10" fmla="*/ -2542 w 1864"/>
                <a:gd name="connsiteY10" fmla="*/ 69739 h 440982"/>
                <a:gd name="connsiteX11" fmla="*/ -2701 w 1864"/>
                <a:gd name="connsiteY11" fmla="*/ 33576 h 440982"/>
                <a:gd name="connsiteX12" fmla="*/ -3157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3157" y="-2588"/>
                  </a:moveTo>
                  <a:lnTo>
                    <a:pt x="-3613" y="33576"/>
                  </a:lnTo>
                  <a:lnTo>
                    <a:pt x="-3779" y="69739"/>
                  </a:lnTo>
                  <a:lnTo>
                    <a:pt x="-4089" y="142067"/>
                  </a:lnTo>
                  <a:lnTo>
                    <a:pt x="-3779" y="366073"/>
                  </a:lnTo>
                  <a:lnTo>
                    <a:pt x="-3613" y="402237"/>
                  </a:lnTo>
                  <a:lnTo>
                    <a:pt x="-3157" y="438394"/>
                  </a:lnTo>
                  <a:lnTo>
                    <a:pt x="-2701" y="402237"/>
                  </a:lnTo>
                  <a:lnTo>
                    <a:pt x="-2542" y="366073"/>
                  </a:lnTo>
                  <a:lnTo>
                    <a:pt x="-2225" y="142067"/>
                  </a:lnTo>
                  <a:lnTo>
                    <a:pt x="-2542" y="69739"/>
                  </a:lnTo>
                  <a:lnTo>
                    <a:pt x="-2701" y="33576"/>
                  </a:lnTo>
                  <a:lnTo>
                    <a:pt x="-3157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235825A9-6CFA-2016-22FF-787E16A079F9}"/>
                </a:ext>
              </a:extLst>
            </p:cNvPr>
            <p:cNvSpPr/>
            <p:nvPr/>
          </p:nvSpPr>
          <p:spPr>
            <a:xfrm flipV="1">
              <a:off x="9774508" y="2619916"/>
              <a:ext cx="1857" cy="440982"/>
            </a:xfrm>
            <a:custGeom>
              <a:avLst/>
              <a:gdLst>
                <a:gd name="connsiteX0" fmla="*/ -3290 w 1857"/>
                <a:gd name="connsiteY0" fmla="*/ -2588 h 440982"/>
                <a:gd name="connsiteX1" fmla="*/ -3739 w 1857"/>
                <a:gd name="connsiteY1" fmla="*/ 33576 h 440982"/>
                <a:gd name="connsiteX2" fmla="*/ -3905 w 1857"/>
                <a:gd name="connsiteY2" fmla="*/ 69739 h 440982"/>
                <a:gd name="connsiteX3" fmla="*/ -4215 w 1857"/>
                <a:gd name="connsiteY3" fmla="*/ 142067 h 440982"/>
                <a:gd name="connsiteX4" fmla="*/ -3905 w 1857"/>
                <a:gd name="connsiteY4" fmla="*/ 366073 h 440982"/>
                <a:gd name="connsiteX5" fmla="*/ -3746 w 1857"/>
                <a:gd name="connsiteY5" fmla="*/ 402237 h 440982"/>
                <a:gd name="connsiteX6" fmla="*/ -3290 w 1857"/>
                <a:gd name="connsiteY6" fmla="*/ 438394 h 440982"/>
                <a:gd name="connsiteX7" fmla="*/ -2828 w 1857"/>
                <a:gd name="connsiteY7" fmla="*/ 402237 h 440982"/>
                <a:gd name="connsiteX8" fmla="*/ -2669 w 1857"/>
                <a:gd name="connsiteY8" fmla="*/ 366073 h 440982"/>
                <a:gd name="connsiteX9" fmla="*/ -2358 w 1857"/>
                <a:gd name="connsiteY9" fmla="*/ 142067 h 440982"/>
                <a:gd name="connsiteX10" fmla="*/ -2669 w 1857"/>
                <a:gd name="connsiteY10" fmla="*/ 69739 h 440982"/>
                <a:gd name="connsiteX11" fmla="*/ -2834 w 1857"/>
                <a:gd name="connsiteY11" fmla="*/ 33576 h 440982"/>
                <a:gd name="connsiteX12" fmla="*/ -3290 w 1857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7" h="440982">
                  <a:moveTo>
                    <a:pt x="-3290" y="-2588"/>
                  </a:moveTo>
                  <a:lnTo>
                    <a:pt x="-3739" y="33576"/>
                  </a:lnTo>
                  <a:lnTo>
                    <a:pt x="-3905" y="69739"/>
                  </a:lnTo>
                  <a:lnTo>
                    <a:pt x="-4215" y="142067"/>
                  </a:lnTo>
                  <a:lnTo>
                    <a:pt x="-3905" y="366073"/>
                  </a:lnTo>
                  <a:lnTo>
                    <a:pt x="-3746" y="402237"/>
                  </a:lnTo>
                  <a:lnTo>
                    <a:pt x="-3290" y="438394"/>
                  </a:lnTo>
                  <a:lnTo>
                    <a:pt x="-2828" y="402237"/>
                  </a:lnTo>
                  <a:lnTo>
                    <a:pt x="-2669" y="366073"/>
                  </a:lnTo>
                  <a:lnTo>
                    <a:pt x="-2358" y="142067"/>
                  </a:lnTo>
                  <a:lnTo>
                    <a:pt x="-2669" y="69739"/>
                  </a:lnTo>
                  <a:lnTo>
                    <a:pt x="-2834" y="33576"/>
                  </a:lnTo>
                  <a:lnTo>
                    <a:pt x="-3290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E4876D82-DA2C-C0C5-F183-F699C6093D60}"/>
                </a:ext>
              </a:extLst>
            </p:cNvPr>
            <p:cNvSpPr/>
            <p:nvPr/>
          </p:nvSpPr>
          <p:spPr>
            <a:xfrm flipV="1">
              <a:off x="9875127" y="2619916"/>
              <a:ext cx="1864" cy="440982"/>
            </a:xfrm>
            <a:custGeom>
              <a:avLst/>
              <a:gdLst>
                <a:gd name="connsiteX0" fmla="*/ -3409 w 1864"/>
                <a:gd name="connsiteY0" fmla="*/ -2588 h 440982"/>
                <a:gd name="connsiteX1" fmla="*/ -3872 w 1864"/>
                <a:gd name="connsiteY1" fmla="*/ 33576 h 440982"/>
                <a:gd name="connsiteX2" fmla="*/ -4031 w 1864"/>
                <a:gd name="connsiteY2" fmla="*/ 69739 h 440982"/>
                <a:gd name="connsiteX3" fmla="*/ -4342 w 1864"/>
                <a:gd name="connsiteY3" fmla="*/ 142067 h 440982"/>
                <a:gd name="connsiteX4" fmla="*/ -4031 w 1864"/>
                <a:gd name="connsiteY4" fmla="*/ 366073 h 440982"/>
                <a:gd name="connsiteX5" fmla="*/ -3872 w 1864"/>
                <a:gd name="connsiteY5" fmla="*/ 402237 h 440982"/>
                <a:gd name="connsiteX6" fmla="*/ -3409 w 1864"/>
                <a:gd name="connsiteY6" fmla="*/ 438394 h 440982"/>
                <a:gd name="connsiteX7" fmla="*/ -2961 w 1864"/>
                <a:gd name="connsiteY7" fmla="*/ 402237 h 440982"/>
                <a:gd name="connsiteX8" fmla="*/ -2795 w 1864"/>
                <a:gd name="connsiteY8" fmla="*/ 366073 h 440982"/>
                <a:gd name="connsiteX9" fmla="*/ -2477 w 1864"/>
                <a:gd name="connsiteY9" fmla="*/ 142067 h 440982"/>
                <a:gd name="connsiteX10" fmla="*/ -2795 w 1864"/>
                <a:gd name="connsiteY10" fmla="*/ 69739 h 440982"/>
                <a:gd name="connsiteX11" fmla="*/ -2961 w 1864"/>
                <a:gd name="connsiteY11" fmla="*/ 33576 h 440982"/>
                <a:gd name="connsiteX12" fmla="*/ -3409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3409" y="-2588"/>
                  </a:moveTo>
                  <a:lnTo>
                    <a:pt x="-3872" y="33576"/>
                  </a:lnTo>
                  <a:lnTo>
                    <a:pt x="-4031" y="69739"/>
                  </a:lnTo>
                  <a:lnTo>
                    <a:pt x="-4342" y="142067"/>
                  </a:lnTo>
                  <a:lnTo>
                    <a:pt x="-4031" y="366073"/>
                  </a:lnTo>
                  <a:lnTo>
                    <a:pt x="-3872" y="402237"/>
                  </a:lnTo>
                  <a:lnTo>
                    <a:pt x="-3409" y="438394"/>
                  </a:lnTo>
                  <a:lnTo>
                    <a:pt x="-2961" y="402237"/>
                  </a:lnTo>
                  <a:lnTo>
                    <a:pt x="-2795" y="366073"/>
                  </a:lnTo>
                  <a:lnTo>
                    <a:pt x="-2477" y="142067"/>
                  </a:lnTo>
                  <a:lnTo>
                    <a:pt x="-2795" y="69739"/>
                  </a:lnTo>
                  <a:lnTo>
                    <a:pt x="-2961" y="33576"/>
                  </a:lnTo>
                  <a:lnTo>
                    <a:pt x="-3409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EE27AB40-8B47-CA6B-0E86-99F06C9E95F5}"/>
                </a:ext>
              </a:extLst>
            </p:cNvPr>
            <p:cNvSpPr/>
            <p:nvPr/>
          </p:nvSpPr>
          <p:spPr>
            <a:xfrm flipV="1">
              <a:off x="9975740" y="2619916"/>
              <a:ext cx="1864" cy="440982"/>
            </a:xfrm>
            <a:custGeom>
              <a:avLst/>
              <a:gdLst>
                <a:gd name="connsiteX0" fmla="*/ -3536 w 1864"/>
                <a:gd name="connsiteY0" fmla="*/ -2588 h 440982"/>
                <a:gd name="connsiteX1" fmla="*/ -3985 w 1864"/>
                <a:gd name="connsiteY1" fmla="*/ 33576 h 440982"/>
                <a:gd name="connsiteX2" fmla="*/ -4157 w 1864"/>
                <a:gd name="connsiteY2" fmla="*/ 69739 h 440982"/>
                <a:gd name="connsiteX3" fmla="*/ -4468 w 1864"/>
                <a:gd name="connsiteY3" fmla="*/ 142067 h 440982"/>
                <a:gd name="connsiteX4" fmla="*/ -4157 w 1864"/>
                <a:gd name="connsiteY4" fmla="*/ 366073 h 440982"/>
                <a:gd name="connsiteX5" fmla="*/ -3992 w 1864"/>
                <a:gd name="connsiteY5" fmla="*/ 402237 h 440982"/>
                <a:gd name="connsiteX6" fmla="*/ -3536 w 1864"/>
                <a:gd name="connsiteY6" fmla="*/ 438394 h 440982"/>
                <a:gd name="connsiteX7" fmla="*/ -3073 w 1864"/>
                <a:gd name="connsiteY7" fmla="*/ 402237 h 440982"/>
                <a:gd name="connsiteX8" fmla="*/ -2914 w 1864"/>
                <a:gd name="connsiteY8" fmla="*/ 366073 h 440982"/>
                <a:gd name="connsiteX9" fmla="*/ -2604 w 1864"/>
                <a:gd name="connsiteY9" fmla="*/ 142067 h 440982"/>
                <a:gd name="connsiteX10" fmla="*/ -2914 w 1864"/>
                <a:gd name="connsiteY10" fmla="*/ 69739 h 440982"/>
                <a:gd name="connsiteX11" fmla="*/ -3080 w 1864"/>
                <a:gd name="connsiteY11" fmla="*/ 33576 h 440982"/>
                <a:gd name="connsiteX12" fmla="*/ -3536 w 1864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4" h="440982">
                  <a:moveTo>
                    <a:pt x="-3536" y="-2588"/>
                  </a:moveTo>
                  <a:lnTo>
                    <a:pt x="-3985" y="33576"/>
                  </a:lnTo>
                  <a:lnTo>
                    <a:pt x="-4157" y="69739"/>
                  </a:lnTo>
                  <a:lnTo>
                    <a:pt x="-4468" y="142067"/>
                  </a:lnTo>
                  <a:lnTo>
                    <a:pt x="-4157" y="366073"/>
                  </a:lnTo>
                  <a:lnTo>
                    <a:pt x="-3992" y="402237"/>
                  </a:lnTo>
                  <a:lnTo>
                    <a:pt x="-3536" y="438394"/>
                  </a:lnTo>
                  <a:lnTo>
                    <a:pt x="-3073" y="402237"/>
                  </a:lnTo>
                  <a:lnTo>
                    <a:pt x="-2914" y="366073"/>
                  </a:lnTo>
                  <a:lnTo>
                    <a:pt x="-2604" y="142067"/>
                  </a:lnTo>
                  <a:lnTo>
                    <a:pt x="-2914" y="69739"/>
                  </a:lnTo>
                  <a:lnTo>
                    <a:pt x="-3080" y="33576"/>
                  </a:lnTo>
                  <a:lnTo>
                    <a:pt x="-3536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14F84B3A-561B-A200-5254-A215DD638246}"/>
                </a:ext>
              </a:extLst>
            </p:cNvPr>
            <p:cNvSpPr/>
            <p:nvPr/>
          </p:nvSpPr>
          <p:spPr>
            <a:xfrm flipV="1">
              <a:off x="10076366" y="2619916"/>
              <a:ext cx="1850" cy="440982"/>
            </a:xfrm>
            <a:custGeom>
              <a:avLst/>
              <a:gdLst>
                <a:gd name="connsiteX0" fmla="*/ -3669 w 1850"/>
                <a:gd name="connsiteY0" fmla="*/ -2588 h 440982"/>
                <a:gd name="connsiteX1" fmla="*/ -4125 w 1850"/>
                <a:gd name="connsiteY1" fmla="*/ 33576 h 440982"/>
                <a:gd name="connsiteX2" fmla="*/ -4283 w 1850"/>
                <a:gd name="connsiteY2" fmla="*/ 69739 h 440982"/>
                <a:gd name="connsiteX3" fmla="*/ -4594 w 1850"/>
                <a:gd name="connsiteY3" fmla="*/ 142067 h 440982"/>
                <a:gd name="connsiteX4" fmla="*/ -4283 w 1850"/>
                <a:gd name="connsiteY4" fmla="*/ 366073 h 440982"/>
                <a:gd name="connsiteX5" fmla="*/ -4125 w 1850"/>
                <a:gd name="connsiteY5" fmla="*/ 402237 h 440982"/>
                <a:gd name="connsiteX6" fmla="*/ -3669 w 1850"/>
                <a:gd name="connsiteY6" fmla="*/ 438394 h 440982"/>
                <a:gd name="connsiteX7" fmla="*/ -3213 w 1850"/>
                <a:gd name="connsiteY7" fmla="*/ 402237 h 440982"/>
                <a:gd name="connsiteX8" fmla="*/ -3054 w 1850"/>
                <a:gd name="connsiteY8" fmla="*/ 366073 h 440982"/>
                <a:gd name="connsiteX9" fmla="*/ -2743 w 1850"/>
                <a:gd name="connsiteY9" fmla="*/ 142067 h 440982"/>
                <a:gd name="connsiteX10" fmla="*/ -3054 w 1850"/>
                <a:gd name="connsiteY10" fmla="*/ 69739 h 440982"/>
                <a:gd name="connsiteX11" fmla="*/ -3213 w 1850"/>
                <a:gd name="connsiteY11" fmla="*/ 33576 h 440982"/>
                <a:gd name="connsiteX12" fmla="*/ -3669 w 1850"/>
                <a:gd name="connsiteY12" fmla="*/ -2588 h 44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0" h="440982">
                  <a:moveTo>
                    <a:pt x="-3669" y="-2588"/>
                  </a:moveTo>
                  <a:lnTo>
                    <a:pt x="-4125" y="33576"/>
                  </a:lnTo>
                  <a:lnTo>
                    <a:pt x="-4283" y="69739"/>
                  </a:lnTo>
                  <a:lnTo>
                    <a:pt x="-4594" y="142067"/>
                  </a:lnTo>
                  <a:lnTo>
                    <a:pt x="-4283" y="366073"/>
                  </a:lnTo>
                  <a:lnTo>
                    <a:pt x="-4125" y="402237"/>
                  </a:lnTo>
                  <a:lnTo>
                    <a:pt x="-3669" y="438394"/>
                  </a:lnTo>
                  <a:lnTo>
                    <a:pt x="-3213" y="402237"/>
                  </a:lnTo>
                  <a:lnTo>
                    <a:pt x="-3054" y="366073"/>
                  </a:lnTo>
                  <a:lnTo>
                    <a:pt x="-2743" y="142067"/>
                  </a:lnTo>
                  <a:lnTo>
                    <a:pt x="-3054" y="69739"/>
                  </a:lnTo>
                  <a:lnTo>
                    <a:pt x="-3213" y="33576"/>
                  </a:lnTo>
                  <a:lnTo>
                    <a:pt x="-3669" y="-258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59E5F32B-1634-E31A-47E6-75BDCF3B02EE}"/>
                </a:ext>
              </a:extLst>
            </p:cNvPr>
            <p:cNvSpPr/>
            <p:nvPr/>
          </p:nvSpPr>
          <p:spPr>
            <a:xfrm flipV="1">
              <a:off x="8869872" y="2770662"/>
              <a:ext cx="1255529" cy="1864"/>
            </a:xfrm>
            <a:custGeom>
              <a:avLst/>
              <a:gdLst>
                <a:gd name="connsiteX0" fmla="*/ -3867 w 1255529"/>
                <a:gd name="connsiteY0" fmla="*/ -1769 h 1864"/>
                <a:gd name="connsiteX1" fmla="*/ 310021 w 1255529"/>
                <a:gd name="connsiteY1" fmla="*/ -1148 h 1864"/>
                <a:gd name="connsiteX2" fmla="*/ 623901 w 1255529"/>
                <a:gd name="connsiteY2" fmla="*/ -837 h 1864"/>
                <a:gd name="connsiteX3" fmla="*/ 937782 w 1255529"/>
                <a:gd name="connsiteY3" fmla="*/ -1148 h 1864"/>
                <a:gd name="connsiteX4" fmla="*/ 1251663 w 1255529"/>
                <a:gd name="connsiteY4" fmla="*/ -1769 h 1864"/>
                <a:gd name="connsiteX5" fmla="*/ 937782 w 1255529"/>
                <a:gd name="connsiteY5" fmla="*/ -2391 h 1864"/>
                <a:gd name="connsiteX6" fmla="*/ 623901 w 1255529"/>
                <a:gd name="connsiteY6" fmla="*/ -2701 h 1864"/>
                <a:gd name="connsiteX7" fmla="*/ 310021 w 1255529"/>
                <a:gd name="connsiteY7" fmla="*/ -2384 h 1864"/>
                <a:gd name="connsiteX8" fmla="*/ -3867 w 1255529"/>
                <a:gd name="connsiteY8" fmla="*/ -1769 h 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29" h="1864">
                  <a:moveTo>
                    <a:pt x="-3867" y="-1769"/>
                  </a:moveTo>
                  <a:lnTo>
                    <a:pt x="310021" y="-1148"/>
                  </a:lnTo>
                  <a:lnTo>
                    <a:pt x="623901" y="-837"/>
                  </a:lnTo>
                  <a:lnTo>
                    <a:pt x="937782" y="-1148"/>
                  </a:lnTo>
                  <a:lnTo>
                    <a:pt x="1251663" y="-1769"/>
                  </a:lnTo>
                  <a:lnTo>
                    <a:pt x="937782" y="-2391"/>
                  </a:lnTo>
                  <a:lnTo>
                    <a:pt x="623901" y="-2701"/>
                  </a:lnTo>
                  <a:lnTo>
                    <a:pt x="310021" y="-2384"/>
                  </a:lnTo>
                  <a:lnTo>
                    <a:pt x="-3867" y="-1769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D93F58F9-00E7-81AD-781E-1112C5415A40}"/>
                </a:ext>
              </a:extLst>
            </p:cNvPr>
            <p:cNvSpPr/>
            <p:nvPr/>
          </p:nvSpPr>
          <p:spPr>
            <a:xfrm flipV="1">
              <a:off x="8869872" y="2840753"/>
              <a:ext cx="1255529" cy="1857"/>
            </a:xfrm>
            <a:custGeom>
              <a:avLst/>
              <a:gdLst>
                <a:gd name="connsiteX0" fmla="*/ -3867 w 1255529"/>
                <a:gd name="connsiteY0" fmla="*/ -1661 h 1857"/>
                <a:gd name="connsiteX1" fmla="*/ 310021 w 1255529"/>
                <a:gd name="connsiteY1" fmla="*/ -1039 h 1857"/>
                <a:gd name="connsiteX2" fmla="*/ 623901 w 1255529"/>
                <a:gd name="connsiteY2" fmla="*/ -729 h 1857"/>
                <a:gd name="connsiteX3" fmla="*/ 937782 w 1255529"/>
                <a:gd name="connsiteY3" fmla="*/ -1039 h 1857"/>
                <a:gd name="connsiteX4" fmla="*/ 1251663 w 1255529"/>
                <a:gd name="connsiteY4" fmla="*/ -1661 h 1857"/>
                <a:gd name="connsiteX5" fmla="*/ 937782 w 1255529"/>
                <a:gd name="connsiteY5" fmla="*/ -2276 h 1857"/>
                <a:gd name="connsiteX6" fmla="*/ 623901 w 1255529"/>
                <a:gd name="connsiteY6" fmla="*/ -2586 h 1857"/>
                <a:gd name="connsiteX7" fmla="*/ 310021 w 1255529"/>
                <a:gd name="connsiteY7" fmla="*/ -2276 h 1857"/>
                <a:gd name="connsiteX8" fmla="*/ -3867 w 1255529"/>
                <a:gd name="connsiteY8" fmla="*/ -1661 h 1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29" h="1857">
                  <a:moveTo>
                    <a:pt x="-3867" y="-1661"/>
                  </a:moveTo>
                  <a:lnTo>
                    <a:pt x="310021" y="-1039"/>
                  </a:lnTo>
                  <a:lnTo>
                    <a:pt x="623901" y="-729"/>
                  </a:lnTo>
                  <a:lnTo>
                    <a:pt x="937782" y="-1039"/>
                  </a:lnTo>
                  <a:lnTo>
                    <a:pt x="1251663" y="-1661"/>
                  </a:lnTo>
                  <a:lnTo>
                    <a:pt x="937782" y="-2276"/>
                  </a:lnTo>
                  <a:lnTo>
                    <a:pt x="623901" y="-2586"/>
                  </a:lnTo>
                  <a:lnTo>
                    <a:pt x="310021" y="-2276"/>
                  </a:lnTo>
                  <a:lnTo>
                    <a:pt x="-3867" y="-1661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34B1BCEB-5E0E-3B47-85E9-8F1040772B90}"/>
                </a:ext>
              </a:extLst>
            </p:cNvPr>
            <p:cNvSpPr/>
            <p:nvPr/>
          </p:nvSpPr>
          <p:spPr>
            <a:xfrm flipV="1">
              <a:off x="8869872" y="2700572"/>
              <a:ext cx="1255529" cy="1864"/>
            </a:xfrm>
            <a:custGeom>
              <a:avLst/>
              <a:gdLst>
                <a:gd name="connsiteX0" fmla="*/ -3867 w 1255529"/>
                <a:gd name="connsiteY0" fmla="*/ -1884 h 1864"/>
                <a:gd name="connsiteX1" fmla="*/ 310021 w 1255529"/>
                <a:gd name="connsiteY1" fmla="*/ -1270 h 1864"/>
                <a:gd name="connsiteX2" fmla="*/ 623901 w 1255529"/>
                <a:gd name="connsiteY2" fmla="*/ -952 h 1864"/>
                <a:gd name="connsiteX3" fmla="*/ 937782 w 1255529"/>
                <a:gd name="connsiteY3" fmla="*/ -1263 h 1864"/>
                <a:gd name="connsiteX4" fmla="*/ 1251663 w 1255529"/>
                <a:gd name="connsiteY4" fmla="*/ -1884 h 1864"/>
                <a:gd name="connsiteX5" fmla="*/ 937782 w 1255529"/>
                <a:gd name="connsiteY5" fmla="*/ -2506 h 1864"/>
                <a:gd name="connsiteX6" fmla="*/ 623901 w 1255529"/>
                <a:gd name="connsiteY6" fmla="*/ -2816 h 1864"/>
                <a:gd name="connsiteX7" fmla="*/ 310021 w 1255529"/>
                <a:gd name="connsiteY7" fmla="*/ -2506 h 1864"/>
                <a:gd name="connsiteX8" fmla="*/ -3867 w 1255529"/>
                <a:gd name="connsiteY8" fmla="*/ -1884 h 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29" h="1864">
                  <a:moveTo>
                    <a:pt x="-3867" y="-1884"/>
                  </a:moveTo>
                  <a:lnTo>
                    <a:pt x="310021" y="-1270"/>
                  </a:lnTo>
                  <a:lnTo>
                    <a:pt x="623901" y="-952"/>
                  </a:lnTo>
                  <a:lnTo>
                    <a:pt x="937782" y="-1263"/>
                  </a:lnTo>
                  <a:lnTo>
                    <a:pt x="1251663" y="-1884"/>
                  </a:lnTo>
                  <a:lnTo>
                    <a:pt x="937782" y="-2506"/>
                  </a:lnTo>
                  <a:lnTo>
                    <a:pt x="623901" y="-2816"/>
                  </a:lnTo>
                  <a:lnTo>
                    <a:pt x="310021" y="-2506"/>
                  </a:lnTo>
                  <a:lnTo>
                    <a:pt x="-3867" y="-188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64BDCC7B-0963-0139-5C3C-A3B9A474FF09}"/>
                </a:ext>
              </a:extLst>
            </p:cNvPr>
            <p:cNvSpPr/>
            <p:nvPr/>
          </p:nvSpPr>
          <p:spPr>
            <a:xfrm flipV="1">
              <a:off x="8869872" y="2630489"/>
              <a:ext cx="1255529" cy="1864"/>
            </a:xfrm>
            <a:custGeom>
              <a:avLst/>
              <a:gdLst>
                <a:gd name="connsiteX0" fmla="*/ -3867 w 1255529"/>
                <a:gd name="connsiteY0" fmla="*/ -1999 h 1864"/>
                <a:gd name="connsiteX1" fmla="*/ 310021 w 1255529"/>
                <a:gd name="connsiteY1" fmla="*/ -1378 h 1864"/>
                <a:gd name="connsiteX2" fmla="*/ 623901 w 1255529"/>
                <a:gd name="connsiteY2" fmla="*/ -1067 h 1864"/>
                <a:gd name="connsiteX3" fmla="*/ 937782 w 1255529"/>
                <a:gd name="connsiteY3" fmla="*/ -1378 h 1864"/>
                <a:gd name="connsiteX4" fmla="*/ 1251663 w 1255529"/>
                <a:gd name="connsiteY4" fmla="*/ -1999 h 1864"/>
                <a:gd name="connsiteX5" fmla="*/ 937782 w 1255529"/>
                <a:gd name="connsiteY5" fmla="*/ -2621 h 1864"/>
                <a:gd name="connsiteX6" fmla="*/ 623901 w 1255529"/>
                <a:gd name="connsiteY6" fmla="*/ -2931 h 1864"/>
                <a:gd name="connsiteX7" fmla="*/ 310021 w 1255529"/>
                <a:gd name="connsiteY7" fmla="*/ -2614 h 1864"/>
                <a:gd name="connsiteX8" fmla="*/ -3867 w 1255529"/>
                <a:gd name="connsiteY8" fmla="*/ -1999 h 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29" h="1864">
                  <a:moveTo>
                    <a:pt x="-3867" y="-1999"/>
                  </a:moveTo>
                  <a:lnTo>
                    <a:pt x="310021" y="-1378"/>
                  </a:lnTo>
                  <a:lnTo>
                    <a:pt x="623901" y="-1067"/>
                  </a:lnTo>
                  <a:lnTo>
                    <a:pt x="937782" y="-1378"/>
                  </a:lnTo>
                  <a:lnTo>
                    <a:pt x="1251663" y="-1999"/>
                  </a:lnTo>
                  <a:lnTo>
                    <a:pt x="937782" y="-2621"/>
                  </a:lnTo>
                  <a:lnTo>
                    <a:pt x="623901" y="-2931"/>
                  </a:lnTo>
                  <a:lnTo>
                    <a:pt x="310021" y="-2614"/>
                  </a:lnTo>
                  <a:lnTo>
                    <a:pt x="-3867" y="-1999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C5A72939-0C53-038E-6906-02FBDA84804F}"/>
                </a:ext>
              </a:extLst>
            </p:cNvPr>
            <p:cNvSpPr/>
            <p:nvPr/>
          </p:nvSpPr>
          <p:spPr>
            <a:xfrm flipV="1">
              <a:off x="8868781" y="2908979"/>
              <a:ext cx="1255529" cy="1857"/>
            </a:xfrm>
            <a:custGeom>
              <a:avLst/>
              <a:gdLst>
                <a:gd name="connsiteX0" fmla="*/ -3865 w 1255529"/>
                <a:gd name="connsiteY0" fmla="*/ -1542 h 1857"/>
                <a:gd name="connsiteX1" fmla="*/ 310015 w 1255529"/>
                <a:gd name="connsiteY1" fmla="*/ -927 h 1857"/>
                <a:gd name="connsiteX2" fmla="*/ 623896 w 1255529"/>
                <a:gd name="connsiteY2" fmla="*/ -617 h 1857"/>
                <a:gd name="connsiteX3" fmla="*/ 937783 w 1255529"/>
                <a:gd name="connsiteY3" fmla="*/ -927 h 1857"/>
                <a:gd name="connsiteX4" fmla="*/ 1251664 w 1255529"/>
                <a:gd name="connsiteY4" fmla="*/ -1542 h 1857"/>
                <a:gd name="connsiteX5" fmla="*/ 937783 w 1255529"/>
                <a:gd name="connsiteY5" fmla="*/ -2164 h 1857"/>
                <a:gd name="connsiteX6" fmla="*/ 623896 w 1255529"/>
                <a:gd name="connsiteY6" fmla="*/ -2474 h 1857"/>
                <a:gd name="connsiteX7" fmla="*/ 310015 w 1255529"/>
                <a:gd name="connsiteY7" fmla="*/ -2164 h 1857"/>
                <a:gd name="connsiteX8" fmla="*/ -3865 w 1255529"/>
                <a:gd name="connsiteY8" fmla="*/ -1542 h 1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29" h="1857">
                  <a:moveTo>
                    <a:pt x="-3865" y="-1542"/>
                  </a:moveTo>
                  <a:lnTo>
                    <a:pt x="310015" y="-927"/>
                  </a:lnTo>
                  <a:lnTo>
                    <a:pt x="623896" y="-617"/>
                  </a:lnTo>
                  <a:lnTo>
                    <a:pt x="937783" y="-927"/>
                  </a:lnTo>
                  <a:lnTo>
                    <a:pt x="1251664" y="-1542"/>
                  </a:lnTo>
                  <a:lnTo>
                    <a:pt x="937783" y="-2164"/>
                  </a:lnTo>
                  <a:lnTo>
                    <a:pt x="623896" y="-2474"/>
                  </a:lnTo>
                  <a:lnTo>
                    <a:pt x="310015" y="-2164"/>
                  </a:lnTo>
                  <a:lnTo>
                    <a:pt x="-3865" y="-1542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60CA2DAD-55FC-3F73-B0A8-3F9BA1DD4729}"/>
                </a:ext>
              </a:extLst>
            </p:cNvPr>
            <p:cNvSpPr/>
            <p:nvPr/>
          </p:nvSpPr>
          <p:spPr>
            <a:xfrm flipV="1">
              <a:off x="8869872" y="2980927"/>
              <a:ext cx="1255529" cy="1864"/>
            </a:xfrm>
            <a:custGeom>
              <a:avLst/>
              <a:gdLst>
                <a:gd name="connsiteX0" fmla="*/ -3867 w 1255529"/>
                <a:gd name="connsiteY0" fmla="*/ -1424 h 1864"/>
                <a:gd name="connsiteX1" fmla="*/ 310021 w 1255529"/>
                <a:gd name="connsiteY1" fmla="*/ -809 h 1864"/>
                <a:gd name="connsiteX2" fmla="*/ 623901 w 1255529"/>
                <a:gd name="connsiteY2" fmla="*/ -492 h 1864"/>
                <a:gd name="connsiteX3" fmla="*/ 937782 w 1255529"/>
                <a:gd name="connsiteY3" fmla="*/ -802 h 1864"/>
                <a:gd name="connsiteX4" fmla="*/ 1251663 w 1255529"/>
                <a:gd name="connsiteY4" fmla="*/ -1424 h 1864"/>
                <a:gd name="connsiteX5" fmla="*/ 937782 w 1255529"/>
                <a:gd name="connsiteY5" fmla="*/ -2045 h 1864"/>
                <a:gd name="connsiteX6" fmla="*/ 623901 w 1255529"/>
                <a:gd name="connsiteY6" fmla="*/ -2356 h 1864"/>
                <a:gd name="connsiteX7" fmla="*/ 310021 w 1255529"/>
                <a:gd name="connsiteY7" fmla="*/ -2045 h 1864"/>
                <a:gd name="connsiteX8" fmla="*/ -3867 w 1255529"/>
                <a:gd name="connsiteY8" fmla="*/ -1424 h 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529" h="1864">
                  <a:moveTo>
                    <a:pt x="-3867" y="-1424"/>
                  </a:moveTo>
                  <a:lnTo>
                    <a:pt x="310021" y="-809"/>
                  </a:lnTo>
                  <a:lnTo>
                    <a:pt x="623901" y="-492"/>
                  </a:lnTo>
                  <a:lnTo>
                    <a:pt x="937782" y="-802"/>
                  </a:lnTo>
                  <a:lnTo>
                    <a:pt x="1251663" y="-1424"/>
                  </a:lnTo>
                  <a:lnTo>
                    <a:pt x="937782" y="-2045"/>
                  </a:lnTo>
                  <a:lnTo>
                    <a:pt x="623901" y="-2356"/>
                  </a:lnTo>
                  <a:lnTo>
                    <a:pt x="310021" y="-2045"/>
                  </a:lnTo>
                  <a:lnTo>
                    <a:pt x="-3867" y="-142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2A2B270B-30E4-AF68-D063-586A259EBEC1}"/>
                </a:ext>
              </a:extLst>
            </p:cNvPr>
            <p:cNvSpPr/>
            <p:nvPr/>
          </p:nvSpPr>
          <p:spPr>
            <a:xfrm flipV="1">
              <a:off x="8945549" y="3069178"/>
              <a:ext cx="5192" cy="7851"/>
            </a:xfrm>
            <a:custGeom>
              <a:avLst/>
              <a:gdLst>
                <a:gd name="connsiteX0" fmla="*/ -2998 w 5192"/>
                <a:gd name="connsiteY0" fmla="*/ -17 h 7851"/>
                <a:gd name="connsiteX1" fmla="*/ -2666 w 5192"/>
                <a:gd name="connsiteY1" fmla="*/ -183 h 7851"/>
                <a:gd name="connsiteX2" fmla="*/ -643 w 5192"/>
                <a:gd name="connsiteY2" fmla="*/ -1654 h 7851"/>
                <a:gd name="connsiteX3" fmla="*/ 1477 w 5192"/>
                <a:gd name="connsiteY3" fmla="*/ 459 h 7851"/>
                <a:gd name="connsiteX4" fmla="*/ 1477 w 5192"/>
                <a:gd name="connsiteY4" fmla="*/ 5383 h 7851"/>
                <a:gd name="connsiteX5" fmla="*/ 1747 w 5192"/>
                <a:gd name="connsiteY5" fmla="*/ 5645 h 7851"/>
                <a:gd name="connsiteX6" fmla="*/ 2016 w 5192"/>
                <a:gd name="connsiteY6" fmla="*/ 5383 h 7851"/>
                <a:gd name="connsiteX7" fmla="*/ 2016 w 5192"/>
                <a:gd name="connsiteY7" fmla="*/ 459 h 7851"/>
                <a:gd name="connsiteX8" fmla="*/ -643 w 5192"/>
                <a:gd name="connsiteY8" fmla="*/ -2206 h 7851"/>
                <a:gd name="connsiteX9" fmla="*/ -3177 w 5192"/>
                <a:gd name="connsiteY9" fmla="*/ -363 h 7851"/>
                <a:gd name="connsiteX10" fmla="*/ -2998 w 5192"/>
                <a:gd name="connsiteY10" fmla="*/ -17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92" h="7851">
                  <a:moveTo>
                    <a:pt x="-2998" y="-17"/>
                  </a:moveTo>
                  <a:lnTo>
                    <a:pt x="-2666" y="-183"/>
                  </a:lnTo>
                  <a:cubicBezTo>
                    <a:pt x="-2383" y="-1046"/>
                    <a:pt x="-1589" y="-1661"/>
                    <a:pt x="-643" y="-1654"/>
                  </a:cubicBezTo>
                  <a:cubicBezTo>
                    <a:pt x="524" y="-1654"/>
                    <a:pt x="1477" y="-708"/>
                    <a:pt x="1477" y="459"/>
                  </a:cubicBezTo>
                  <a:lnTo>
                    <a:pt x="1477" y="5383"/>
                  </a:lnTo>
                  <a:lnTo>
                    <a:pt x="1747" y="5645"/>
                  </a:lnTo>
                  <a:lnTo>
                    <a:pt x="2016" y="5383"/>
                  </a:lnTo>
                  <a:lnTo>
                    <a:pt x="2016" y="459"/>
                  </a:lnTo>
                  <a:cubicBezTo>
                    <a:pt x="2016" y="-1025"/>
                    <a:pt x="828" y="-2206"/>
                    <a:pt x="-643" y="-2206"/>
                  </a:cubicBezTo>
                  <a:cubicBezTo>
                    <a:pt x="-1824" y="-2206"/>
                    <a:pt x="-2839" y="-1426"/>
                    <a:pt x="-3177" y="-363"/>
                  </a:cubicBezTo>
                  <a:lnTo>
                    <a:pt x="-2998" y="-17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1D007C71-C0B8-0ADB-11CF-3F832CC63A74}"/>
                </a:ext>
              </a:extLst>
            </p:cNvPr>
            <p:cNvSpPr/>
            <p:nvPr/>
          </p:nvSpPr>
          <p:spPr>
            <a:xfrm flipV="1">
              <a:off x="8952068" y="3069213"/>
              <a:ext cx="5993" cy="7817"/>
            </a:xfrm>
            <a:custGeom>
              <a:avLst/>
              <a:gdLst>
                <a:gd name="connsiteX0" fmla="*/ -1770 w 5993"/>
                <a:gd name="connsiteY0" fmla="*/ 376 h 7817"/>
                <a:gd name="connsiteX1" fmla="*/ 1406 w 5993"/>
                <a:gd name="connsiteY1" fmla="*/ 376 h 7817"/>
                <a:gd name="connsiteX2" fmla="*/ -175 w 5993"/>
                <a:gd name="connsiteY2" fmla="*/ 4596 h 7817"/>
                <a:gd name="connsiteX3" fmla="*/ 1607 w 5993"/>
                <a:gd name="connsiteY3" fmla="*/ -176 h 7817"/>
                <a:gd name="connsiteX4" fmla="*/ -1970 w 5993"/>
                <a:gd name="connsiteY4" fmla="*/ -176 h 7817"/>
                <a:gd name="connsiteX5" fmla="*/ -2668 w 5993"/>
                <a:gd name="connsiteY5" fmla="*/ -2020 h 7817"/>
                <a:gd name="connsiteX6" fmla="*/ -2923 w 5993"/>
                <a:gd name="connsiteY6" fmla="*/ -2206 h 7817"/>
                <a:gd name="connsiteX7" fmla="*/ -3020 w 5993"/>
                <a:gd name="connsiteY7" fmla="*/ -2193 h 7817"/>
                <a:gd name="connsiteX8" fmla="*/ -3186 w 5993"/>
                <a:gd name="connsiteY8" fmla="*/ -1834 h 7817"/>
                <a:gd name="connsiteX9" fmla="*/ -451 w 5993"/>
                <a:gd name="connsiteY9" fmla="*/ 5445 h 7817"/>
                <a:gd name="connsiteX10" fmla="*/ -189 w 5993"/>
                <a:gd name="connsiteY10" fmla="*/ 5611 h 7817"/>
                <a:gd name="connsiteX11" fmla="*/ 80 w 5993"/>
                <a:gd name="connsiteY11" fmla="*/ 5445 h 7817"/>
                <a:gd name="connsiteX12" fmla="*/ 2808 w 5993"/>
                <a:gd name="connsiteY12" fmla="*/ -1834 h 7817"/>
                <a:gd name="connsiteX13" fmla="*/ 2663 w 5993"/>
                <a:gd name="connsiteY13" fmla="*/ -2193 h 7817"/>
                <a:gd name="connsiteX14" fmla="*/ 2559 w 5993"/>
                <a:gd name="connsiteY14" fmla="*/ -2206 h 7817"/>
                <a:gd name="connsiteX15" fmla="*/ 2304 w 5993"/>
                <a:gd name="connsiteY15" fmla="*/ -2020 h 7817"/>
                <a:gd name="connsiteX16" fmla="*/ 1607 w 5993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93" h="7817">
                  <a:moveTo>
                    <a:pt x="-1770" y="376"/>
                  </a:moveTo>
                  <a:lnTo>
                    <a:pt x="1406" y="376"/>
                  </a:lnTo>
                  <a:lnTo>
                    <a:pt x="-175" y="4596"/>
                  </a:lnTo>
                  <a:close/>
                  <a:moveTo>
                    <a:pt x="1607" y="-176"/>
                  </a:moveTo>
                  <a:lnTo>
                    <a:pt x="-1970" y="-176"/>
                  </a:lnTo>
                  <a:lnTo>
                    <a:pt x="-2668" y="-2020"/>
                  </a:lnTo>
                  <a:lnTo>
                    <a:pt x="-2923" y="-2206"/>
                  </a:lnTo>
                  <a:lnTo>
                    <a:pt x="-3020" y="-2193"/>
                  </a:lnTo>
                  <a:lnTo>
                    <a:pt x="-3186" y="-1834"/>
                  </a:lnTo>
                  <a:lnTo>
                    <a:pt x="-451" y="5445"/>
                  </a:lnTo>
                  <a:lnTo>
                    <a:pt x="-189" y="5611"/>
                  </a:lnTo>
                  <a:lnTo>
                    <a:pt x="80" y="5445"/>
                  </a:lnTo>
                  <a:lnTo>
                    <a:pt x="2808" y="-1834"/>
                  </a:lnTo>
                  <a:lnTo>
                    <a:pt x="2663" y="-2193"/>
                  </a:lnTo>
                  <a:lnTo>
                    <a:pt x="2559" y="-2206"/>
                  </a:lnTo>
                  <a:lnTo>
                    <a:pt x="2304" y="-2020"/>
                  </a:lnTo>
                  <a:lnTo>
                    <a:pt x="1607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7CD30E65-2A68-DD75-0265-6C78EF157704}"/>
                </a:ext>
              </a:extLst>
            </p:cNvPr>
            <p:cNvSpPr/>
            <p:nvPr/>
          </p:nvSpPr>
          <p:spPr>
            <a:xfrm flipV="1">
              <a:off x="8959830" y="3069254"/>
              <a:ext cx="5786" cy="7775"/>
            </a:xfrm>
            <a:custGeom>
              <a:avLst/>
              <a:gdLst>
                <a:gd name="connsiteX0" fmla="*/ -2664 w 5786"/>
                <a:gd name="connsiteY0" fmla="*/ 4492 h 7775"/>
                <a:gd name="connsiteX1" fmla="*/ -2664 w 5786"/>
                <a:gd name="connsiteY1" fmla="*/ -1937 h 7775"/>
                <a:gd name="connsiteX2" fmla="*/ -2926 w 5786"/>
                <a:gd name="connsiteY2" fmla="*/ -2206 h 7775"/>
                <a:gd name="connsiteX3" fmla="*/ -3195 w 5786"/>
                <a:gd name="connsiteY3" fmla="*/ -1937 h 7775"/>
                <a:gd name="connsiteX4" fmla="*/ -3195 w 5786"/>
                <a:gd name="connsiteY4" fmla="*/ 5265 h 7775"/>
                <a:gd name="connsiteX5" fmla="*/ -3092 w 5786"/>
                <a:gd name="connsiteY5" fmla="*/ 5569 h 7775"/>
                <a:gd name="connsiteX6" fmla="*/ -2719 w 5786"/>
                <a:gd name="connsiteY6" fmla="*/ 5500 h 7775"/>
                <a:gd name="connsiteX7" fmla="*/ 2039 w 5786"/>
                <a:gd name="connsiteY7" fmla="*/ -1095 h 7775"/>
                <a:gd name="connsiteX8" fmla="*/ 2039 w 5786"/>
                <a:gd name="connsiteY8" fmla="*/ 5300 h 7775"/>
                <a:gd name="connsiteX9" fmla="*/ 2308 w 5786"/>
                <a:gd name="connsiteY9" fmla="*/ 5569 h 7775"/>
                <a:gd name="connsiteX10" fmla="*/ 2591 w 5786"/>
                <a:gd name="connsiteY10" fmla="*/ 5300 h 7775"/>
                <a:gd name="connsiteX11" fmla="*/ 2591 w 5786"/>
                <a:gd name="connsiteY11" fmla="*/ -1937 h 7775"/>
                <a:gd name="connsiteX12" fmla="*/ 2308 w 5786"/>
                <a:gd name="connsiteY12" fmla="*/ -2206 h 7775"/>
                <a:gd name="connsiteX13" fmla="*/ 2094 w 5786"/>
                <a:gd name="connsiteY13" fmla="*/ -2103 h 7775"/>
                <a:gd name="connsiteX14" fmla="*/ 2053 w 5786"/>
                <a:gd name="connsiteY14" fmla="*/ -2054 h 7775"/>
                <a:gd name="connsiteX15" fmla="*/ -2664 w 5786"/>
                <a:gd name="connsiteY15" fmla="*/ 4492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86" h="7775">
                  <a:moveTo>
                    <a:pt x="-2664" y="4492"/>
                  </a:moveTo>
                  <a:lnTo>
                    <a:pt x="-2664" y="-1937"/>
                  </a:lnTo>
                  <a:lnTo>
                    <a:pt x="-2926" y="-2206"/>
                  </a:lnTo>
                  <a:lnTo>
                    <a:pt x="-3195" y="-1937"/>
                  </a:lnTo>
                  <a:lnTo>
                    <a:pt x="-3195" y="5265"/>
                  </a:lnTo>
                  <a:lnTo>
                    <a:pt x="-3092" y="5569"/>
                  </a:lnTo>
                  <a:lnTo>
                    <a:pt x="-2719" y="5500"/>
                  </a:lnTo>
                  <a:lnTo>
                    <a:pt x="2039" y="-1095"/>
                  </a:lnTo>
                  <a:lnTo>
                    <a:pt x="2039" y="5300"/>
                  </a:lnTo>
                  <a:lnTo>
                    <a:pt x="2308" y="5569"/>
                  </a:lnTo>
                  <a:lnTo>
                    <a:pt x="2591" y="5300"/>
                  </a:lnTo>
                  <a:lnTo>
                    <a:pt x="2591" y="-1937"/>
                  </a:lnTo>
                  <a:lnTo>
                    <a:pt x="2308" y="-2206"/>
                  </a:lnTo>
                  <a:lnTo>
                    <a:pt x="2094" y="-2103"/>
                  </a:lnTo>
                  <a:lnTo>
                    <a:pt x="2053" y="-2054"/>
                  </a:lnTo>
                  <a:lnTo>
                    <a:pt x="-2664" y="4492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22E970CA-2C9F-2D7B-8E34-6E80CE9EC1E1}"/>
                </a:ext>
              </a:extLst>
            </p:cNvPr>
            <p:cNvSpPr/>
            <p:nvPr/>
          </p:nvSpPr>
          <p:spPr>
            <a:xfrm flipV="1">
              <a:off x="8967875" y="3069178"/>
              <a:ext cx="6346" cy="7851"/>
            </a:xfrm>
            <a:custGeom>
              <a:avLst/>
              <a:gdLst>
                <a:gd name="connsiteX0" fmla="*/ -3206 w 6346"/>
                <a:gd name="connsiteY0" fmla="*/ 5383 h 7851"/>
                <a:gd name="connsiteX1" fmla="*/ -2936 w 6346"/>
                <a:gd name="connsiteY1" fmla="*/ 5645 h 7851"/>
                <a:gd name="connsiteX2" fmla="*/ -2660 w 6346"/>
                <a:gd name="connsiteY2" fmla="*/ 5383 h 7851"/>
                <a:gd name="connsiteX3" fmla="*/ -2660 w 6346"/>
                <a:gd name="connsiteY3" fmla="*/ 970 h 7851"/>
                <a:gd name="connsiteX4" fmla="*/ -43 w 6346"/>
                <a:gd name="connsiteY4" fmla="*/ -1654 h 7851"/>
                <a:gd name="connsiteX5" fmla="*/ 2595 w 6346"/>
                <a:gd name="connsiteY5" fmla="*/ 970 h 7851"/>
                <a:gd name="connsiteX6" fmla="*/ 2595 w 6346"/>
                <a:gd name="connsiteY6" fmla="*/ 5383 h 7851"/>
                <a:gd name="connsiteX7" fmla="*/ 2864 w 6346"/>
                <a:gd name="connsiteY7" fmla="*/ 5645 h 7851"/>
                <a:gd name="connsiteX8" fmla="*/ 3140 w 6346"/>
                <a:gd name="connsiteY8" fmla="*/ 5383 h 7851"/>
                <a:gd name="connsiteX9" fmla="*/ 3140 w 6346"/>
                <a:gd name="connsiteY9" fmla="*/ 970 h 7851"/>
                <a:gd name="connsiteX10" fmla="*/ -43 w 6346"/>
                <a:gd name="connsiteY10" fmla="*/ -2206 h 7851"/>
                <a:gd name="connsiteX11" fmla="*/ -3206 w 6346"/>
                <a:gd name="connsiteY11" fmla="*/ 970 h 7851"/>
                <a:gd name="connsiteX12" fmla="*/ -3206 w 6346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46" h="7851">
                  <a:moveTo>
                    <a:pt x="-3206" y="5383"/>
                  </a:moveTo>
                  <a:lnTo>
                    <a:pt x="-2936" y="5645"/>
                  </a:lnTo>
                  <a:lnTo>
                    <a:pt x="-2660" y="5383"/>
                  </a:lnTo>
                  <a:lnTo>
                    <a:pt x="-2660" y="970"/>
                  </a:lnTo>
                  <a:cubicBezTo>
                    <a:pt x="-2660" y="-480"/>
                    <a:pt x="-1479" y="-1640"/>
                    <a:pt x="-43" y="-1654"/>
                  </a:cubicBezTo>
                  <a:cubicBezTo>
                    <a:pt x="1414" y="-1640"/>
                    <a:pt x="2595" y="-480"/>
                    <a:pt x="2595" y="970"/>
                  </a:cubicBezTo>
                  <a:lnTo>
                    <a:pt x="2595" y="5383"/>
                  </a:lnTo>
                  <a:lnTo>
                    <a:pt x="2864" y="5645"/>
                  </a:lnTo>
                  <a:lnTo>
                    <a:pt x="3140" y="5383"/>
                  </a:lnTo>
                  <a:lnTo>
                    <a:pt x="3140" y="970"/>
                  </a:lnTo>
                  <a:cubicBezTo>
                    <a:pt x="3140" y="-777"/>
                    <a:pt x="1718" y="-2206"/>
                    <a:pt x="-43" y="-2206"/>
                  </a:cubicBezTo>
                  <a:cubicBezTo>
                    <a:pt x="-1783" y="-2206"/>
                    <a:pt x="-3206" y="-777"/>
                    <a:pt x="-3206" y="970"/>
                  </a:cubicBezTo>
                  <a:lnTo>
                    <a:pt x="-3206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7AFC79C8-5D73-7381-64ED-E32453D0CD3F}"/>
                </a:ext>
              </a:extLst>
            </p:cNvPr>
            <p:cNvSpPr/>
            <p:nvPr/>
          </p:nvSpPr>
          <p:spPr>
            <a:xfrm flipV="1">
              <a:off x="8975920" y="3069213"/>
              <a:ext cx="5986" cy="7817"/>
            </a:xfrm>
            <a:custGeom>
              <a:avLst/>
              <a:gdLst>
                <a:gd name="connsiteX0" fmla="*/ -1807 w 5986"/>
                <a:gd name="connsiteY0" fmla="*/ 376 h 7817"/>
                <a:gd name="connsiteX1" fmla="*/ 1369 w 5986"/>
                <a:gd name="connsiteY1" fmla="*/ 376 h 7817"/>
                <a:gd name="connsiteX2" fmla="*/ -205 w 5986"/>
                <a:gd name="connsiteY2" fmla="*/ 4596 h 7817"/>
                <a:gd name="connsiteX3" fmla="*/ 1577 w 5986"/>
                <a:gd name="connsiteY3" fmla="*/ -176 h 7817"/>
                <a:gd name="connsiteX4" fmla="*/ -2001 w 5986"/>
                <a:gd name="connsiteY4" fmla="*/ -176 h 7817"/>
                <a:gd name="connsiteX5" fmla="*/ -2698 w 5986"/>
                <a:gd name="connsiteY5" fmla="*/ -2020 h 7817"/>
                <a:gd name="connsiteX6" fmla="*/ -2960 w 5986"/>
                <a:gd name="connsiteY6" fmla="*/ -2206 h 7817"/>
                <a:gd name="connsiteX7" fmla="*/ -3057 w 5986"/>
                <a:gd name="connsiteY7" fmla="*/ -2193 h 7817"/>
                <a:gd name="connsiteX8" fmla="*/ -3216 w 5986"/>
                <a:gd name="connsiteY8" fmla="*/ -1834 h 7817"/>
                <a:gd name="connsiteX9" fmla="*/ -488 w 5986"/>
                <a:gd name="connsiteY9" fmla="*/ 5445 h 7817"/>
                <a:gd name="connsiteX10" fmla="*/ -219 w 5986"/>
                <a:gd name="connsiteY10" fmla="*/ 5611 h 7817"/>
                <a:gd name="connsiteX11" fmla="*/ 51 w 5986"/>
                <a:gd name="connsiteY11" fmla="*/ 5445 h 7817"/>
                <a:gd name="connsiteX12" fmla="*/ 2771 w 5986"/>
                <a:gd name="connsiteY12" fmla="*/ -1834 h 7817"/>
                <a:gd name="connsiteX13" fmla="*/ 2626 w 5986"/>
                <a:gd name="connsiteY13" fmla="*/ -2193 h 7817"/>
                <a:gd name="connsiteX14" fmla="*/ 2523 w 5986"/>
                <a:gd name="connsiteY14" fmla="*/ -2206 h 7817"/>
                <a:gd name="connsiteX15" fmla="*/ 2267 w 5986"/>
                <a:gd name="connsiteY15" fmla="*/ -2020 h 7817"/>
                <a:gd name="connsiteX16" fmla="*/ 1577 w 5986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86" h="7817">
                  <a:moveTo>
                    <a:pt x="-1807" y="376"/>
                  </a:moveTo>
                  <a:lnTo>
                    <a:pt x="1369" y="376"/>
                  </a:lnTo>
                  <a:lnTo>
                    <a:pt x="-205" y="4596"/>
                  </a:lnTo>
                  <a:close/>
                  <a:moveTo>
                    <a:pt x="1577" y="-176"/>
                  </a:moveTo>
                  <a:lnTo>
                    <a:pt x="-2001" y="-176"/>
                  </a:lnTo>
                  <a:lnTo>
                    <a:pt x="-2698" y="-2020"/>
                  </a:lnTo>
                  <a:lnTo>
                    <a:pt x="-2960" y="-2206"/>
                  </a:lnTo>
                  <a:lnTo>
                    <a:pt x="-3057" y="-2193"/>
                  </a:lnTo>
                  <a:lnTo>
                    <a:pt x="-3216" y="-1834"/>
                  </a:lnTo>
                  <a:lnTo>
                    <a:pt x="-488" y="5445"/>
                  </a:lnTo>
                  <a:lnTo>
                    <a:pt x="-219" y="5611"/>
                  </a:lnTo>
                  <a:lnTo>
                    <a:pt x="51" y="5445"/>
                  </a:lnTo>
                  <a:lnTo>
                    <a:pt x="2771" y="-1834"/>
                  </a:lnTo>
                  <a:lnTo>
                    <a:pt x="2626" y="-2193"/>
                  </a:lnTo>
                  <a:lnTo>
                    <a:pt x="2523" y="-2206"/>
                  </a:lnTo>
                  <a:lnTo>
                    <a:pt x="2267" y="-2020"/>
                  </a:lnTo>
                  <a:lnTo>
                    <a:pt x="1577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2D38A9A4-210B-2BF0-7447-7BEC85F25D4C}"/>
                </a:ext>
              </a:extLst>
            </p:cNvPr>
            <p:cNvSpPr/>
            <p:nvPr/>
          </p:nvSpPr>
          <p:spPr>
            <a:xfrm flipV="1">
              <a:off x="8983488" y="3069178"/>
              <a:ext cx="5109" cy="7851"/>
            </a:xfrm>
            <a:custGeom>
              <a:avLst/>
              <a:gdLst>
                <a:gd name="connsiteX0" fmla="*/ -739 w 5109"/>
                <a:gd name="connsiteY0" fmla="*/ 5100 h 7851"/>
                <a:gd name="connsiteX1" fmla="*/ -2679 w 5109"/>
                <a:gd name="connsiteY1" fmla="*/ 5100 h 7851"/>
                <a:gd name="connsiteX2" fmla="*/ -2679 w 5109"/>
                <a:gd name="connsiteY2" fmla="*/ 1709 h 7851"/>
                <a:gd name="connsiteX3" fmla="*/ -690 w 5109"/>
                <a:gd name="connsiteY3" fmla="*/ 1709 h 7851"/>
                <a:gd name="connsiteX4" fmla="*/ 953 w 5109"/>
                <a:gd name="connsiteY4" fmla="*/ 3401 h 7851"/>
                <a:gd name="connsiteX5" fmla="*/ -739 w 5109"/>
                <a:gd name="connsiteY5" fmla="*/ 5100 h 7851"/>
                <a:gd name="connsiteX6" fmla="*/ 836 w 5109"/>
                <a:gd name="connsiteY6" fmla="*/ -432 h 7851"/>
                <a:gd name="connsiteX7" fmla="*/ 193 w 5109"/>
                <a:gd name="connsiteY7" fmla="*/ 756 h 7851"/>
                <a:gd name="connsiteX8" fmla="*/ -718 w 5109"/>
                <a:gd name="connsiteY8" fmla="*/ 1150 h 7851"/>
                <a:gd name="connsiteX9" fmla="*/ -773 w 5109"/>
                <a:gd name="connsiteY9" fmla="*/ 1170 h 7851"/>
                <a:gd name="connsiteX10" fmla="*/ -2679 w 5109"/>
                <a:gd name="connsiteY10" fmla="*/ 1170 h 7851"/>
                <a:gd name="connsiteX11" fmla="*/ -2679 w 5109"/>
                <a:gd name="connsiteY11" fmla="*/ -1937 h 7851"/>
                <a:gd name="connsiteX12" fmla="*/ -2955 w 5109"/>
                <a:gd name="connsiteY12" fmla="*/ -2206 h 7851"/>
                <a:gd name="connsiteX13" fmla="*/ -3225 w 5109"/>
                <a:gd name="connsiteY13" fmla="*/ -1937 h 7851"/>
                <a:gd name="connsiteX14" fmla="*/ -3225 w 5109"/>
                <a:gd name="connsiteY14" fmla="*/ 5383 h 7851"/>
                <a:gd name="connsiteX15" fmla="*/ -2976 w 5109"/>
                <a:gd name="connsiteY15" fmla="*/ 5645 h 7851"/>
                <a:gd name="connsiteX16" fmla="*/ -2955 w 5109"/>
                <a:gd name="connsiteY16" fmla="*/ 5645 h 7851"/>
                <a:gd name="connsiteX17" fmla="*/ -2921 w 5109"/>
                <a:gd name="connsiteY17" fmla="*/ 5645 h 7851"/>
                <a:gd name="connsiteX18" fmla="*/ -739 w 5109"/>
                <a:gd name="connsiteY18" fmla="*/ 5645 h 7851"/>
                <a:gd name="connsiteX19" fmla="*/ 1499 w 5109"/>
                <a:gd name="connsiteY19" fmla="*/ 3401 h 7851"/>
                <a:gd name="connsiteX20" fmla="*/ 207 w 5109"/>
                <a:gd name="connsiteY20" fmla="*/ 1371 h 7851"/>
                <a:gd name="connsiteX21" fmla="*/ 318 w 5109"/>
                <a:gd name="connsiteY21" fmla="*/ 1322 h 7851"/>
                <a:gd name="connsiteX22" fmla="*/ 1374 w 5109"/>
                <a:gd name="connsiteY22" fmla="*/ -432 h 7851"/>
                <a:gd name="connsiteX23" fmla="*/ 1478 w 5109"/>
                <a:gd name="connsiteY23" fmla="*/ -1343 h 7851"/>
                <a:gd name="connsiteX24" fmla="*/ 1581 w 5109"/>
                <a:gd name="connsiteY24" fmla="*/ -1530 h 7851"/>
                <a:gd name="connsiteX25" fmla="*/ 1885 w 5109"/>
                <a:gd name="connsiteY25" fmla="*/ -1709 h 7851"/>
                <a:gd name="connsiteX26" fmla="*/ 1713 w 5109"/>
                <a:gd name="connsiteY26" fmla="*/ -2068 h 7851"/>
                <a:gd name="connsiteX27" fmla="*/ 1575 w 5109"/>
                <a:gd name="connsiteY27" fmla="*/ -2082 h 7851"/>
                <a:gd name="connsiteX28" fmla="*/ 1547 w 5109"/>
                <a:gd name="connsiteY28" fmla="*/ -2082 h 7851"/>
                <a:gd name="connsiteX29" fmla="*/ 1043 w 5109"/>
                <a:gd name="connsiteY29" fmla="*/ -1716 h 7851"/>
                <a:gd name="connsiteX30" fmla="*/ 836 w 5109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09" h="7851">
                  <a:moveTo>
                    <a:pt x="-739" y="5100"/>
                  </a:moveTo>
                  <a:lnTo>
                    <a:pt x="-2679" y="5100"/>
                  </a:lnTo>
                  <a:lnTo>
                    <a:pt x="-2679" y="1709"/>
                  </a:lnTo>
                  <a:lnTo>
                    <a:pt x="-690" y="1709"/>
                  </a:lnTo>
                  <a:cubicBezTo>
                    <a:pt x="214" y="1737"/>
                    <a:pt x="953" y="2482"/>
                    <a:pt x="953" y="3401"/>
                  </a:cubicBezTo>
                  <a:cubicBezTo>
                    <a:pt x="953" y="4347"/>
                    <a:pt x="193" y="5100"/>
                    <a:pt x="-739" y="5100"/>
                  </a:cubicBezTo>
                  <a:close/>
                  <a:moveTo>
                    <a:pt x="836" y="-432"/>
                  </a:moveTo>
                  <a:lnTo>
                    <a:pt x="193" y="756"/>
                  </a:lnTo>
                  <a:lnTo>
                    <a:pt x="-718" y="1150"/>
                  </a:lnTo>
                  <a:lnTo>
                    <a:pt x="-773" y="1170"/>
                  </a:lnTo>
                  <a:lnTo>
                    <a:pt x="-2679" y="1170"/>
                  </a:lnTo>
                  <a:lnTo>
                    <a:pt x="-2679" y="-1937"/>
                  </a:lnTo>
                  <a:lnTo>
                    <a:pt x="-2955" y="-2206"/>
                  </a:lnTo>
                  <a:lnTo>
                    <a:pt x="-3225" y="-1937"/>
                  </a:lnTo>
                  <a:lnTo>
                    <a:pt x="-3225" y="5383"/>
                  </a:lnTo>
                  <a:lnTo>
                    <a:pt x="-2976" y="5645"/>
                  </a:lnTo>
                  <a:lnTo>
                    <a:pt x="-2955" y="5645"/>
                  </a:lnTo>
                  <a:lnTo>
                    <a:pt x="-2921" y="5645"/>
                  </a:lnTo>
                  <a:lnTo>
                    <a:pt x="-739" y="5645"/>
                  </a:lnTo>
                  <a:cubicBezTo>
                    <a:pt x="497" y="5645"/>
                    <a:pt x="1499" y="4651"/>
                    <a:pt x="1499" y="3401"/>
                  </a:cubicBezTo>
                  <a:cubicBezTo>
                    <a:pt x="1499" y="2510"/>
                    <a:pt x="967" y="1737"/>
                    <a:pt x="207" y="1371"/>
                  </a:cubicBezTo>
                  <a:lnTo>
                    <a:pt x="318" y="1322"/>
                  </a:lnTo>
                  <a:cubicBezTo>
                    <a:pt x="836" y="1025"/>
                    <a:pt x="1374" y="459"/>
                    <a:pt x="1374" y="-432"/>
                  </a:cubicBezTo>
                  <a:lnTo>
                    <a:pt x="1478" y="-1343"/>
                  </a:lnTo>
                  <a:lnTo>
                    <a:pt x="1581" y="-1530"/>
                  </a:lnTo>
                  <a:lnTo>
                    <a:pt x="1885" y="-1709"/>
                  </a:lnTo>
                  <a:lnTo>
                    <a:pt x="1713" y="-2068"/>
                  </a:lnTo>
                  <a:lnTo>
                    <a:pt x="1575" y="-2082"/>
                  </a:lnTo>
                  <a:lnTo>
                    <a:pt x="1547" y="-2082"/>
                  </a:lnTo>
                  <a:lnTo>
                    <a:pt x="1043" y="-1716"/>
                  </a:lnTo>
                  <a:cubicBezTo>
                    <a:pt x="919" y="-1461"/>
                    <a:pt x="836" y="-1095"/>
                    <a:pt x="836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19DF37CA-1CBB-1275-BA39-F921A47FF7D0}"/>
                </a:ext>
              </a:extLst>
            </p:cNvPr>
            <p:cNvSpPr/>
            <p:nvPr/>
          </p:nvSpPr>
          <p:spPr>
            <a:xfrm flipV="1">
              <a:off x="8989875" y="3069282"/>
              <a:ext cx="5800" cy="7748"/>
            </a:xfrm>
            <a:custGeom>
              <a:avLst/>
              <a:gdLst>
                <a:gd name="connsiteX0" fmla="*/ -595 w 5800"/>
                <a:gd name="connsiteY0" fmla="*/ 1564 h 7748"/>
                <a:gd name="connsiteX1" fmla="*/ -3233 w 5800"/>
                <a:gd name="connsiteY1" fmla="*/ 5169 h 7748"/>
                <a:gd name="connsiteX2" fmla="*/ -3171 w 5800"/>
                <a:gd name="connsiteY2" fmla="*/ 5542 h 7748"/>
                <a:gd name="connsiteX3" fmla="*/ -2798 w 5800"/>
                <a:gd name="connsiteY3" fmla="*/ 5500 h 7748"/>
                <a:gd name="connsiteX4" fmla="*/ -340 w 5800"/>
                <a:gd name="connsiteY4" fmla="*/ 2123 h 7748"/>
                <a:gd name="connsiteX5" fmla="*/ 2126 w 5800"/>
                <a:gd name="connsiteY5" fmla="*/ 5500 h 7748"/>
                <a:gd name="connsiteX6" fmla="*/ 2512 w 5800"/>
                <a:gd name="connsiteY6" fmla="*/ 5542 h 7748"/>
                <a:gd name="connsiteX7" fmla="*/ 2567 w 5800"/>
                <a:gd name="connsiteY7" fmla="*/ 5169 h 7748"/>
                <a:gd name="connsiteX8" fmla="*/ -57 w 5800"/>
                <a:gd name="connsiteY8" fmla="*/ 1585 h 7748"/>
                <a:gd name="connsiteX9" fmla="*/ -57 w 5800"/>
                <a:gd name="connsiteY9" fmla="*/ -1937 h 7748"/>
                <a:gd name="connsiteX10" fmla="*/ -326 w 5800"/>
                <a:gd name="connsiteY10" fmla="*/ -2206 h 7748"/>
                <a:gd name="connsiteX11" fmla="*/ -595 w 5800"/>
                <a:gd name="connsiteY11" fmla="*/ -1937 h 7748"/>
                <a:gd name="connsiteX12" fmla="*/ -595 w 5800"/>
                <a:gd name="connsiteY12" fmla="*/ 1564 h 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00" h="7748">
                  <a:moveTo>
                    <a:pt x="-595" y="1564"/>
                  </a:moveTo>
                  <a:lnTo>
                    <a:pt x="-3233" y="5169"/>
                  </a:lnTo>
                  <a:lnTo>
                    <a:pt x="-3171" y="5542"/>
                  </a:lnTo>
                  <a:lnTo>
                    <a:pt x="-2798" y="5500"/>
                  </a:lnTo>
                  <a:lnTo>
                    <a:pt x="-340" y="2123"/>
                  </a:lnTo>
                  <a:lnTo>
                    <a:pt x="2126" y="5500"/>
                  </a:lnTo>
                  <a:lnTo>
                    <a:pt x="2512" y="5542"/>
                  </a:lnTo>
                  <a:lnTo>
                    <a:pt x="2567" y="5169"/>
                  </a:lnTo>
                  <a:lnTo>
                    <a:pt x="-57" y="1585"/>
                  </a:lnTo>
                  <a:lnTo>
                    <a:pt x="-57" y="-1937"/>
                  </a:lnTo>
                  <a:lnTo>
                    <a:pt x="-326" y="-2206"/>
                  </a:lnTo>
                  <a:lnTo>
                    <a:pt x="-595" y="-1937"/>
                  </a:lnTo>
                  <a:lnTo>
                    <a:pt x="-595" y="156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F5EC4B7B-936E-0AB2-A551-BE5E0763A366}"/>
                </a:ext>
              </a:extLst>
            </p:cNvPr>
            <p:cNvSpPr/>
            <p:nvPr/>
          </p:nvSpPr>
          <p:spPr>
            <a:xfrm flipV="1">
              <a:off x="9044463" y="3069178"/>
              <a:ext cx="4585" cy="7851"/>
            </a:xfrm>
            <a:custGeom>
              <a:avLst/>
              <a:gdLst>
                <a:gd name="connsiteX0" fmla="*/ -3301 w 4585"/>
                <a:gd name="connsiteY0" fmla="*/ 5383 h 7851"/>
                <a:gd name="connsiteX1" fmla="*/ -3045 w 4585"/>
                <a:gd name="connsiteY1" fmla="*/ 5645 h 7851"/>
                <a:gd name="connsiteX2" fmla="*/ 1015 w 4585"/>
                <a:gd name="connsiteY2" fmla="*/ 5645 h 7851"/>
                <a:gd name="connsiteX3" fmla="*/ 1284 w 4585"/>
                <a:gd name="connsiteY3" fmla="*/ 5383 h 7851"/>
                <a:gd name="connsiteX4" fmla="*/ 1015 w 4585"/>
                <a:gd name="connsiteY4" fmla="*/ 5100 h 7851"/>
                <a:gd name="connsiteX5" fmla="*/ -2755 w 4585"/>
                <a:gd name="connsiteY5" fmla="*/ 5100 h 7851"/>
                <a:gd name="connsiteX6" fmla="*/ -2755 w 4585"/>
                <a:gd name="connsiteY6" fmla="*/ 1992 h 7851"/>
                <a:gd name="connsiteX7" fmla="*/ 546 w 4585"/>
                <a:gd name="connsiteY7" fmla="*/ 1992 h 7851"/>
                <a:gd name="connsiteX8" fmla="*/ 829 w 4585"/>
                <a:gd name="connsiteY8" fmla="*/ 1709 h 7851"/>
                <a:gd name="connsiteX9" fmla="*/ 546 w 4585"/>
                <a:gd name="connsiteY9" fmla="*/ 1440 h 7851"/>
                <a:gd name="connsiteX10" fmla="*/ -2755 w 4585"/>
                <a:gd name="connsiteY10" fmla="*/ 1440 h 7851"/>
                <a:gd name="connsiteX11" fmla="*/ -2755 w 4585"/>
                <a:gd name="connsiteY11" fmla="*/ -1937 h 7851"/>
                <a:gd name="connsiteX12" fmla="*/ -3031 w 4585"/>
                <a:gd name="connsiteY12" fmla="*/ -2206 h 7851"/>
                <a:gd name="connsiteX13" fmla="*/ -3301 w 4585"/>
                <a:gd name="connsiteY13" fmla="*/ -1937 h 7851"/>
                <a:gd name="connsiteX14" fmla="*/ -3301 w 4585"/>
                <a:gd name="connsiteY14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585" h="7851">
                  <a:moveTo>
                    <a:pt x="-3301" y="5383"/>
                  </a:moveTo>
                  <a:lnTo>
                    <a:pt x="-3045" y="5645"/>
                  </a:lnTo>
                  <a:lnTo>
                    <a:pt x="1015" y="5645"/>
                  </a:lnTo>
                  <a:lnTo>
                    <a:pt x="1284" y="5383"/>
                  </a:lnTo>
                  <a:lnTo>
                    <a:pt x="1015" y="5100"/>
                  </a:lnTo>
                  <a:lnTo>
                    <a:pt x="-2755" y="5100"/>
                  </a:lnTo>
                  <a:lnTo>
                    <a:pt x="-2755" y="1992"/>
                  </a:lnTo>
                  <a:lnTo>
                    <a:pt x="546" y="1992"/>
                  </a:lnTo>
                  <a:lnTo>
                    <a:pt x="829" y="1709"/>
                  </a:lnTo>
                  <a:lnTo>
                    <a:pt x="546" y="1440"/>
                  </a:lnTo>
                  <a:lnTo>
                    <a:pt x="-2755" y="1440"/>
                  </a:lnTo>
                  <a:lnTo>
                    <a:pt x="-2755" y="-1937"/>
                  </a:lnTo>
                  <a:lnTo>
                    <a:pt x="-3031" y="-2206"/>
                  </a:lnTo>
                  <a:lnTo>
                    <a:pt x="-3301" y="-1937"/>
                  </a:lnTo>
                  <a:lnTo>
                    <a:pt x="-3301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0CA19C5C-940F-3210-9D66-B0BBEA9BE574}"/>
                </a:ext>
              </a:extLst>
            </p:cNvPr>
            <p:cNvSpPr/>
            <p:nvPr/>
          </p:nvSpPr>
          <p:spPr>
            <a:xfrm flipV="1">
              <a:off x="9051230" y="3069178"/>
              <a:ext cx="4578" cy="7851"/>
            </a:xfrm>
            <a:custGeom>
              <a:avLst/>
              <a:gdLst>
                <a:gd name="connsiteX0" fmla="*/ -3309 w 4578"/>
                <a:gd name="connsiteY0" fmla="*/ 5383 h 7851"/>
                <a:gd name="connsiteX1" fmla="*/ -3040 w 4578"/>
                <a:gd name="connsiteY1" fmla="*/ 5645 h 7851"/>
                <a:gd name="connsiteX2" fmla="*/ 1000 w 4578"/>
                <a:gd name="connsiteY2" fmla="*/ 5645 h 7851"/>
                <a:gd name="connsiteX3" fmla="*/ 1269 w 4578"/>
                <a:gd name="connsiteY3" fmla="*/ 5383 h 7851"/>
                <a:gd name="connsiteX4" fmla="*/ 1000 w 4578"/>
                <a:gd name="connsiteY4" fmla="*/ 5100 h 7851"/>
                <a:gd name="connsiteX5" fmla="*/ -2757 w 4578"/>
                <a:gd name="connsiteY5" fmla="*/ 5100 h 7851"/>
                <a:gd name="connsiteX6" fmla="*/ -2757 w 4578"/>
                <a:gd name="connsiteY6" fmla="*/ 1992 h 7851"/>
                <a:gd name="connsiteX7" fmla="*/ 523 w 4578"/>
                <a:gd name="connsiteY7" fmla="*/ 1992 h 7851"/>
                <a:gd name="connsiteX8" fmla="*/ 793 w 4578"/>
                <a:gd name="connsiteY8" fmla="*/ 1709 h 7851"/>
                <a:gd name="connsiteX9" fmla="*/ 523 w 4578"/>
                <a:gd name="connsiteY9" fmla="*/ 1440 h 7851"/>
                <a:gd name="connsiteX10" fmla="*/ -2757 w 4578"/>
                <a:gd name="connsiteY10" fmla="*/ 1440 h 7851"/>
                <a:gd name="connsiteX11" fmla="*/ -2757 w 4578"/>
                <a:gd name="connsiteY11" fmla="*/ -1654 h 7851"/>
                <a:gd name="connsiteX12" fmla="*/ 1000 w 4578"/>
                <a:gd name="connsiteY12" fmla="*/ -1654 h 7851"/>
                <a:gd name="connsiteX13" fmla="*/ 1269 w 4578"/>
                <a:gd name="connsiteY13" fmla="*/ -1937 h 7851"/>
                <a:gd name="connsiteX14" fmla="*/ 1000 w 4578"/>
                <a:gd name="connsiteY14" fmla="*/ -2206 h 7851"/>
                <a:gd name="connsiteX15" fmla="*/ -3012 w 4578"/>
                <a:gd name="connsiteY15" fmla="*/ -2206 h 7851"/>
                <a:gd name="connsiteX16" fmla="*/ -3040 w 4578"/>
                <a:gd name="connsiteY16" fmla="*/ -2206 h 7851"/>
                <a:gd name="connsiteX17" fmla="*/ -3061 w 4578"/>
                <a:gd name="connsiteY17" fmla="*/ -2206 h 7851"/>
                <a:gd name="connsiteX18" fmla="*/ -3309 w 4578"/>
                <a:gd name="connsiteY18" fmla="*/ -1937 h 7851"/>
                <a:gd name="connsiteX19" fmla="*/ -3309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3309" y="5383"/>
                  </a:moveTo>
                  <a:lnTo>
                    <a:pt x="-3040" y="5645"/>
                  </a:lnTo>
                  <a:lnTo>
                    <a:pt x="1000" y="5645"/>
                  </a:lnTo>
                  <a:lnTo>
                    <a:pt x="1269" y="5383"/>
                  </a:lnTo>
                  <a:lnTo>
                    <a:pt x="1000" y="5100"/>
                  </a:lnTo>
                  <a:lnTo>
                    <a:pt x="-2757" y="5100"/>
                  </a:lnTo>
                  <a:lnTo>
                    <a:pt x="-2757" y="1992"/>
                  </a:lnTo>
                  <a:lnTo>
                    <a:pt x="523" y="1992"/>
                  </a:lnTo>
                  <a:lnTo>
                    <a:pt x="793" y="1709"/>
                  </a:lnTo>
                  <a:lnTo>
                    <a:pt x="523" y="1440"/>
                  </a:lnTo>
                  <a:lnTo>
                    <a:pt x="-2757" y="1440"/>
                  </a:lnTo>
                  <a:lnTo>
                    <a:pt x="-2757" y="-1654"/>
                  </a:lnTo>
                  <a:lnTo>
                    <a:pt x="1000" y="-1654"/>
                  </a:lnTo>
                  <a:lnTo>
                    <a:pt x="1269" y="-1937"/>
                  </a:lnTo>
                  <a:lnTo>
                    <a:pt x="1000" y="-2206"/>
                  </a:lnTo>
                  <a:lnTo>
                    <a:pt x="-3012" y="-2206"/>
                  </a:lnTo>
                  <a:lnTo>
                    <a:pt x="-3040" y="-2206"/>
                  </a:lnTo>
                  <a:lnTo>
                    <a:pt x="-3061" y="-2206"/>
                  </a:lnTo>
                  <a:lnTo>
                    <a:pt x="-3309" y="-1937"/>
                  </a:lnTo>
                  <a:lnTo>
                    <a:pt x="-3309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5134317C-953C-0251-732C-9B8FBF88504B}"/>
                </a:ext>
              </a:extLst>
            </p:cNvPr>
            <p:cNvSpPr/>
            <p:nvPr/>
          </p:nvSpPr>
          <p:spPr>
            <a:xfrm flipV="1">
              <a:off x="9057860" y="3069178"/>
              <a:ext cx="4764" cy="7851"/>
            </a:xfrm>
            <a:custGeom>
              <a:avLst/>
              <a:gdLst>
                <a:gd name="connsiteX0" fmla="*/ -797 w 4764"/>
                <a:gd name="connsiteY0" fmla="*/ -1654 h 7851"/>
                <a:gd name="connsiteX1" fmla="*/ 894 w 4764"/>
                <a:gd name="connsiteY1" fmla="*/ 38 h 7851"/>
                <a:gd name="connsiteX2" fmla="*/ -797 w 4764"/>
                <a:gd name="connsiteY2" fmla="*/ 1737 h 7851"/>
                <a:gd name="connsiteX3" fmla="*/ -2758 w 4764"/>
                <a:gd name="connsiteY3" fmla="*/ 1737 h 7851"/>
                <a:gd name="connsiteX4" fmla="*/ -2758 w 4764"/>
                <a:gd name="connsiteY4" fmla="*/ -1654 h 7851"/>
                <a:gd name="connsiteX5" fmla="*/ -1295 w 4764"/>
                <a:gd name="connsiteY5" fmla="*/ 2296 h 7851"/>
                <a:gd name="connsiteX6" fmla="*/ 114 w 4764"/>
                <a:gd name="connsiteY6" fmla="*/ 3684 h 7851"/>
                <a:gd name="connsiteX7" fmla="*/ -1295 w 4764"/>
                <a:gd name="connsiteY7" fmla="*/ 5100 h 7851"/>
                <a:gd name="connsiteX8" fmla="*/ -2758 w 4764"/>
                <a:gd name="connsiteY8" fmla="*/ 5100 h 7851"/>
                <a:gd name="connsiteX9" fmla="*/ -2758 w 4764"/>
                <a:gd name="connsiteY9" fmla="*/ 2296 h 7851"/>
                <a:gd name="connsiteX10" fmla="*/ -3318 w 4764"/>
                <a:gd name="connsiteY10" fmla="*/ 5383 h 7851"/>
                <a:gd name="connsiteX11" fmla="*/ -3049 w 4764"/>
                <a:gd name="connsiteY11" fmla="*/ 5645 h 7851"/>
                <a:gd name="connsiteX12" fmla="*/ -1295 w 4764"/>
                <a:gd name="connsiteY12" fmla="*/ 5645 h 7851"/>
                <a:gd name="connsiteX13" fmla="*/ 660 w 4764"/>
                <a:gd name="connsiteY13" fmla="*/ 3684 h 7851"/>
                <a:gd name="connsiteX14" fmla="*/ -93 w 4764"/>
                <a:gd name="connsiteY14" fmla="*/ 2158 h 7851"/>
                <a:gd name="connsiteX15" fmla="*/ 1447 w 4764"/>
                <a:gd name="connsiteY15" fmla="*/ 38 h 7851"/>
                <a:gd name="connsiteX16" fmla="*/ -797 w 4764"/>
                <a:gd name="connsiteY16" fmla="*/ -2206 h 7851"/>
                <a:gd name="connsiteX17" fmla="*/ -3014 w 4764"/>
                <a:gd name="connsiteY17" fmla="*/ -2206 h 7851"/>
                <a:gd name="connsiteX18" fmla="*/ -3049 w 4764"/>
                <a:gd name="connsiteY18" fmla="*/ -2206 h 7851"/>
                <a:gd name="connsiteX19" fmla="*/ -3049 w 4764"/>
                <a:gd name="connsiteY19" fmla="*/ -2206 h 7851"/>
                <a:gd name="connsiteX20" fmla="*/ -3318 w 4764"/>
                <a:gd name="connsiteY20" fmla="*/ -1937 h 7851"/>
                <a:gd name="connsiteX21" fmla="*/ -3318 w 4764"/>
                <a:gd name="connsiteY21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764" h="7851">
                  <a:moveTo>
                    <a:pt x="-797" y="-1654"/>
                  </a:moveTo>
                  <a:cubicBezTo>
                    <a:pt x="128" y="-1654"/>
                    <a:pt x="888" y="-901"/>
                    <a:pt x="894" y="38"/>
                  </a:cubicBezTo>
                  <a:cubicBezTo>
                    <a:pt x="888" y="970"/>
                    <a:pt x="128" y="1737"/>
                    <a:pt x="-797" y="1737"/>
                  </a:cubicBezTo>
                  <a:lnTo>
                    <a:pt x="-2758" y="1737"/>
                  </a:lnTo>
                  <a:lnTo>
                    <a:pt x="-2758" y="-1654"/>
                  </a:lnTo>
                  <a:close/>
                  <a:moveTo>
                    <a:pt x="-1295" y="2296"/>
                  </a:moveTo>
                  <a:cubicBezTo>
                    <a:pt x="-514" y="2296"/>
                    <a:pt x="114" y="2924"/>
                    <a:pt x="114" y="3684"/>
                  </a:cubicBezTo>
                  <a:cubicBezTo>
                    <a:pt x="114" y="4471"/>
                    <a:pt x="-514" y="5100"/>
                    <a:pt x="-1295" y="5100"/>
                  </a:cubicBezTo>
                  <a:lnTo>
                    <a:pt x="-2758" y="5100"/>
                  </a:lnTo>
                  <a:lnTo>
                    <a:pt x="-2758" y="2296"/>
                  </a:lnTo>
                  <a:close/>
                  <a:moveTo>
                    <a:pt x="-3318" y="5383"/>
                  </a:moveTo>
                  <a:lnTo>
                    <a:pt x="-3049" y="5645"/>
                  </a:lnTo>
                  <a:lnTo>
                    <a:pt x="-1295" y="5645"/>
                  </a:lnTo>
                  <a:cubicBezTo>
                    <a:pt x="-217" y="5645"/>
                    <a:pt x="660" y="4775"/>
                    <a:pt x="660" y="3684"/>
                  </a:cubicBezTo>
                  <a:lnTo>
                    <a:pt x="-93" y="2158"/>
                  </a:lnTo>
                  <a:cubicBezTo>
                    <a:pt x="791" y="1854"/>
                    <a:pt x="1447" y="1025"/>
                    <a:pt x="1447" y="38"/>
                  </a:cubicBezTo>
                  <a:cubicBezTo>
                    <a:pt x="1447" y="-1205"/>
                    <a:pt x="432" y="-2206"/>
                    <a:pt x="-797" y="-2206"/>
                  </a:cubicBezTo>
                  <a:lnTo>
                    <a:pt x="-3014" y="-2206"/>
                  </a:lnTo>
                  <a:lnTo>
                    <a:pt x="-3049" y="-2206"/>
                  </a:lnTo>
                  <a:lnTo>
                    <a:pt x="-3049" y="-2206"/>
                  </a:lnTo>
                  <a:lnTo>
                    <a:pt x="-3318" y="-1937"/>
                  </a:lnTo>
                  <a:lnTo>
                    <a:pt x="-3318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CC32A706-9FFA-7DA6-6566-8E04832A385F}"/>
                </a:ext>
              </a:extLst>
            </p:cNvPr>
            <p:cNvSpPr/>
            <p:nvPr/>
          </p:nvSpPr>
          <p:spPr>
            <a:xfrm flipV="1">
              <a:off x="9064358" y="3069178"/>
              <a:ext cx="5110" cy="7851"/>
            </a:xfrm>
            <a:custGeom>
              <a:avLst/>
              <a:gdLst>
                <a:gd name="connsiteX0" fmla="*/ -840 w 5110"/>
                <a:gd name="connsiteY0" fmla="*/ 5100 h 7851"/>
                <a:gd name="connsiteX1" fmla="*/ -2774 w 5110"/>
                <a:gd name="connsiteY1" fmla="*/ 5100 h 7851"/>
                <a:gd name="connsiteX2" fmla="*/ -2774 w 5110"/>
                <a:gd name="connsiteY2" fmla="*/ 1709 h 7851"/>
                <a:gd name="connsiteX3" fmla="*/ -792 w 5110"/>
                <a:gd name="connsiteY3" fmla="*/ 1709 h 7851"/>
                <a:gd name="connsiteX4" fmla="*/ 852 w 5110"/>
                <a:gd name="connsiteY4" fmla="*/ 3401 h 7851"/>
                <a:gd name="connsiteX5" fmla="*/ -840 w 5110"/>
                <a:gd name="connsiteY5" fmla="*/ 5100 h 7851"/>
                <a:gd name="connsiteX6" fmla="*/ 734 w 5110"/>
                <a:gd name="connsiteY6" fmla="*/ -432 h 7851"/>
                <a:gd name="connsiteX7" fmla="*/ 92 w 5110"/>
                <a:gd name="connsiteY7" fmla="*/ 756 h 7851"/>
                <a:gd name="connsiteX8" fmla="*/ -812 w 5110"/>
                <a:gd name="connsiteY8" fmla="*/ 1150 h 7851"/>
                <a:gd name="connsiteX9" fmla="*/ -875 w 5110"/>
                <a:gd name="connsiteY9" fmla="*/ 1170 h 7851"/>
                <a:gd name="connsiteX10" fmla="*/ -2774 w 5110"/>
                <a:gd name="connsiteY10" fmla="*/ 1170 h 7851"/>
                <a:gd name="connsiteX11" fmla="*/ -2774 w 5110"/>
                <a:gd name="connsiteY11" fmla="*/ -1937 h 7851"/>
                <a:gd name="connsiteX12" fmla="*/ -3057 w 5110"/>
                <a:gd name="connsiteY12" fmla="*/ -2206 h 7851"/>
                <a:gd name="connsiteX13" fmla="*/ -3326 w 5110"/>
                <a:gd name="connsiteY13" fmla="*/ -1937 h 7851"/>
                <a:gd name="connsiteX14" fmla="*/ -3326 w 5110"/>
                <a:gd name="connsiteY14" fmla="*/ 5383 h 7851"/>
                <a:gd name="connsiteX15" fmla="*/ -3078 w 5110"/>
                <a:gd name="connsiteY15" fmla="*/ 5645 h 7851"/>
                <a:gd name="connsiteX16" fmla="*/ -3057 w 5110"/>
                <a:gd name="connsiteY16" fmla="*/ 5645 h 7851"/>
                <a:gd name="connsiteX17" fmla="*/ -3022 w 5110"/>
                <a:gd name="connsiteY17" fmla="*/ 5645 h 7851"/>
                <a:gd name="connsiteX18" fmla="*/ -840 w 5110"/>
                <a:gd name="connsiteY18" fmla="*/ 5645 h 7851"/>
                <a:gd name="connsiteX19" fmla="*/ 1390 w 5110"/>
                <a:gd name="connsiteY19" fmla="*/ 3401 h 7851"/>
                <a:gd name="connsiteX20" fmla="*/ 106 w 5110"/>
                <a:gd name="connsiteY20" fmla="*/ 1371 h 7851"/>
                <a:gd name="connsiteX21" fmla="*/ 223 w 5110"/>
                <a:gd name="connsiteY21" fmla="*/ 1322 h 7851"/>
                <a:gd name="connsiteX22" fmla="*/ 1273 w 5110"/>
                <a:gd name="connsiteY22" fmla="*/ -432 h 7851"/>
                <a:gd name="connsiteX23" fmla="*/ 1376 w 5110"/>
                <a:gd name="connsiteY23" fmla="*/ -1343 h 7851"/>
                <a:gd name="connsiteX24" fmla="*/ 1480 w 5110"/>
                <a:gd name="connsiteY24" fmla="*/ -1530 h 7851"/>
                <a:gd name="connsiteX25" fmla="*/ 1784 w 5110"/>
                <a:gd name="connsiteY25" fmla="*/ -1709 h 7851"/>
                <a:gd name="connsiteX26" fmla="*/ 1611 w 5110"/>
                <a:gd name="connsiteY26" fmla="*/ -2068 h 7851"/>
                <a:gd name="connsiteX27" fmla="*/ 1473 w 5110"/>
                <a:gd name="connsiteY27" fmla="*/ -2082 h 7851"/>
                <a:gd name="connsiteX28" fmla="*/ 1453 w 5110"/>
                <a:gd name="connsiteY28" fmla="*/ -2082 h 7851"/>
                <a:gd name="connsiteX29" fmla="*/ 948 w 5110"/>
                <a:gd name="connsiteY29" fmla="*/ -1716 h 7851"/>
                <a:gd name="connsiteX30" fmla="*/ 734 w 5110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10" h="7851">
                  <a:moveTo>
                    <a:pt x="-840" y="5100"/>
                  </a:moveTo>
                  <a:lnTo>
                    <a:pt x="-2774" y="5100"/>
                  </a:lnTo>
                  <a:lnTo>
                    <a:pt x="-2774" y="1709"/>
                  </a:lnTo>
                  <a:lnTo>
                    <a:pt x="-792" y="1709"/>
                  </a:lnTo>
                  <a:cubicBezTo>
                    <a:pt x="120" y="1737"/>
                    <a:pt x="852" y="2482"/>
                    <a:pt x="852" y="3401"/>
                  </a:cubicBezTo>
                  <a:cubicBezTo>
                    <a:pt x="852" y="4347"/>
                    <a:pt x="92" y="5100"/>
                    <a:pt x="-840" y="5100"/>
                  </a:cubicBezTo>
                  <a:close/>
                  <a:moveTo>
                    <a:pt x="734" y="-432"/>
                  </a:moveTo>
                  <a:lnTo>
                    <a:pt x="92" y="756"/>
                  </a:lnTo>
                  <a:lnTo>
                    <a:pt x="-812" y="1150"/>
                  </a:lnTo>
                  <a:lnTo>
                    <a:pt x="-875" y="1170"/>
                  </a:lnTo>
                  <a:lnTo>
                    <a:pt x="-2774" y="1170"/>
                  </a:lnTo>
                  <a:lnTo>
                    <a:pt x="-2774" y="-1937"/>
                  </a:lnTo>
                  <a:lnTo>
                    <a:pt x="-3057" y="-2206"/>
                  </a:lnTo>
                  <a:lnTo>
                    <a:pt x="-3326" y="-1937"/>
                  </a:lnTo>
                  <a:lnTo>
                    <a:pt x="-3326" y="5383"/>
                  </a:lnTo>
                  <a:lnTo>
                    <a:pt x="-3078" y="5645"/>
                  </a:lnTo>
                  <a:lnTo>
                    <a:pt x="-3057" y="5645"/>
                  </a:lnTo>
                  <a:lnTo>
                    <a:pt x="-3022" y="5645"/>
                  </a:lnTo>
                  <a:lnTo>
                    <a:pt x="-840" y="5645"/>
                  </a:lnTo>
                  <a:cubicBezTo>
                    <a:pt x="396" y="5645"/>
                    <a:pt x="1390" y="4651"/>
                    <a:pt x="1390" y="3401"/>
                  </a:cubicBezTo>
                  <a:cubicBezTo>
                    <a:pt x="1390" y="2510"/>
                    <a:pt x="865" y="1737"/>
                    <a:pt x="106" y="1371"/>
                  </a:cubicBezTo>
                  <a:lnTo>
                    <a:pt x="223" y="1322"/>
                  </a:lnTo>
                  <a:cubicBezTo>
                    <a:pt x="734" y="1025"/>
                    <a:pt x="1273" y="459"/>
                    <a:pt x="1273" y="-432"/>
                  </a:cubicBezTo>
                  <a:lnTo>
                    <a:pt x="1376" y="-1343"/>
                  </a:lnTo>
                  <a:lnTo>
                    <a:pt x="1480" y="-1530"/>
                  </a:lnTo>
                  <a:lnTo>
                    <a:pt x="1784" y="-1709"/>
                  </a:lnTo>
                  <a:lnTo>
                    <a:pt x="1611" y="-2068"/>
                  </a:lnTo>
                  <a:lnTo>
                    <a:pt x="1473" y="-2082"/>
                  </a:lnTo>
                  <a:lnTo>
                    <a:pt x="1453" y="-2082"/>
                  </a:lnTo>
                  <a:lnTo>
                    <a:pt x="948" y="-1716"/>
                  </a:lnTo>
                  <a:cubicBezTo>
                    <a:pt x="810" y="-1461"/>
                    <a:pt x="734" y="-1095"/>
                    <a:pt x="734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CC04D53D-40E2-729A-D51B-C3F3FD1E7C5D}"/>
                </a:ext>
              </a:extLst>
            </p:cNvPr>
            <p:cNvSpPr/>
            <p:nvPr/>
          </p:nvSpPr>
          <p:spPr>
            <a:xfrm flipV="1">
              <a:off x="9070842" y="3069178"/>
              <a:ext cx="6352" cy="7851"/>
            </a:xfrm>
            <a:custGeom>
              <a:avLst/>
              <a:gdLst>
                <a:gd name="connsiteX0" fmla="*/ -3335 w 6352"/>
                <a:gd name="connsiteY0" fmla="*/ 5383 h 7851"/>
                <a:gd name="connsiteX1" fmla="*/ -3066 w 6352"/>
                <a:gd name="connsiteY1" fmla="*/ 5645 h 7851"/>
                <a:gd name="connsiteX2" fmla="*/ -2783 w 6352"/>
                <a:gd name="connsiteY2" fmla="*/ 5383 h 7851"/>
                <a:gd name="connsiteX3" fmla="*/ -2783 w 6352"/>
                <a:gd name="connsiteY3" fmla="*/ 970 h 7851"/>
                <a:gd name="connsiteX4" fmla="*/ -173 w 6352"/>
                <a:gd name="connsiteY4" fmla="*/ -1654 h 7851"/>
                <a:gd name="connsiteX5" fmla="*/ 2465 w 6352"/>
                <a:gd name="connsiteY5" fmla="*/ 970 h 7851"/>
                <a:gd name="connsiteX6" fmla="*/ 2465 w 6352"/>
                <a:gd name="connsiteY6" fmla="*/ 5383 h 7851"/>
                <a:gd name="connsiteX7" fmla="*/ 2735 w 6352"/>
                <a:gd name="connsiteY7" fmla="*/ 5645 h 7851"/>
                <a:gd name="connsiteX8" fmla="*/ 3018 w 6352"/>
                <a:gd name="connsiteY8" fmla="*/ 5383 h 7851"/>
                <a:gd name="connsiteX9" fmla="*/ 3018 w 6352"/>
                <a:gd name="connsiteY9" fmla="*/ 970 h 7851"/>
                <a:gd name="connsiteX10" fmla="*/ -173 w 6352"/>
                <a:gd name="connsiteY10" fmla="*/ -2206 h 7851"/>
                <a:gd name="connsiteX11" fmla="*/ -3335 w 6352"/>
                <a:gd name="connsiteY11" fmla="*/ 970 h 7851"/>
                <a:gd name="connsiteX12" fmla="*/ -3335 w 6352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52" h="7851">
                  <a:moveTo>
                    <a:pt x="-3335" y="5383"/>
                  </a:moveTo>
                  <a:lnTo>
                    <a:pt x="-3066" y="5645"/>
                  </a:lnTo>
                  <a:lnTo>
                    <a:pt x="-2783" y="5383"/>
                  </a:lnTo>
                  <a:lnTo>
                    <a:pt x="-2783" y="970"/>
                  </a:lnTo>
                  <a:cubicBezTo>
                    <a:pt x="-2783" y="-480"/>
                    <a:pt x="-1602" y="-1640"/>
                    <a:pt x="-173" y="-1654"/>
                  </a:cubicBezTo>
                  <a:cubicBezTo>
                    <a:pt x="1292" y="-1640"/>
                    <a:pt x="2465" y="-480"/>
                    <a:pt x="2465" y="970"/>
                  </a:cubicBezTo>
                  <a:lnTo>
                    <a:pt x="2465" y="5383"/>
                  </a:lnTo>
                  <a:lnTo>
                    <a:pt x="2735" y="5645"/>
                  </a:lnTo>
                  <a:lnTo>
                    <a:pt x="3018" y="5383"/>
                  </a:lnTo>
                  <a:lnTo>
                    <a:pt x="3018" y="970"/>
                  </a:lnTo>
                  <a:cubicBezTo>
                    <a:pt x="3018" y="-777"/>
                    <a:pt x="1595" y="-2206"/>
                    <a:pt x="-173" y="-2206"/>
                  </a:cubicBezTo>
                  <a:cubicBezTo>
                    <a:pt x="-1906" y="-2206"/>
                    <a:pt x="-3335" y="-777"/>
                    <a:pt x="-3335" y="970"/>
                  </a:cubicBezTo>
                  <a:lnTo>
                    <a:pt x="-3335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9881B4E3-B752-62AF-AC57-F83B2DEE374E}"/>
                </a:ext>
              </a:extLst>
            </p:cNvPr>
            <p:cNvSpPr/>
            <p:nvPr/>
          </p:nvSpPr>
          <p:spPr>
            <a:xfrm flipV="1">
              <a:off x="9078894" y="3069213"/>
              <a:ext cx="5993" cy="7817"/>
            </a:xfrm>
            <a:custGeom>
              <a:avLst/>
              <a:gdLst>
                <a:gd name="connsiteX0" fmla="*/ -1936 w 5993"/>
                <a:gd name="connsiteY0" fmla="*/ 376 h 7817"/>
                <a:gd name="connsiteX1" fmla="*/ 1240 w 5993"/>
                <a:gd name="connsiteY1" fmla="*/ 376 h 7817"/>
                <a:gd name="connsiteX2" fmla="*/ -341 w 5993"/>
                <a:gd name="connsiteY2" fmla="*/ 4596 h 7817"/>
                <a:gd name="connsiteX3" fmla="*/ 1447 w 5993"/>
                <a:gd name="connsiteY3" fmla="*/ -176 h 7817"/>
                <a:gd name="connsiteX4" fmla="*/ -2137 w 5993"/>
                <a:gd name="connsiteY4" fmla="*/ -176 h 7817"/>
                <a:gd name="connsiteX5" fmla="*/ -2827 w 5993"/>
                <a:gd name="connsiteY5" fmla="*/ -2020 h 7817"/>
                <a:gd name="connsiteX6" fmla="*/ -3089 w 5993"/>
                <a:gd name="connsiteY6" fmla="*/ -2206 h 7817"/>
                <a:gd name="connsiteX7" fmla="*/ -3186 w 5993"/>
                <a:gd name="connsiteY7" fmla="*/ -2193 h 7817"/>
                <a:gd name="connsiteX8" fmla="*/ -3345 w 5993"/>
                <a:gd name="connsiteY8" fmla="*/ -1834 h 7817"/>
                <a:gd name="connsiteX9" fmla="*/ -617 w 5993"/>
                <a:gd name="connsiteY9" fmla="*/ 5445 h 7817"/>
                <a:gd name="connsiteX10" fmla="*/ -348 w 5993"/>
                <a:gd name="connsiteY10" fmla="*/ 5611 h 7817"/>
                <a:gd name="connsiteX11" fmla="*/ -79 w 5993"/>
                <a:gd name="connsiteY11" fmla="*/ 5445 h 7817"/>
                <a:gd name="connsiteX12" fmla="*/ 2649 w 5993"/>
                <a:gd name="connsiteY12" fmla="*/ -1834 h 7817"/>
                <a:gd name="connsiteX13" fmla="*/ 2497 w 5993"/>
                <a:gd name="connsiteY13" fmla="*/ -2193 h 7817"/>
                <a:gd name="connsiteX14" fmla="*/ 2394 w 5993"/>
                <a:gd name="connsiteY14" fmla="*/ -2206 h 7817"/>
                <a:gd name="connsiteX15" fmla="*/ 2138 w 5993"/>
                <a:gd name="connsiteY15" fmla="*/ -2020 h 7817"/>
                <a:gd name="connsiteX16" fmla="*/ 1447 w 5993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93" h="7817">
                  <a:moveTo>
                    <a:pt x="-1936" y="376"/>
                  </a:moveTo>
                  <a:lnTo>
                    <a:pt x="1240" y="376"/>
                  </a:lnTo>
                  <a:lnTo>
                    <a:pt x="-341" y="4596"/>
                  </a:lnTo>
                  <a:close/>
                  <a:moveTo>
                    <a:pt x="1447" y="-176"/>
                  </a:moveTo>
                  <a:lnTo>
                    <a:pt x="-2137" y="-176"/>
                  </a:lnTo>
                  <a:lnTo>
                    <a:pt x="-2827" y="-2020"/>
                  </a:lnTo>
                  <a:lnTo>
                    <a:pt x="-3089" y="-2206"/>
                  </a:lnTo>
                  <a:lnTo>
                    <a:pt x="-3186" y="-2193"/>
                  </a:lnTo>
                  <a:lnTo>
                    <a:pt x="-3345" y="-1834"/>
                  </a:lnTo>
                  <a:lnTo>
                    <a:pt x="-617" y="5445"/>
                  </a:lnTo>
                  <a:lnTo>
                    <a:pt x="-348" y="5611"/>
                  </a:lnTo>
                  <a:lnTo>
                    <a:pt x="-79" y="5445"/>
                  </a:lnTo>
                  <a:lnTo>
                    <a:pt x="2649" y="-1834"/>
                  </a:lnTo>
                  <a:lnTo>
                    <a:pt x="2497" y="-2193"/>
                  </a:lnTo>
                  <a:lnTo>
                    <a:pt x="2394" y="-2206"/>
                  </a:lnTo>
                  <a:lnTo>
                    <a:pt x="2138" y="-2020"/>
                  </a:lnTo>
                  <a:lnTo>
                    <a:pt x="1447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96F68B9A-7360-A191-93FF-01BC3FE9CC23}"/>
                </a:ext>
              </a:extLst>
            </p:cNvPr>
            <p:cNvSpPr/>
            <p:nvPr/>
          </p:nvSpPr>
          <p:spPr>
            <a:xfrm flipV="1">
              <a:off x="9086462" y="3069178"/>
              <a:ext cx="5110" cy="7851"/>
            </a:xfrm>
            <a:custGeom>
              <a:avLst/>
              <a:gdLst>
                <a:gd name="connsiteX0" fmla="*/ -868 w 5110"/>
                <a:gd name="connsiteY0" fmla="*/ 5100 h 7851"/>
                <a:gd name="connsiteX1" fmla="*/ -2808 w 5110"/>
                <a:gd name="connsiteY1" fmla="*/ 5100 h 7851"/>
                <a:gd name="connsiteX2" fmla="*/ -2808 w 5110"/>
                <a:gd name="connsiteY2" fmla="*/ 1709 h 7851"/>
                <a:gd name="connsiteX3" fmla="*/ -826 w 5110"/>
                <a:gd name="connsiteY3" fmla="*/ 1709 h 7851"/>
                <a:gd name="connsiteX4" fmla="*/ 824 w 5110"/>
                <a:gd name="connsiteY4" fmla="*/ 3401 h 7851"/>
                <a:gd name="connsiteX5" fmla="*/ -868 w 5110"/>
                <a:gd name="connsiteY5" fmla="*/ 5100 h 7851"/>
                <a:gd name="connsiteX6" fmla="*/ 707 w 5110"/>
                <a:gd name="connsiteY6" fmla="*/ -432 h 7851"/>
                <a:gd name="connsiteX7" fmla="*/ 64 w 5110"/>
                <a:gd name="connsiteY7" fmla="*/ 756 h 7851"/>
                <a:gd name="connsiteX8" fmla="*/ -847 w 5110"/>
                <a:gd name="connsiteY8" fmla="*/ 1150 h 7851"/>
                <a:gd name="connsiteX9" fmla="*/ -902 w 5110"/>
                <a:gd name="connsiteY9" fmla="*/ 1170 h 7851"/>
                <a:gd name="connsiteX10" fmla="*/ -2808 w 5110"/>
                <a:gd name="connsiteY10" fmla="*/ 1170 h 7851"/>
                <a:gd name="connsiteX11" fmla="*/ -2808 w 5110"/>
                <a:gd name="connsiteY11" fmla="*/ -1937 h 7851"/>
                <a:gd name="connsiteX12" fmla="*/ -3085 w 5110"/>
                <a:gd name="connsiteY12" fmla="*/ -2206 h 7851"/>
                <a:gd name="connsiteX13" fmla="*/ -3354 w 5110"/>
                <a:gd name="connsiteY13" fmla="*/ -1937 h 7851"/>
                <a:gd name="connsiteX14" fmla="*/ -3354 w 5110"/>
                <a:gd name="connsiteY14" fmla="*/ 5383 h 7851"/>
                <a:gd name="connsiteX15" fmla="*/ -3112 w 5110"/>
                <a:gd name="connsiteY15" fmla="*/ 5645 h 7851"/>
                <a:gd name="connsiteX16" fmla="*/ -3085 w 5110"/>
                <a:gd name="connsiteY16" fmla="*/ 5645 h 7851"/>
                <a:gd name="connsiteX17" fmla="*/ -3057 w 5110"/>
                <a:gd name="connsiteY17" fmla="*/ 5645 h 7851"/>
                <a:gd name="connsiteX18" fmla="*/ -868 w 5110"/>
                <a:gd name="connsiteY18" fmla="*/ 5645 h 7851"/>
                <a:gd name="connsiteX19" fmla="*/ 1369 w 5110"/>
                <a:gd name="connsiteY19" fmla="*/ 3401 h 7851"/>
                <a:gd name="connsiteX20" fmla="*/ 71 w 5110"/>
                <a:gd name="connsiteY20" fmla="*/ 1371 h 7851"/>
                <a:gd name="connsiteX21" fmla="*/ 189 w 5110"/>
                <a:gd name="connsiteY21" fmla="*/ 1322 h 7851"/>
                <a:gd name="connsiteX22" fmla="*/ 1238 w 5110"/>
                <a:gd name="connsiteY22" fmla="*/ -432 h 7851"/>
                <a:gd name="connsiteX23" fmla="*/ 1342 w 5110"/>
                <a:gd name="connsiteY23" fmla="*/ -1343 h 7851"/>
                <a:gd name="connsiteX24" fmla="*/ 1452 w 5110"/>
                <a:gd name="connsiteY24" fmla="*/ -1530 h 7851"/>
                <a:gd name="connsiteX25" fmla="*/ 1756 w 5110"/>
                <a:gd name="connsiteY25" fmla="*/ -1709 h 7851"/>
                <a:gd name="connsiteX26" fmla="*/ 1577 w 5110"/>
                <a:gd name="connsiteY26" fmla="*/ -2068 h 7851"/>
                <a:gd name="connsiteX27" fmla="*/ 1438 w 5110"/>
                <a:gd name="connsiteY27" fmla="*/ -2082 h 7851"/>
                <a:gd name="connsiteX28" fmla="*/ 1418 w 5110"/>
                <a:gd name="connsiteY28" fmla="*/ -2082 h 7851"/>
                <a:gd name="connsiteX29" fmla="*/ 914 w 5110"/>
                <a:gd name="connsiteY29" fmla="*/ -1716 h 7851"/>
                <a:gd name="connsiteX30" fmla="*/ 707 w 5110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10" h="7851">
                  <a:moveTo>
                    <a:pt x="-868" y="5100"/>
                  </a:moveTo>
                  <a:lnTo>
                    <a:pt x="-2808" y="5100"/>
                  </a:lnTo>
                  <a:lnTo>
                    <a:pt x="-2808" y="1709"/>
                  </a:lnTo>
                  <a:lnTo>
                    <a:pt x="-826" y="1709"/>
                  </a:lnTo>
                  <a:cubicBezTo>
                    <a:pt x="85" y="1737"/>
                    <a:pt x="824" y="2482"/>
                    <a:pt x="824" y="3401"/>
                  </a:cubicBezTo>
                  <a:cubicBezTo>
                    <a:pt x="824" y="4347"/>
                    <a:pt x="64" y="5100"/>
                    <a:pt x="-868" y="5100"/>
                  </a:cubicBezTo>
                  <a:close/>
                  <a:moveTo>
                    <a:pt x="707" y="-432"/>
                  </a:moveTo>
                  <a:lnTo>
                    <a:pt x="64" y="756"/>
                  </a:lnTo>
                  <a:lnTo>
                    <a:pt x="-847" y="1150"/>
                  </a:lnTo>
                  <a:lnTo>
                    <a:pt x="-902" y="1170"/>
                  </a:lnTo>
                  <a:lnTo>
                    <a:pt x="-2808" y="1170"/>
                  </a:lnTo>
                  <a:lnTo>
                    <a:pt x="-2808" y="-1937"/>
                  </a:lnTo>
                  <a:lnTo>
                    <a:pt x="-3085" y="-2206"/>
                  </a:lnTo>
                  <a:lnTo>
                    <a:pt x="-3354" y="-1937"/>
                  </a:lnTo>
                  <a:lnTo>
                    <a:pt x="-3354" y="5383"/>
                  </a:lnTo>
                  <a:lnTo>
                    <a:pt x="-3112" y="5645"/>
                  </a:lnTo>
                  <a:lnTo>
                    <a:pt x="-3085" y="5645"/>
                  </a:lnTo>
                  <a:lnTo>
                    <a:pt x="-3057" y="5645"/>
                  </a:lnTo>
                  <a:lnTo>
                    <a:pt x="-868" y="5645"/>
                  </a:lnTo>
                  <a:cubicBezTo>
                    <a:pt x="368" y="5645"/>
                    <a:pt x="1369" y="4651"/>
                    <a:pt x="1369" y="3401"/>
                  </a:cubicBezTo>
                  <a:cubicBezTo>
                    <a:pt x="1369" y="2510"/>
                    <a:pt x="838" y="1737"/>
                    <a:pt x="71" y="1371"/>
                  </a:cubicBezTo>
                  <a:lnTo>
                    <a:pt x="189" y="1322"/>
                  </a:lnTo>
                  <a:cubicBezTo>
                    <a:pt x="707" y="1025"/>
                    <a:pt x="1238" y="459"/>
                    <a:pt x="1238" y="-432"/>
                  </a:cubicBezTo>
                  <a:lnTo>
                    <a:pt x="1342" y="-1343"/>
                  </a:lnTo>
                  <a:lnTo>
                    <a:pt x="1452" y="-1530"/>
                  </a:lnTo>
                  <a:lnTo>
                    <a:pt x="1756" y="-1709"/>
                  </a:lnTo>
                  <a:lnTo>
                    <a:pt x="1577" y="-2068"/>
                  </a:lnTo>
                  <a:lnTo>
                    <a:pt x="1438" y="-2082"/>
                  </a:lnTo>
                  <a:lnTo>
                    <a:pt x="1418" y="-2082"/>
                  </a:lnTo>
                  <a:lnTo>
                    <a:pt x="914" y="-1716"/>
                  </a:lnTo>
                  <a:cubicBezTo>
                    <a:pt x="782" y="-1461"/>
                    <a:pt x="707" y="-1095"/>
                    <a:pt x="707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A21CDD95-F489-0F33-A226-170671E26914}"/>
                </a:ext>
              </a:extLst>
            </p:cNvPr>
            <p:cNvSpPr/>
            <p:nvPr/>
          </p:nvSpPr>
          <p:spPr>
            <a:xfrm flipV="1">
              <a:off x="9092850" y="3069282"/>
              <a:ext cx="5800" cy="7748"/>
            </a:xfrm>
            <a:custGeom>
              <a:avLst/>
              <a:gdLst>
                <a:gd name="connsiteX0" fmla="*/ -724 w 5800"/>
                <a:gd name="connsiteY0" fmla="*/ 1564 h 7748"/>
                <a:gd name="connsiteX1" fmla="*/ -3362 w 5800"/>
                <a:gd name="connsiteY1" fmla="*/ 5169 h 7748"/>
                <a:gd name="connsiteX2" fmla="*/ -3307 w 5800"/>
                <a:gd name="connsiteY2" fmla="*/ 5542 h 7748"/>
                <a:gd name="connsiteX3" fmla="*/ -2927 w 5800"/>
                <a:gd name="connsiteY3" fmla="*/ 5500 h 7748"/>
                <a:gd name="connsiteX4" fmla="*/ -469 w 5800"/>
                <a:gd name="connsiteY4" fmla="*/ 2123 h 7748"/>
                <a:gd name="connsiteX5" fmla="*/ 1996 w 5800"/>
                <a:gd name="connsiteY5" fmla="*/ 5500 h 7748"/>
                <a:gd name="connsiteX6" fmla="*/ 2383 w 5800"/>
                <a:gd name="connsiteY6" fmla="*/ 5542 h 7748"/>
                <a:gd name="connsiteX7" fmla="*/ 2438 w 5800"/>
                <a:gd name="connsiteY7" fmla="*/ 5169 h 7748"/>
                <a:gd name="connsiteX8" fmla="*/ -186 w 5800"/>
                <a:gd name="connsiteY8" fmla="*/ 1585 h 7748"/>
                <a:gd name="connsiteX9" fmla="*/ -186 w 5800"/>
                <a:gd name="connsiteY9" fmla="*/ -1937 h 7748"/>
                <a:gd name="connsiteX10" fmla="*/ -455 w 5800"/>
                <a:gd name="connsiteY10" fmla="*/ -2206 h 7748"/>
                <a:gd name="connsiteX11" fmla="*/ -724 w 5800"/>
                <a:gd name="connsiteY11" fmla="*/ -1937 h 7748"/>
                <a:gd name="connsiteX12" fmla="*/ -724 w 5800"/>
                <a:gd name="connsiteY12" fmla="*/ 1564 h 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00" h="7748">
                  <a:moveTo>
                    <a:pt x="-724" y="1564"/>
                  </a:moveTo>
                  <a:lnTo>
                    <a:pt x="-3362" y="5169"/>
                  </a:lnTo>
                  <a:lnTo>
                    <a:pt x="-3307" y="5542"/>
                  </a:lnTo>
                  <a:lnTo>
                    <a:pt x="-2927" y="5500"/>
                  </a:lnTo>
                  <a:lnTo>
                    <a:pt x="-469" y="2123"/>
                  </a:lnTo>
                  <a:lnTo>
                    <a:pt x="1996" y="5500"/>
                  </a:lnTo>
                  <a:lnTo>
                    <a:pt x="2383" y="5542"/>
                  </a:lnTo>
                  <a:lnTo>
                    <a:pt x="2438" y="5169"/>
                  </a:lnTo>
                  <a:lnTo>
                    <a:pt x="-186" y="1585"/>
                  </a:lnTo>
                  <a:lnTo>
                    <a:pt x="-186" y="-1937"/>
                  </a:lnTo>
                  <a:lnTo>
                    <a:pt x="-455" y="-2206"/>
                  </a:lnTo>
                  <a:lnTo>
                    <a:pt x="-724" y="-1937"/>
                  </a:lnTo>
                  <a:lnTo>
                    <a:pt x="-724" y="156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E903B8FC-478E-50C2-BDC9-FFE9DD60319C}"/>
                </a:ext>
              </a:extLst>
            </p:cNvPr>
            <p:cNvSpPr/>
            <p:nvPr/>
          </p:nvSpPr>
          <p:spPr>
            <a:xfrm flipV="1">
              <a:off x="9153141" y="3069254"/>
              <a:ext cx="6587" cy="7775"/>
            </a:xfrm>
            <a:custGeom>
              <a:avLst/>
              <a:gdLst>
                <a:gd name="connsiteX0" fmla="*/ 2618 w 6587"/>
                <a:gd name="connsiteY0" fmla="*/ 4526 h 7775"/>
                <a:gd name="connsiteX1" fmla="*/ 104 w 6587"/>
                <a:gd name="connsiteY1" fmla="*/ 1039 h 7775"/>
                <a:gd name="connsiteX2" fmla="*/ -117 w 6587"/>
                <a:gd name="connsiteY2" fmla="*/ 915 h 7775"/>
                <a:gd name="connsiteX3" fmla="*/ -138 w 6587"/>
                <a:gd name="connsiteY3" fmla="*/ 915 h 7775"/>
                <a:gd name="connsiteX4" fmla="*/ -373 w 6587"/>
                <a:gd name="connsiteY4" fmla="*/ 1039 h 7775"/>
                <a:gd name="connsiteX5" fmla="*/ -2893 w 6587"/>
                <a:gd name="connsiteY5" fmla="*/ 4520 h 7775"/>
                <a:gd name="connsiteX6" fmla="*/ -2893 w 6587"/>
                <a:gd name="connsiteY6" fmla="*/ -1937 h 7775"/>
                <a:gd name="connsiteX7" fmla="*/ -3162 w 6587"/>
                <a:gd name="connsiteY7" fmla="*/ -2206 h 7775"/>
                <a:gd name="connsiteX8" fmla="*/ -3439 w 6587"/>
                <a:gd name="connsiteY8" fmla="*/ -1937 h 7775"/>
                <a:gd name="connsiteX9" fmla="*/ -3439 w 6587"/>
                <a:gd name="connsiteY9" fmla="*/ 5334 h 7775"/>
                <a:gd name="connsiteX10" fmla="*/ -3328 w 6587"/>
                <a:gd name="connsiteY10" fmla="*/ 5542 h 7775"/>
                <a:gd name="connsiteX11" fmla="*/ -3300 w 6587"/>
                <a:gd name="connsiteY11" fmla="*/ 5569 h 7775"/>
                <a:gd name="connsiteX12" fmla="*/ -2928 w 6587"/>
                <a:gd name="connsiteY12" fmla="*/ 5500 h 7775"/>
                <a:gd name="connsiteX13" fmla="*/ -131 w 6587"/>
                <a:gd name="connsiteY13" fmla="*/ 1633 h 7775"/>
                <a:gd name="connsiteX14" fmla="*/ 2652 w 6587"/>
                <a:gd name="connsiteY14" fmla="*/ 5500 h 7775"/>
                <a:gd name="connsiteX15" fmla="*/ 3032 w 6587"/>
                <a:gd name="connsiteY15" fmla="*/ 5569 h 7775"/>
                <a:gd name="connsiteX16" fmla="*/ 3115 w 6587"/>
                <a:gd name="connsiteY16" fmla="*/ 5479 h 7775"/>
                <a:gd name="connsiteX17" fmla="*/ 3149 w 6587"/>
                <a:gd name="connsiteY17" fmla="*/ 5334 h 7775"/>
                <a:gd name="connsiteX18" fmla="*/ 3149 w 6587"/>
                <a:gd name="connsiteY18" fmla="*/ -1937 h 7775"/>
                <a:gd name="connsiteX19" fmla="*/ 2887 w 6587"/>
                <a:gd name="connsiteY19" fmla="*/ -2206 h 7775"/>
                <a:gd name="connsiteX20" fmla="*/ 2618 w 6587"/>
                <a:gd name="connsiteY20" fmla="*/ -1937 h 7775"/>
                <a:gd name="connsiteX21" fmla="*/ 2618 w 6587"/>
                <a:gd name="connsiteY21" fmla="*/ 4526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87" h="7775">
                  <a:moveTo>
                    <a:pt x="2618" y="4526"/>
                  </a:moveTo>
                  <a:lnTo>
                    <a:pt x="104" y="1039"/>
                  </a:lnTo>
                  <a:lnTo>
                    <a:pt x="-117" y="915"/>
                  </a:lnTo>
                  <a:lnTo>
                    <a:pt x="-138" y="915"/>
                  </a:lnTo>
                  <a:lnTo>
                    <a:pt x="-373" y="1039"/>
                  </a:lnTo>
                  <a:lnTo>
                    <a:pt x="-2893" y="4520"/>
                  </a:lnTo>
                  <a:lnTo>
                    <a:pt x="-2893" y="-1937"/>
                  </a:lnTo>
                  <a:lnTo>
                    <a:pt x="-3162" y="-2206"/>
                  </a:lnTo>
                  <a:lnTo>
                    <a:pt x="-3439" y="-1937"/>
                  </a:lnTo>
                  <a:lnTo>
                    <a:pt x="-3439" y="5334"/>
                  </a:lnTo>
                  <a:lnTo>
                    <a:pt x="-3328" y="5542"/>
                  </a:lnTo>
                  <a:lnTo>
                    <a:pt x="-3300" y="5569"/>
                  </a:lnTo>
                  <a:lnTo>
                    <a:pt x="-2928" y="5500"/>
                  </a:lnTo>
                  <a:lnTo>
                    <a:pt x="-131" y="1633"/>
                  </a:lnTo>
                  <a:lnTo>
                    <a:pt x="2652" y="5500"/>
                  </a:lnTo>
                  <a:lnTo>
                    <a:pt x="3032" y="5569"/>
                  </a:lnTo>
                  <a:lnTo>
                    <a:pt x="3115" y="5479"/>
                  </a:lnTo>
                  <a:lnTo>
                    <a:pt x="3149" y="5334"/>
                  </a:lnTo>
                  <a:lnTo>
                    <a:pt x="3149" y="-1937"/>
                  </a:lnTo>
                  <a:lnTo>
                    <a:pt x="2887" y="-2206"/>
                  </a:lnTo>
                  <a:lnTo>
                    <a:pt x="2618" y="-1937"/>
                  </a:lnTo>
                  <a:lnTo>
                    <a:pt x="2618" y="452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22094A87-0996-81C0-146B-A9F120886DDF}"/>
                </a:ext>
              </a:extLst>
            </p:cNvPr>
            <p:cNvSpPr/>
            <p:nvPr/>
          </p:nvSpPr>
          <p:spPr>
            <a:xfrm flipV="1">
              <a:off x="9161365" y="3069213"/>
              <a:ext cx="5987" cy="7817"/>
            </a:xfrm>
            <a:custGeom>
              <a:avLst/>
              <a:gdLst>
                <a:gd name="connsiteX0" fmla="*/ -2033 w 5987"/>
                <a:gd name="connsiteY0" fmla="*/ 376 h 7817"/>
                <a:gd name="connsiteX1" fmla="*/ 1137 w 5987"/>
                <a:gd name="connsiteY1" fmla="*/ 376 h 7817"/>
                <a:gd name="connsiteX2" fmla="*/ -445 w 5987"/>
                <a:gd name="connsiteY2" fmla="*/ 4596 h 7817"/>
                <a:gd name="connsiteX3" fmla="*/ 1337 w 5987"/>
                <a:gd name="connsiteY3" fmla="*/ -176 h 7817"/>
                <a:gd name="connsiteX4" fmla="*/ -2240 w 5987"/>
                <a:gd name="connsiteY4" fmla="*/ -176 h 7817"/>
                <a:gd name="connsiteX5" fmla="*/ -2931 w 5987"/>
                <a:gd name="connsiteY5" fmla="*/ -2020 h 7817"/>
                <a:gd name="connsiteX6" fmla="*/ -3186 w 5987"/>
                <a:gd name="connsiteY6" fmla="*/ -2206 h 7817"/>
                <a:gd name="connsiteX7" fmla="*/ -3290 w 5987"/>
                <a:gd name="connsiteY7" fmla="*/ -2193 h 7817"/>
                <a:gd name="connsiteX8" fmla="*/ -3448 w 5987"/>
                <a:gd name="connsiteY8" fmla="*/ -1834 h 7817"/>
                <a:gd name="connsiteX9" fmla="*/ -728 w 5987"/>
                <a:gd name="connsiteY9" fmla="*/ 5445 h 7817"/>
                <a:gd name="connsiteX10" fmla="*/ -458 w 5987"/>
                <a:gd name="connsiteY10" fmla="*/ 5611 h 7817"/>
                <a:gd name="connsiteX11" fmla="*/ -189 w 5987"/>
                <a:gd name="connsiteY11" fmla="*/ 5445 h 7817"/>
                <a:gd name="connsiteX12" fmla="*/ 2539 w 5987"/>
                <a:gd name="connsiteY12" fmla="*/ -1834 h 7817"/>
                <a:gd name="connsiteX13" fmla="*/ 2394 w 5987"/>
                <a:gd name="connsiteY13" fmla="*/ -2193 h 7817"/>
                <a:gd name="connsiteX14" fmla="*/ 2297 w 5987"/>
                <a:gd name="connsiteY14" fmla="*/ -2206 h 7817"/>
                <a:gd name="connsiteX15" fmla="*/ 2042 w 5987"/>
                <a:gd name="connsiteY15" fmla="*/ -2020 h 7817"/>
                <a:gd name="connsiteX16" fmla="*/ 1337 w 5987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87" h="7817">
                  <a:moveTo>
                    <a:pt x="-2033" y="376"/>
                  </a:moveTo>
                  <a:lnTo>
                    <a:pt x="1137" y="376"/>
                  </a:lnTo>
                  <a:lnTo>
                    <a:pt x="-445" y="4596"/>
                  </a:lnTo>
                  <a:close/>
                  <a:moveTo>
                    <a:pt x="1337" y="-176"/>
                  </a:moveTo>
                  <a:lnTo>
                    <a:pt x="-2240" y="-176"/>
                  </a:lnTo>
                  <a:lnTo>
                    <a:pt x="-2931" y="-2020"/>
                  </a:lnTo>
                  <a:lnTo>
                    <a:pt x="-3186" y="-2206"/>
                  </a:lnTo>
                  <a:lnTo>
                    <a:pt x="-3290" y="-2193"/>
                  </a:lnTo>
                  <a:lnTo>
                    <a:pt x="-3448" y="-1834"/>
                  </a:lnTo>
                  <a:lnTo>
                    <a:pt x="-728" y="5445"/>
                  </a:lnTo>
                  <a:lnTo>
                    <a:pt x="-458" y="5611"/>
                  </a:lnTo>
                  <a:lnTo>
                    <a:pt x="-189" y="5445"/>
                  </a:lnTo>
                  <a:lnTo>
                    <a:pt x="2539" y="-1834"/>
                  </a:lnTo>
                  <a:lnTo>
                    <a:pt x="2394" y="-2193"/>
                  </a:lnTo>
                  <a:lnTo>
                    <a:pt x="2297" y="-2206"/>
                  </a:lnTo>
                  <a:lnTo>
                    <a:pt x="2042" y="-2020"/>
                  </a:lnTo>
                  <a:lnTo>
                    <a:pt x="1337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D35597B2-877E-4A98-33D6-21ED90DDB044}"/>
                </a:ext>
              </a:extLst>
            </p:cNvPr>
            <p:cNvSpPr/>
            <p:nvPr/>
          </p:nvSpPr>
          <p:spPr>
            <a:xfrm flipV="1">
              <a:off x="9168927" y="3069178"/>
              <a:ext cx="5116" cy="7851"/>
            </a:xfrm>
            <a:custGeom>
              <a:avLst/>
              <a:gdLst>
                <a:gd name="connsiteX0" fmla="*/ -965 w 5116"/>
                <a:gd name="connsiteY0" fmla="*/ 5100 h 7851"/>
                <a:gd name="connsiteX1" fmla="*/ -2905 w 5116"/>
                <a:gd name="connsiteY1" fmla="*/ 5100 h 7851"/>
                <a:gd name="connsiteX2" fmla="*/ -2905 w 5116"/>
                <a:gd name="connsiteY2" fmla="*/ 1709 h 7851"/>
                <a:gd name="connsiteX3" fmla="*/ -916 w 5116"/>
                <a:gd name="connsiteY3" fmla="*/ 1709 h 7851"/>
                <a:gd name="connsiteX4" fmla="*/ 727 w 5116"/>
                <a:gd name="connsiteY4" fmla="*/ 3401 h 7851"/>
                <a:gd name="connsiteX5" fmla="*/ -965 w 5116"/>
                <a:gd name="connsiteY5" fmla="*/ 5100 h 7851"/>
                <a:gd name="connsiteX6" fmla="*/ 603 w 5116"/>
                <a:gd name="connsiteY6" fmla="*/ -432 h 7851"/>
                <a:gd name="connsiteX7" fmla="*/ -32 w 5116"/>
                <a:gd name="connsiteY7" fmla="*/ 756 h 7851"/>
                <a:gd name="connsiteX8" fmla="*/ -937 w 5116"/>
                <a:gd name="connsiteY8" fmla="*/ 1150 h 7851"/>
                <a:gd name="connsiteX9" fmla="*/ -999 w 5116"/>
                <a:gd name="connsiteY9" fmla="*/ 1170 h 7851"/>
                <a:gd name="connsiteX10" fmla="*/ -2905 w 5116"/>
                <a:gd name="connsiteY10" fmla="*/ 1170 h 7851"/>
                <a:gd name="connsiteX11" fmla="*/ -2905 w 5116"/>
                <a:gd name="connsiteY11" fmla="*/ -1937 h 7851"/>
                <a:gd name="connsiteX12" fmla="*/ -3188 w 5116"/>
                <a:gd name="connsiteY12" fmla="*/ -2206 h 7851"/>
                <a:gd name="connsiteX13" fmla="*/ -3457 w 5116"/>
                <a:gd name="connsiteY13" fmla="*/ -1937 h 7851"/>
                <a:gd name="connsiteX14" fmla="*/ -3457 w 5116"/>
                <a:gd name="connsiteY14" fmla="*/ 5383 h 7851"/>
                <a:gd name="connsiteX15" fmla="*/ -3202 w 5116"/>
                <a:gd name="connsiteY15" fmla="*/ 5645 h 7851"/>
                <a:gd name="connsiteX16" fmla="*/ -3188 w 5116"/>
                <a:gd name="connsiteY16" fmla="*/ 5645 h 7851"/>
                <a:gd name="connsiteX17" fmla="*/ -3154 w 5116"/>
                <a:gd name="connsiteY17" fmla="*/ 5645 h 7851"/>
                <a:gd name="connsiteX18" fmla="*/ -965 w 5116"/>
                <a:gd name="connsiteY18" fmla="*/ 5645 h 7851"/>
                <a:gd name="connsiteX19" fmla="*/ 1266 w 5116"/>
                <a:gd name="connsiteY19" fmla="*/ 3401 h 7851"/>
                <a:gd name="connsiteX20" fmla="*/ -25 w 5116"/>
                <a:gd name="connsiteY20" fmla="*/ 1371 h 7851"/>
                <a:gd name="connsiteX21" fmla="*/ 92 w 5116"/>
                <a:gd name="connsiteY21" fmla="*/ 1322 h 7851"/>
                <a:gd name="connsiteX22" fmla="*/ 1142 w 5116"/>
                <a:gd name="connsiteY22" fmla="*/ -432 h 7851"/>
                <a:gd name="connsiteX23" fmla="*/ 1245 w 5116"/>
                <a:gd name="connsiteY23" fmla="*/ -1343 h 7851"/>
                <a:gd name="connsiteX24" fmla="*/ 1363 w 5116"/>
                <a:gd name="connsiteY24" fmla="*/ -1530 h 7851"/>
                <a:gd name="connsiteX25" fmla="*/ 1659 w 5116"/>
                <a:gd name="connsiteY25" fmla="*/ -1709 h 7851"/>
                <a:gd name="connsiteX26" fmla="*/ 1480 w 5116"/>
                <a:gd name="connsiteY26" fmla="*/ -2068 h 7851"/>
                <a:gd name="connsiteX27" fmla="*/ 1349 w 5116"/>
                <a:gd name="connsiteY27" fmla="*/ -2082 h 7851"/>
                <a:gd name="connsiteX28" fmla="*/ 1328 w 5116"/>
                <a:gd name="connsiteY28" fmla="*/ -2082 h 7851"/>
                <a:gd name="connsiteX29" fmla="*/ 824 w 5116"/>
                <a:gd name="connsiteY29" fmla="*/ -1716 h 7851"/>
                <a:gd name="connsiteX30" fmla="*/ 603 w 5116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16" h="7851">
                  <a:moveTo>
                    <a:pt x="-965" y="5100"/>
                  </a:moveTo>
                  <a:lnTo>
                    <a:pt x="-2905" y="5100"/>
                  </a:lnTo>
                  <a:lnTo>
                    <a:pt x="-2905" y="1709"/>
                  </a:lnTo>
                  <a:lnTo>
                    <a:pt x="-916" y="1709"/>
                  </a:lnTo>
                  <a:cubicBezTo>
                    <a:pt x="-12" y="1737"/>
                    <a:pt x="727" y="2482"/>
                    <a:pt x="727" y="3401"/>
                  </a:cubicBezTo>
                  <a:cubicBezTo>
                    <a:pt x="727" y="4347"/>
                    <a:pt x="-32" y="5100"/>
                    <a:pt x="-965" y="5100"/>
                  </a:cubicBezTo>
                  <a:close/>
                  <a:moveTo>
                    <a:pt x="603" y="-432"/>
                  </a:moveTo>
                  <a:lnTo>
                    <a:pt x="-32" y="756"/>
                  </a:lnTo>
                  <a:lnTo>
                    <a:pt x="-937" y="1150"/>
                  </a:lnTo>
                  <a:lnTo>
                    <a:pt x="-999" y="1170"/>
                  </a:lnTo>
                  <a:lnTo>
                    <a:pt x="-2905" y="1170"/>
                  </a:lnTo>
                  <a:lnTo>
                    <a:pt x="-2905" y="-1937"/>
                  </a:lnTo>
                  <a:lnTo>
                    <a:pt x="-3188" y="-2206"/>
                  </a:lnTo>
                  <a:lnTo>
                    <a:pt x="-3457" y="-1937"/>
                  </a:lnTo>
                  <a:lnTo>
                    <a:pt x="-3457" y="5383"/>
                  </a:lnTo>
                  <a:lnTo>
                    <a:pt x="-3202" y="5645"/>
                  </a:lnTo>
                  <a:lnTo>
                    <a:pt x="-3188" y="5645"/>
                  </a:lnTo>
                  <a:lnTo>
                    <a:pt x="-3154" y="5645"/>
                  </a:lnTo>
                  <a:lnTo>
                    <a:pt x="-965" y="5645"/>
                  </a:lnTo>
                  <a:cubicBezTo>
                    <a:pt x="265" y="5645"/>
                    <a:pt x="1266" y="4651"/>
                    <a:pt x="1266" y="3401"/>
                  </a:cubicBezTo>
                  <a:cubicBezTo>
                    <a:pt x="1266" y="2510"/>
                    <a:pt x="741" y="1737"/>
                    <a:pt x="-25" y="1371"/>
                  </a:cubicBezTo>
                  <a:lnTo>
                    <a:pt x="92" y="1322"/>
                  </a:lnTo>
                  <a:cubicBezTo>
                    <a:pt x="603" y="1025"/>
                    <a:pt x="1142" y="459"/>
                    <a:pt x="1142" y="-432"/>
                  </a:cubicBezTo>
                  <a:lnTo>
                    <a:pt x="1245" y="-1343"/>
                  </a:lnTo>
                  <a:lnTo>
                    <a:pt x="1363" y="-1530"/>
                  </a:lnTo>
                  <a:lnTo>
                    <a:pt x="1659" y="-1709"/>
                  </a:lnTo>
                  <a:lnTo>
                    <a:pt x="1480" y="-2068"/>
                  </a:lnTo>
                  <a:lnTo>
                    <a:pt x="1349" y="-2082"/>
                  </a:lnTo>
                  <a:lnTo>
                    <a:pt x="1328" y="-2082"/>
                  </a:lnTo>
                  <a:lnTo>
                    <a:pt x="824" y="-1716"/>
                  </a:lnTo>
                  <a:cubicBezTo>
                    <a:pt x="686" y="-1461"/>
                    <a:pt x="603" y="-1095"/>
                    <a:pt x="603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E600FC39-12C8-DF15-9FE8-3D4B310BFFBF}"/>
                </a:ext>
              </a:extLst>
            </p:cNvPr>
            <p:cNvSpPr/>
            <p:nvPr/>
          </p:nvSpPr>
          <p:spPr>
            <a:xfrm flipV="1">
              <a:off x="9175736" y="3069061"/>
              <a:ext cx="6663" cy="7968"/>
            </a:xfrm>
            <a:custGeom>
              <a:avLst/>
              <a:gdLst>
                <a:gd name="connsiteX0" fmla="*/ 614 w 6663"/>
                <a:gd name="connsiteY0" fmla="*/ 5762 h 7968"/>
                <a:gd name="connsiteX1" fmla="*/ 3149 w 6663"/>
                <a:gd name="connsiteY1" fmla="*/ 4899 h 7968"/>
                <a:gd name="connsiteX2" fmla="*/ 3197 w 6663"/>
                <a:gd name="connsiteY2" fmla="*/ 4506 h 7968"/>
                <a:gd name="connsiteX3" fmla="*/ 2810 w 6663"/>
                <a:gd name="connsiteY3" fmla="*/ 4450 h 7968"/>
                <a:gd name="connsiteX4" fmla="*/ 614 w 6663"/>
                <a:gd name="connsiteY4" fmla="*/ 5210 h 7968"/>
                <a:gd name="connsiteX5" fmla="*/ -2914 w 6663"/>
                <a:gd name="connsiteY5" fmla="*/ 1757 h 7968"/>
                <a:gd name="connsiteX6" fmla="*/ 614 w 6663"/>
                <a:gd name="connsiteY6" fmla="*/ -1654 h 7968"/>
                <a:gd name="connsiteX7" fmla="*/ 2789 w 6663"/>
                <a:gd name="connsiteY7" fmla="*/ -894 h 7968"/>
                <a:gd name="connsiteX8" fmla="*/ 3183 w 6663"/>
                <a:gd name="connsiteY8" fmla="*/ -957 h 7968"/>
                <a:gd name="connsiteX9" fmla="*/ 3149 w 6663"/>
                <a:gd name="connsiteY9" fmla="*/ -1350 h 7968"/>
                <a:gd name="connsiteX10" fmla="*/ 614 w 6663"/>
                <a:gd name="connsiteY10" fmla="*/ -2207 h 7968"/>
                <a:gd name="connsiteX11" fmla="*/ -3467 w 6663"/>
                <a:gd name="connsiteY11" fmla="*/ 1757 h 7968"/>
                <a:gd name="connsiteX12" fmla="*/ 614 w 6663"/>
                <a:gd name="connsiteY12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63" h="7968">
                  <a:moveTo>
                    <a:pt x="614" y="5762"/>
                  </a:moveTo>
                  <a:cubicBezTo>
                    <a:pt x="1581" y="5762"/>
                    <a:pt x="2465" y="5424"/>
                    <a:pt x="3149" y="4899"/>
                  </a:cubicBezTo>
                  <a:lnTo>
                    <a:pt x="3197" y="4506"/>
                  </a:lnTo>
                  <a:lnTo>
                    <a:pt x="2810" y="4450"/>
                  </a:lnTo>
                  <a:cubicBezTo>
                    <a:pt x="2202" y="4920"/>
                    <a:pt x="1443" y="5210"/>
                    <a:pt x="614" y="5210"/>
                  </a:cubicBezTo>
                  <a:cubicBezTo>
                    <a:pt x="-1347" y="5210"/>
                    <a:pt x="-2914" y="3670"/>
                    <a:pt x="-2914" y="1757"/>
                  </a:cubicBezTo>
                  <a:cubicBezTo>
                    <a:pt x="-2914" y="-114"/>
                    <a:pt x="-1347" y="-1654"/>
                    <a:pt x="614" y="-1654"/>
                  </a:cubicBezTo>
                  <a:cubicBezTo>
                    <a:pt x="1443" y="-1654"/>
                    <a:pt x="2202" y="-1385"/>
                    <a:pt x="2789" y="-894"/>
                  </a:cubicBezTo>
                  <a:lnTo>
                    <a:pt x="3183" y="-957"/>
                  </a:lnTo>
                  <a:lnTo>
                    <a:pt x="3149" y="-1350"/>
                  </a:lnTo>
                  <a:cubicBezTo>
                    <a:pt x="2465" y="-1875"/>
                    <a:pt x="1581" y="-2207"/>
                    <a:pt x="614" y="-2207"/>
                  </a:cubicBezTo>
                  <a:cubicBezTo>
                    <a:pt x="-1644" y="-2207"/>
                    <a:pt x="-3467" y="-432"/>
                    <a:pt x="-3467" y="1757"/>
                  </a:cubicBezTo>
                  <a:cubicBezTo>
                    <a:pt x="-3467" y="3988"/>
                    <a:pt x="-1644" y="5749"/>
                    <a:pt x="614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011C61DD-F71D-5673-C396-2EFBB9FFC637}"/>
                </a:ext>
              </a:extLst>
            </p:cNvPr>
            <p:cNvSpPr/>
            <p:nvPr/>
          </p:nvSpPr>
          <p:spPr>
            <a:xfrm flipV="1">
              <a:off x="9184713" y="3069178"/>
              <a:ext cx="5137" cy="7851"/>
            </a:xfrm>
            <a:custGeom>
              <a:avLst/>
              <a:gdLst>
                <a:gd name="connsiteX0" fmla="*/ 1108 w 5137"/>
                <a:gd name="connsiteY0" fmla="*/ 1453 h 7851"/>
                <a:gd name="connsiteX1" fmla="*/ -2925 w 5137"/>
                <a:gd name="connsiteY1" fmla="*/ 1453 h 7851"/>
                <a:gd name="connsiteX2" fmla="*/ -2925 w 5137"/>
                <a:gd name="connsiteY2" fmla="*/ -1937 h 7851"/>
                <a:gd name="connsiteX3" fmla="*/ -3208 w 5137"/>
                <a:gd name="connsiteY3" fmla="*/ -2206 h 7851"/>
                <a:gd name="connsiteX4" fmla="*/ -3477 w 5137"/>
                <a:gd name="connsiteY4" fmla="*/ -1937 h 7851"/>
                <a:gd name="connsiteX5" fmla="*/ -3477 w 5137"/>
                <a:gd name="connsiteY5" fmla="*/ 5383 h 7851"/>
                <a:gd name="connsiteX6" fmla="*/ -3208 w 5137"/>
                <a:gd name="connsiteY6" fmla="*/ 5645 h 7851"/>
                <a:gd name="connsiteX7" fmla="*/ -2925 w 5137"/>
                <a:gd name="connsiteY7" fmla="*/ 5383 h 7851"/>
                <a:gd name="connsiteX8" fmla="*/ -2925 w 5137"/>
                <a:gd name="connsiteY8" fmla="*/ 1992 h 7851"/>
                <a:gd name="connsiteX9" fmla="*/ 1108 w 5137"/>
                <a:gd name="connsiteY9" fmla="*/ 1992 h 7851"/>
                <a:gd name="connsiteX10" fmla="*/ 1108 w 5137"/>
                <a:gd name="connsiteY10" fmla="*/ 5383 h 7851"/>
                <a:gd name="connsiteX11" fmla="*/ 1377 w 5137"/>
                <a:gd name="connsiteY11" fmla="*/ 5645 h 7851"/>
                <a:gd name="connsiteX12" fmla="*/ 1660 w 5137"/>
                <a:gd name="connsiteY12" fmla="*/ 5383 h 7851"/>
                <a:gd name="connsiteX13" fmla="*/ 1660 w 5137"/>
                <a:gd name="connsiteY13" fmla="*/ -1937 h 7851"/>
                <a:gd name="connsiteX14" fmla="*/ 1377 w 5137"/>
                <a:gd name="connsiteY14" fmla="*/ -2206 h 7851"/>
                <a:gd name="connsiteX15" fmla="*/ 1108 w 5137"/>
                <a:gd name="connsiteY15" fmla="*/ -1937 h 7851"/>
                <a:gd name="connsiteX16" fmla="*/ 1108 w 5137"/>
                <a:gd name="connsiteY16" fmla="*/ 145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37" h="7851">
                  <a:moveTo>
                    <a:pt x="1108" y="1453"/>
                  </a:moveTo>
                  <a:lnTo>
                    <a:pt x="-2925" y="1453"/>
                  </a:lnTo>
                  <a:lnTo>
                    <a:pt x="-2925" y="-1937"/>
                  </a:lnTo>
                  <a:lnTo>
                    <a:pt x="-3208" y="-2206"/>
                  </a:lnTo>
                  <a:lnTo>
                    <a:pt x="-3477" y="-1937"/>
                  </a:lnTo>
                  <a:lnTo>
                    <a:pt x="-3477" y="5383"/>
                  </a:lnTo>
                  <a:lnTo>
                    <a:pt x="-3208" y="5645"/>
                  </a:lnTo>
                  <a:lnTo>
                    <a:pt x="-2925" y="5383"/>
                  </a:lnTo>
                  <a:lnTo>
                    <a:pt x="-2925" y="1992"/>
                  </a:lnTo>
                  <a:lnTo>
                    <a:pt x="1108" y="1992"/>
                  </a:lnTo>
                  <a:lnTo>
                    <a:pt x="1108" y="5383"/>
                  </a:lnTo>
                  <a:lnTo>
                    <a:pt x="1377" y="5645"/>
                  </a:lnTo>
                  <a:lnTo>
                    <a:pt x="1660" y="5383"/>
                  </a:lnTo>
                  <a:lnTo>
                    <a:pt x="1660" y="-1937"/>
                  </a:lnTo>
                  <a:lnTo>
                    <a:pt x="1377" y="-2206"/>
                  </a:lnTo>
                  <a:lnTo>
                    <a:pt x="1108" y="-1937"/>
                  </a:lnTo>
                  <a:lnTo>
                    <a:pt x="1108" y="145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9EBC5E22-FA25-6EFE-16BE-61EE6AD61808}"/>
                </a:ext>
              </a:extLst>
            </p:cNvPr>
            <p:cNvSpPr/>
            <p:nvPr/>
          </p:nvSpPr>
          <p:spPr>
            <a:xfrm flipV="1">
              <a:off x="9257793" y="3069213"/>
              <a:ext cx="5986" cy="7817"/>
            </a:xfrm>
            <a:custGeom>
              <a:avLst/>
              <a:gdLst>
                <a:gd name="connsiteX0" fmla="*/ -2161 w 5986"/>
                <a:gd name="connsiteY0" fmla="*/ 376 h 7817"/>
                <a:gd name="connsiteX1" fmla="*/ 1016 w 5986"/>
                <a:gd name="connsiteY1" fmla="*/ 376 h 7817"/>
                <a:gd name="connsiteX2" fmla="*/ -573 w 5986"/>
                <a:gd name="connsiteY2" fmla="*/ 4596 h 7817"/>
                <a:gd name="connsiteX3" fmla="*/ 1216 w 5986"/>
                <a:gd name="connsiteY3" fmla="*/ -176 h 7817"/>
                <a:gd name="connsiteX4" fmla="*/ -2368 w 5986"/>
                <a:gd name="connsiteY4" fmla="*/ -176 h 7817"/>
                <a:gd name="connsiteX5" fmla="*/ -3059 w 5986"/>
                <a:gd name="connsiteY5" fmla="*/ -2020 h 7817"/>
                <a:gd name="connsiteX6" fmla="*/ -3314 w 5986"/>
                <a:gd name="connsiteY6" fmla="*/ -2206 h 7817"/>
                <a:gd name="connsiteX7" fmla="*/ -3418 w 5986"/>
                <a:gd name="connsiteY7" fmla="*/ -2193 h 7817"/>
                <a:gd name="connsiteX8" fmla="*/ -3569 w 5986"/>
                <a:gd name="connsiteY8" fmla="*/ -1834 h 7817"/>
                <a:gd name="connsiteX9" fmla="*/ -849 w 5986"/>
                <a:gd name="connsiteY9" fmla="*/ 5445 h 7817"/>
                <a:gd name="connsiteX10" fmla="*/ -579 w 5986"/>
                <a:gd name="connsiteY10" fmla="*/ 5611 h 7817"/>
                <a:gd name="connsiteX11" fmla="*/ -310 w 5986"/>
                <a:gd name="connsiteY11" fmla="*/ 5445 h 7817"/>
                <a:gd name="connsiteX12" fmla="*/ 2417 w 5986"/>
                <a:gd name="connsiteY12" fmla="*/ -1834 h 7817"/>
                <a:gd name="connsiteX13" fmla="*/ 2265 w 5986"/>
                <a:gd name="connsiteY13" fmla="*/ -2193 h 7817"/>
                <a:gd name="connsiteX14" fmla="*/ 2169 w 5986"/>
                <a:gd name="connsiteY14" fmla="*/ -2206 h 7817"/>
                <a:gd name="connsiteX15" fmla="*/ 1913 w 5986"/>
                <a:gd name="connsiteY15" fmla="*/ -2020 h 7817"/>
                <a:gd name="connsiteX16" fmla="*/ 1216 w 5986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86" h="7817">
                  <a:moveTo>
                    <a:pt x="-2161" y="376"/>
                  </a:moveTo>
                  <a:lnTo>
                    <a:pt x="1016" y="376"/>
                  </a:lnTo>
                  <a:lnTo>
                    <a:pt x="-573" y="4596"/>
                  </a:lnTo>
                  <a:close/>
                  <a:moveTo>
                    <a:pt x="1216" y="-176"/>
                  </a:moveTo>
                  <a:lnTo>
                    <a:pt x="-2368" y="-176"/>
                  </a:lnTo>
                  <a:lnTo>
                    <a:pt x="-3059" y="-2020"/>
                  </a:lnTo>
                  <a:lnTo>
                    <a:pt x="-3314" y="-2206"/>
                  </a:lnTo>
                  <a:lnTo>
                    <a:pt x="-3418" y="-2193"/>
                  </a:lnTo>
                  <a:lnTo>
                    <a:pt x="-3569" y="-1834"/>
                  </a:lnTo>
                  <a:lnTo>
                    <a:pt x="-849" y="5445"/>
                  </a:lnTo>
                  <a:lnTo>
                    <a:pt x="-579" y="5611"/>
                  </a:lnTo>
                  <a:lnTo>
                    <a:pt x="-310" y="5445"/>
                  </a:lnTo>
                  <a:lnTo>
                    <a:pt x="2417" y="-1834"/>
                  </a:lnTo>
                  <a:lnTo>
                    <a:pt x="2265" y="-2193"/>
                  </a:lnTo>
                  <a:lnTo>
                    <a:pt x="2169" y="-2206"/>
                  </a:lnTo>
                  <a:lnTo>
                    <a:pt x="1913" y="-2020"/>
                  </a:lnTo>
                  <a:lnTo>
                    <a:pt x="1216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242094E9-E95C-A966-D2EB-30A0AECA54D3}"/>
                </a:ext>
              </a:extLst>
            </p:cNvPr>
            <p:cNvSpPr/>
            <p:nvPr/>
          </p:nvSpPr>
          <p:spPr>
            <a:xfrm flipV="1">
              <a:off x="9265514" y="3069178"/>
              <a:ext cx="4716" cy="7851"/>
            </a:xfrm>
            <a:custGeom>
              <a:avLst/>
              <a:gdLst>
                <a:gd name="connsiteX0" fmla="*/ -1093 w 4716"/>
                <a:gd name="connsiteY0" fmla="*/ 1702 h 7851"/>
                <a:gd name="connsiteX1" fmla="*/ 599 w 4716"/>
                <a:gd name="connsiteY1" fmla="*/ 3401 h 7851"/>
                <a:gd name="connsiteX2" fmla="*/ -1093 w 4716"/>
                <a:gd name="connsiteY2" fmla="*/ 5100 h 7851"/>
                <a:gd name="connsiteX3" fmla="*/ -3033 w 4716"/>
                <a:gd name="connsiteY3" fmla="*/ 5100 h 7851"/>
                <a:gd name="connsiteX4" fmla="*/ -3033 w 4716"/>
                <a:gd name="connsiteY4" fmla="*/ 1702 h 7851"/>
                <a:gd name="connsiteX5" fmla="*/ -3578 w 4716"/>
                <a:gd name="connsiteY5" fmla="*/ 5383 h 7851"/>
                <a:gd name="connsiteX6" fmla="*/ -3309 w 4716"/>
                <a:gd name="connsiteY6" fmla="*/ 5645 h 7851"/>
                <a:gd name="connsiteX7" fmla="*/ -1093 w 4716"/>
                <a:gd name="connsiteY7" fmla="*/ 5645 h 7851"/>
                <a:gd name="connsiteX8" fmla="*/ 1138 w 4716"/>
                <a:gd name="connsiteY8" fmla="*/ 3401 h 7851"/>
                <a:gd name="connsiteX9" fmla="*/ -1093 w 4716"/>
                <a:gd name="connsiteY9" fmla="*/ 1170 h 7851"/>
                <a:gd name="connsiteX10" fmla="*/ -3033 w 4716"/>
                <a:gd name="connsiteY10" fmla="*/ 1150 h 7851"/>
                <a:gd name="connsiteX11" fmla="*/ -3033 w 4716"/>
                <a:gd name="connsiteY11" fmla="*/ -1937 h 7851"/>
                <a:gd name="connsiteX12" fmla="*/ -3309 w 4716"/>
                <a:gd name="connsiteY12" fmla="*/ -2206 h 7851"/>
                <a:gd name="connsiteX13" fmla="*/ -3578 w 4716"/>
                <a:gd name="connsiteY13" fmla="*/ -1937 h 7851"/>
                <a:gd name="connsiteX14" fmla="*/ -3578 w 4716"/>
                <a:gd name="connsiteY14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716" h="7851">
                  <a:moveTo>
                    <a:pt x="-1093" y="1702"/>
                  </a:moveTo>
                  <a:cubicBezTo>
                    <a:pt x="-160" y="1709"/>
                    <a:pt x="599" y="2475"/>
                    <a:pt x="599" y="3401"/>
                  </a:cubicBezTo>
                  <a:cubicBezTo>
                    <a:pt x="599" y="4333"/>
                    <a:pt x="-160" y="5100"/>
                    <a:pt x="-1093" y="5100"/>
                  </a:cubicBezTo>
                  <a:lnTo>
                    <a:pt x="-3033" y="5100"/>
                  </a:lnTo>
                  <a:lnTo>
                    <a:pt x="-3033" y="1702"/>
                  </a:lnTo>
                  <a:close/>
                  <a:moveTo>
                    <a:pt x="-3578" y="5383"/>
                  </a:moveTo>
                  <a:lnTo>
                    <a:pt x="-3309" y="5645"/>
                  </a:lnTo>
                  <a:lnTo>
                    <a:pt x="-1093" y="5645"/>
                  </a:lnTo>
                  <a:cubicBezTo>
                    <a:pt x="143" y="5645"/>
                    <a:pt x="1138" y="4637"/>
                    <a:pt x="1138" y="3401"/>
                  </a:cubicBezTo>
                  <a:cubicBezTo>
                    <a:pt x="1138" y="2172"/>
                    <a:pt x="143" y="1170"/>
                    <a:pt x="-1093" y="1170"/>
                  </a:cubicBezTo>
                  <a:lnTo>
                    <a:pt x="-3033" y="1150"/>
                  </a:lnTo>
                  <a:lnTo>
                    <a:pt x="-3033" y="-1937"/>
                  </a:lnTo>
                  <a:lnTo>
                    <a:pt x="-3309" y="-2206"/>
                  </a:lnTo>
                  <a:lnTo>
                    <a:pt x="-3578" y="-1937"/>
                  </a:lnTo>
                  <a:lnTo>
                    <a:pt x="-3578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CBDB191F-8A44-821E-DD30-58FBD27D48E1}"/>
                </a:ext>
              </a:extLst>
            </p:cNvPr>
            <p:cNvSpPr/>
            <p:nvPr/>
          </p:nvSpPr>
          <p:spPr>
            <a:xfrm flipV="1">
              <a:off x="9271880" y="3069178"/>
              <a:ext cx="5109" cy="7851"/>
            </a:xfrm>
            <a:custGeom>
              <a:avLst/>
              <a:gdLst>
                <a:gd name="connsiteX0" fmla="*/ -1101 w 5109"/>
                <a:gd name="connsiteY0" fmla="*/ 5100 h 7851"/>
                <a:gd name="connsiteX1" fmla="*/ -3034 w 5109"/>
                <a:gd name="connsiteY1" fmla="*/ 5100 h 7851"/>
                <a:gd name="connsiteX2" fmla="*/ -3034 w 5109"/>
                <a:gd name="connsiteY2" fmla="*/ 1709 h 7851"/>
                <a:gd name="connsiteX3" fmla="*/ -1052 w 5109"/>
                <a:gd name="connsiteY3" fmla="*/ 1709 h 7851"/>
                <a:gd name="connsiteX4" fmla="*/ 591 w 5109"/>
                <a:gd name="connsiteY4" fmla="*/ 3401 h 7851"/>
                <a:gd name="connsiteX5" fmla="*/ -1101 w 5109"/>
                <a:gd name="connsiteY5" fmla="*/ 5100 h 7851"/>
                <a:gd name="connsiteX6" fmla="*/ 474 w 5109"/>
                <a:gd name="connsiteY6" fmla="*/ -432 h 7851"/>
                <a:gd name="connsiteX7" fmla="*/ -168 w 5109"/>
                <a:gd name="connsiteY7" fmla="*/ 756 h 7851"/>
                <a:gd name="connsiteX8" fmla="*/ -1073 w 5109"/>
                <a:gd name="connsiteY8" fmla="*/ 1150 h 7851"/>
                <a:gd name="connsiteX9" fmla="*/ -1135 w 5109"/>
                <a:gd name="connsiteY9" fmla="*/ 1170 h 7851"/>
                <a:gd name="connsiteX10" fmla="*/ -3034 w 5109"/>
                <a:gd name="connsiteY10" fmla="*/ 1170 h 7851"/>
                <a:gd name="connsiteX11" fmla="*/ -3034 w 5109"/>
                <a:gd name="connsiteY11" fmla="*/ -1937 h 7851"/>
                <a:gd name="connsiteX12" fmla="*/ -3317 w 5109"/>
                <a:gd name="connsiteY12" fmla="*/ -2206 h 7851"/>
                <a:gd name="connsiteX13" fmla="*/ -3587 w 5109"/>
                <a:gd name="connsiteY13" fmla="*/ -1937 h 7851"/>
                <a:gd name="connsiteX14" fmla="*/ -3587 w 5109"/>
                <a:gd name="connsiteY14" fmla="*/ 5383 h 7851"/>
                <a:gd name="connsiteX15" fmla="*/ -3338 w 5109"/>
                <a:gd name="connsiteY15" fmla="*/ 5645 h 7851"/>
                <a:gd name="connsiteX16" fmla="*/ -3317 w 5109"/>
                <a:gd name="connsiteY16" fmla="*/ 5645 h 7851"/>
                <a:gd name="connsiteX17" fmla="*/ -3283 w 5109"/>
                <a:gd name="connsiteY17" fmla="*/ 5645 h 7851"/>
                <a:gd name="connsiteX18" fmla="*/ -1101 w 5109"/>
                <a:gd name="connsiteY18" fmla="*/ 5645 h 7851"/>
                <a:gd name="connsiteX19" fmla="*/ 1130 w 5109"/>
                <a:gd name="connsiteY19" fmla="*/ 3401 h 7851"/>
                <a:gd name="connsiteX20" fmla="*/ -154 w 5109"/>
                <a:gd name="connsiteY20" fmla="*/ 1371 h 7851"/>
                <a:gd name="connsiteX21" fmla="*/ -51 w 5109"/>
                <a:gd name="connsiteY21" fmla="*/ 1322 h 7851"/>
                <a:gd name="connsiteX22" fmla="*/ 1013 w 5109"/>
                <a:gd name="connsiteY22" fmla="*/ -432 h 7851"/>
                <a:gd name="connsiteX23" fmla="*/ 1109 w 5109"/>
                <a:gd name="connsiteY23" fmla="*/ -1343 h 7851"/>
                <a:gd name="connsiteX24" fmla="*/ 1220 w 5109"/>
                <a:gd name="connsiteY24" fmla="*/ -1530 h 7851"/>
                <a:gd name="connsiteX25" fmla="*/ 1523 w 5109"/>
                <a:gd name="connsiteY25" fmla="*/ -1709 h 7851"/>
                <a:gd name="connsiteX26" fmla="*/ 1344 w 5109"/>
                <a:gd name="connsiteY26" fmla="*/ -2068 h 7851"/>
                <a:gd name="connsiteX27" fmla="*/ 1213 w 5109"/>
                <a:gd name="connsiteY27" fmla="*/ -2082 h 7851"/>
                <a:gd name="connsiteX28" fmla="*/ 1192 w 5109"/>
                <a:gd name="connsiteY28" fmla="*/ -2082 h 7851"/>
                <a:gd name="connsiteX29" fmla="*/ 688 w 5109"/>
                <a:gd name="connsiteY29" fmla="*/ -1716 h 7851"/>
                <a:gd name="connsiteX30" fmla="*/ 474 w 5109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09" h="7851">
                  <a:moveTo>
                    <a:pt x="-1101" y="5100"/>
                  </a:moveTo>
                  <a:lnTo>
                    <a:pt x="-3034" y="5100"/>
                  </a:lnTo>
                  <a:lnTo>
                    <a:pt x="-3034" y="1709"/>
                  </a:lnTo>
                  <a:lnTo>
                    <a:pt x="-1052" y="1709"/>
                  </a:lnTo>
                  <a:cubicBezTo>
                    <a:pt x="-141" y="1737"/>
                    <a:pt x="591" y="2482"/>
                    <a:pt x="591" y="3401"/>
                  </a:cubicBezTo>
                  <a:cubicBezTo>
                    <a:pt x="591" y="4347"/>
                    <a:pt x="-168" y="5100"/>
                    <a:pt x="-1101" y="5100"/>
                  </a:cubicBezTo>
                  <a:close/>
                  <a:moveTo>
                    <a:pt x="474" y="-432"/>
                  </a:moveTo>
                  <a:lnTo>
                    <a:pt x="-168" y="756"/>
                  </a:lnTo>
                  <a:lnTo>
                    <a:pt x="-1073" y="1150"/>
                  </a:lnTo>
                  <a:lnTo>
                    <a:pt x="-1135" y="1170"/>
                  </a:lnTo>
                  <a:lnTo>
                    <a:pt x="-3034" y="1170"/>
                  </a:lnTo>
                  <a:lnTo>
                    <a:pt x="-3034" y="-1937"/>
                  </a:lnTo>
                  <a:lnTo>
                    <a:pt x="-3317" y="-2206"/>
                  </a:lnTo>
                  <a:lnTo>
                    <a:pt x="-3587" y="-1937"/>
                  </a:lnTo>
                  <a:lnTo>
                    <a:pt x="-3587" y="5383"/>
                  </a:lnTo>
                  <a:lnTo>
                    <a:pt x="-3338" y="5645"/>
                  </a:lnTo>
                  <a:lnTo>
                    <a:pt x="-3317" y="5645"/>
                  </a:lnTo>
                  <a:lnTo>
                    <a:pt x="-3283" y="5645"/>
                  </a:lnTo>
                  <a:lnTo>
                    <a:pt x="-1101" y="5645"/>
                  </a:lnTo>
                  <a:cubicBezTo>
                    <a:pt x="136" y="5645"/>
                    <a:pt x="1130" y="4651"/>
                    <a:pt x="1130" y="3401"/>
                  </a:cubicBezTo>
                  <a:cubicBezTo>
                    <a:pt x="1130" y="2510"/>
                    <a:pt x="605" y="1737"/>
                    <a:pt x="-154" y="1371"/>
                  </a:cubicBezTo>
                  <a:lnTo>
                    <a:pt x="-51" y="1322"/>
                  </a:lnTo>
                  <a:cubicBezTo>
                    <a:pt x="474" y="1025"/>
                    <a:pt x="1013" y="459"/>
                    <a:pt x="1013" y="-432"/>
                  </a:cubicBezTo>
                  <a:lnTo>
                    <a:pt x="1109" y="-1343"/>
                  </a:lnTo>
                  <a:lnTo>
                    <a:pt x="1220" y="-1530"/>
                  </a:lnTo>
                  <a:lnTo>
                    <a:pt x="1523" y="-1709"/>
                  </a:lnTo>
                  <a:lnTo>
                    <a:pt x="1344" y="-2068"/>
                  </a:lnTo>
                  <a:lnTo>
                    <a:pt x="1213" y="-2082"/>
                  </a:lnTo>
                  <a:lnTo>
                    <a:pt x="1192" y="-2082"/>
                  </a:lnTo>
                  <a:lnTo>
                    <a:pt x="688" y="-1716"/>
                  </a:lnTo>
                  <a:cubicBezTo>
                    <a:pt x="550" y="-1461"/>
                    <a:pt x="474" y="-1095"/>
                    <a:pt x="474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E426CB8E-499F-0999-6914-4D4330C630DA}"/>
                </a:ext>
              </a:extLst>
            </p:cNvPr>
            <p:cNvSpPr/>
            <p:nvPr/>
          </p:nvSpPr>
          <p:spPr>
            <a:xfrm flipV="1">
              <a:off x="9279103" y="3069178"/>
              <a:ext cx="559" cy="7851"/>
            </a:xfrm>
            <a:custGeom>
              <a:avLst/>
              <a:gdLst>
                <a:gd name="connsiteX0" fmla="*/ -3593 w 559"/>
                <a:gd name="connsiteY0" fmla="*/ 5383 h 7851"/>
                <a:gd name="connsiteX1" fmla="*/ -3317 w 559"/>
                <a:gd name="connsiteY1" fmla="*/ 5645 h 7851"/>
                <a:gd name="connsiteX2" fmla="*/ -3033 w 559"/>
                <a:gd name="connsiteY2" fmla="*/ 5383 h 7851"/>
                <a:gd name="connsiteX3" fmla="*/ -3033 w 559"/>
                <a:gd name="connsiteY3" fmla="*/ -1937 h 7851"/>
                <a:gd name="connsiteX4" fmla="*/ -3317 w 559"/>
                <a:gd name="connsiteY4" fmla="*/ -2206 h 7851"/>
                <a:gd name="connsiteX5" fmla="*/ -3593 w 559"/>
                <a:gd name="connsiteY5" fmla="*/ -1937 h 7851"/>
                <a:gd name="connsiteX6" fmla="*/ -3593 w 559"/>
                <a:gd name="connsiteY6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9" h="7851">
                  <a:moveTo>
                    <a:pt x="-3593" y="5383"/>
                  </a:moveTo>
                  <a:lnTo>
                    <a:pt x="-3317" y="5645"/>
                  </a:lnTo>
                  <a:lnTo>
                    <a:pt x="-3033" y="5383"/>
                  </a:lnTo>
                  <a:lnTo>
                    <a:pt x="-3033" y="-1937"/>
                  </a:lnTo>
                  <a:lnTo>
                    <a:pt x="-3317" y="-2206"/>
                  </a:lnTo>
                  <a:lnTo>
                    <a:pt x="-3593" y="-1937"/>
                  </a:lnTo>
                  <a:lnTo>
                    <a:pt x="-3593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6F017A29-607B-E038-ACB7-EB86B0FA912B}"/>
                </a:ext>
              </a:extLst>
            </p:cNvPr>
            <p:cNvSpPr/>
            <p:nvPr/>
          </p:nvSpPr>
          <p:spPr>
            <a:xfrm flipV="1">
              <a:off x="9282446" y="3069178"/>
              <a:ext cx="4585" cy="7851"/>
            </a:xfrm>
            <a:custGeom>
              <a:avLst/>
              <a:gdLst>
                <a:gd name="connsiteX0" fmla="*/ -3309 w 4585"/>
                <a:gd name="connsiteY0" fmla="*/ -2206 h 7851"/>
                <a:gd name="connsiteX1" fmla="*/ -3330 w 4585"/>
                <a:gd name="connsiteY1" fmla="*/ -2206 h 7851"/>
                <a:gd name="connsiteX2" fmla="*/ -3600 w 4585"/>
                <a:gd name="connsiteY2" fmla="*/ -1937 h 7851"/>
                <a:gd name="connsiteX3" fmla="*/ -3600 w 4585"/>
                <a:gd name="connsiteY3" fmla="*/ 5383 h 7851"/>
                <a:gd name="connsiteX4" fmla="*/ -3330 w 4585"/>
                <a:gd name="connsiteY4" fmla="*/ 5645 h 7851"/>
                <a:gd name="connsiteX5" fmla="*/ -3054 w 4585"/>
                <a:gd name="connsiteY5" fmla="*/ 5383 h 7851"/>
                <a:gd name="connsiteX6" fmla="*/ -3054 w 4585"/>
                <a:gd name="connsiteY6" fmla="*/ -1654 h 7851"/>
                <a:gd name="connsiteX7" fmla="*/ 703 w 4585"/>
                <a:gd name="connsiteY7" fmla="*/ -1654 h 7851"/>
                <a:gd name="connsiteX8" fmla="*/ 986 w 4585"/>
                <a:gd name="connsiteY8" fmla="*/ -1937 h 7851"/>
                <a:gd name="connsiteX9" fmla="*/ 703 w 4585"/>
                <a:gd name="connsiteY9" fmla="*/ -2206 h 7851"/>
                <a:gd name="connsiteX10" fmla="*/ -3309 w 4585"/>
                <a:gd name="connsiteY10" fmla="*/ -2206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85" h="7851">
                  <a:moveTo>
                    <a:pt x="-3309" y="-2206"/>
                  </a:moveTo>
                  <a:lnTo>
                    <a:pt x="-3330" y="-2206"/>
                  </a:lnTo>
                  <a:lnTo>
                    <a:pt x="-3600" y="-1937"/>
                  </a:lnTo>
                  <a:lnTo>
                    <a:pt x="-3600" y="5383"/>
                  </a:lnTo>
                  <a:lnTo>
                    <a:pt x="-3330" y="5645"/>
                  </a:lnTo>
                  <a:lnTo>
                    <a:pt x="-3054" y="5383"/>
                  </a:lnTo>
                  <a:lnTo>
                    <a:pt x="-3054" y="-1654"/>
                  </a:lnTo>
                  <a:lnTo>
                    <a:pt x="703" y="-1654"/>
                  </a:lnTo>
                  <a:lnTo>
                    <a:pt x="986" y="-1937"/>
                  </a:lnTo>
                  <a:lnTo>
                    <a:pt x="703" y="-2206"/>
                  </a:lnTo>
                  <a:lnTo>
                    <a:pt x="-3309" y="-220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430D9446-80E7-86C3-B600-D80330EAC1A0}"/>
                </a:ext>
              </a:extLst>
            </p:cNvPr>
            <p:cNvSpPr/>
            <p:nvPr/>
          </p:nvSpPr>
          <p:spPr>
            <a:xfrm flipV="1">
              <a:off x="9363191" y="3069254"/>
              <a:ext cx="6594" cy="7775"/>
            </a:xfrm>
            <a:custGeom>
              <a:avLst/>
              <a:gdLst>
                <a:gd name="connsiteX0" fmla="*/ 2361 w 6594"/>
                <a:gd name="connsiteY0" fmla="*/ 4526 h 7775"/>
                <a:gd name="connsiteX1" fmla="*/ -153 w 6594"/>
                <a:gd name="connsiteY1" fmla="*/ 1039 h 7775"/>
                <a:gd name="connsiteX2" fmla="*/ -374 w 6594"/>
                <a:gd name="connsiteY2" fmla="*/ 915 h 7775"/>
                <a:gd name="connsiteX3" fmla="*/ -401 w 6594"/>
                <a:gd name="connsiteY3" fmla="*/ 915 h 7775"/>
                <a:gd name="connsiteX4" fmla="*/ -629 w 6594"/>
                <a:gd name="connsiteY4" fmla="*/ 1039 h 7775"/>
                <a:gd name="connsiteX5" fmla="*/ -3150 w 6594"/>
                <a:gd name="connsiteY5" fmla="*/ 4520 h 7775"/>
                <a:gd name="connsiteX6" fmla="*/ -3150 w 6594"/>
                <a:gd name="connsiteY6" fmla="*/ -1937 h 7775"/>
                <a:gd name="connsiteX7" fmla="*/ -3419 w 6594"/>
                <a:gd name="connsiteY7" fmla="*/ -2206 h 7775"/>
                <a:gd name="connsiteX8" fmla="*/ -3702 w 6594"/>
                <a:gd name="connsiteY8" fmla="*/ -1937 h 7775"/>
                <a:gd name="connsiteX9" fmla="*/ -3702 w 6594"/>
                <a:gd name="connsiteY9" fmla="*/ 5334 h 7775"/>
                <a:gd name="connsiteX10" fmla="*/ -3585 w 6594"/>
                <a:gd name="connsiteY10" fmla="*/ 5542 h 7775"/>
                <a:gd name="connsiteX11" fmla="*/ -3564 w 6594"/>
                <a:gd name="connsiteY11" fmla="*/ 5569 h 7775"/>
                <a:gd name="connsiteX12" fmla="*/ -3184 w 6594"/>
                <a:gd name="connsiteY12" fmla="*/ 5500 h 7775"/>
                <a:gd name="connsiteX13" fmla="*/ -387 w 6594"/>
                <a:gd name="connsiteY13" fmla="*/ 1633 h 7775"/>
                <a:gd name="connsiteX14" fmla="*/ 2388 w 6594"/>
                <a:gd name="connsiteY14" fmla="*/ 5500 h 7775"/>
                <a:gd name="connsiteX15" fmla="*/ 2775 w 6594"/>
                <a:gd name="connsiteY15" fmla="*/ 5569 h 7775"/>
                <a:gd name="connsiteX16" fmla="*/ 2844 w 6594"/>
                <a:gd name="connsiteY16" fmla="*/ 5479 h 7775"/>
                <a:gd name="connsiteX17" fmla="*/ 2893 w 6594"/>
                <a:gd name="connsiteY17" fmla="*/ 5334 h 7775"/>
                <a:gd name="connsiteX18" fmla="*/ 2893 w 6594"/>
                <a:gd name="connsiteY18" fmla="*/ -1937 h 7775"/>
                <a:gd name="connsiteX19" fmla="*/ 2623 w 6594"/>
                <a:gd name="connsiteY19" fmla="*/ -2206 h 7775"/>
                <a:gd name="connsiteX20" fmla="*/ 2361 w 6594"/>
                <a:gd name="connsiteY20" fmla="*/ -1937 h 7775"/>
                <a:gd name="connsiteX21" fmla="*/ 2361 w 6594"/>
                <a:gd name="connsiteY21" fmla="*/ 4526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94" h="7775">
                  <a:moveTo>
                    <a:pt x="2361" y="4526"/>
                  </a:moveTo>
                  <a:lnTo>
                    <a:pt x="-153" y="1039"/>
                  </a:lnTo>
                  <a:lnTo>
                    <a:pt x="-374" y="915"/>
                  </a:lnTo>
                  <a:lnTo>
                    <a:pt x="-401" y="915"/>
                  </a:lnTo>
                  <a:lnTo>
                    <a:pt x="-629" y="1039"/>
                  </a:lnTo>
                  <a:lnTo>
                    <a:pt x="-3150" y="4520"/>
                  </a:lnTo>
                  <a:lnTo>
                    <a:pt x="-3150" y="-1937"/>
                  </a:lnTo>
                  <a:lnTo>
                    <a:pt x="-3419" y="-2206"/>
                  </a:lnTo>
                  <a:lnTo>
                    <a:pt x="-3702" y="-1937"/>
                  </a:lnTo>
                  <a:lnTo>
                    <a:pt x="-3702" y="5334"/>
                  </a:lnTo>
                  <a:lnTo>
                    <a:pt x="-3585" y="5542"/>
                  </a:lnTo>
                  <a:lnTo>
                    <a:pt x="-3564" y="5569"/>
                  </a:lnTo>
                  <a:lnTo>
                    <a:pt x="-3184" y="5500"/>
                  </a:lnTo>
                  <a:lnTo>
                    <a:pt x="-387" y="1633"/>
                  </a:lnTo>
                  <a:lnTo>
                    <a:pt x="2388" y="5500"/>
                  </a:lnTo>
                  <a:lnTo>
                    <a:pt x="2775" y="5569"/>
                  </a:lnTo>
                  <a:lnTo>
                    <a:pt x="2844" y="5479"/>
                  </a:lnTo>
                  <a:lnTo>
                    <a:pt x="2893" y="5334"/>
                  </a:lnTo>
                  <a:lnTo>
                    <a:pt x="2893" y="-1937"/>
                  </a:lnTo>
                  <a:lnTo>
                    <a:pt x="2623" y="-2206"/>
                  </a:lnTo>
                  <a:lnTo>
                    <a:pt x="2361" y="-1937"/>
                  </a:lnTo>
                  <a:lnTo>
                    <a:pt x="2361" y="452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74561CD9-310D-CBF5-D020-2D489914AB55}"/>
                </a:ext>
              </a:extLst>
            </p:cNvPr>
            <p:cNvSpPr/>
            <p:nvPr/>
          </p:nvSpPr>
          <p:spPr>
            <a:xfrm flipV="1">
              <a:off x="9371422" y="3069213"/>
              <a:ext cx="5986" cy="7817"/>
            </a:xfrm>
            <a:custGeom>
              <a:avLst/>
              <a:gdLst>
                <a:gd name="connsiteX0" fmla="*/ -2296 w 5986"/>
                <a:gd name="connsiteY0" fmla="*/ 376 h 7817"/>
                <a:gd name="connsiteX1" fmla="*/ 873 w 5986"/>
                <a:gd name="connsiteY1" fmla="*/ 376 h 7817"/>
                <a:gd name="connsiteX2" fmla="*/ -708 w 5986"/>
                <a:gd name="connsiteY2" fmla="*/ 4596 h 7817"/>
                <a:gd name="connsiteX3" fmla="*/ 1073 w 5986"/>
                <a:gd name="connsiteY3" fmla="*/ -176 h 7817"/>
                <a:gd name="connsiteX4" fmla="*/ -2504 w 5986"/>
                <a:gd name="connsiteY4" fmla="*/ -176 h 7817"/>
                <a:gd name="connsiteX5" fmla="*/ -3194 w 5986"/>
                <a:gd name="connsiteY5" fmla="*/ -2020 h 7817"/>
                <a:gd name="connsiteX6" fmla="*/ -3457 w 5986"/>
                <a:gd name="connsiteY6" fmla="*/ -2206 h 7817"/>
                <a:gd name="connsiteX7" fmla="*/ -3560 w 5986"/>
                <a:gd name="connsiteY7" fmla="*/ -2193 h 7817"/>
                <a:gd name="connsiteX8" fmla="*/ -3712 w 5986"/>
                <a:gd name="connsiteY8" fmla="*/ -1834 h 7817"/>
                <a:gd name="connsiteX9" fmla="*/ -991 w 5986"/>
                <a:gd name="connsiteY9" fmla="*/ 5445 h 7817"/>
                <a:gd name="connsiteX10" fmla="*/ -722 w 5986"/>
                <a:gd name="connsiteY10" fmla="*/ 5611 h 7817"/>
                <a:gd name="connsiteX11" fmla="*/ -453 w 5986"/>
                <a:gd name="connsiteY11" fmla="*/ 5445 h 7817"/>
                <a:gd name="connsiteX12" fmla="*/ 2275 w 5986"/>
                <a:gd name="connsiteY12" fmla="*/ -1834 h 7817"/>
                <a:gd name="connsiteX13" fmla="*/ 2123 w 5986"/>
                <a:gd name="connsiteY13" fmla="*/ -2193 h 7817"/>
                <a:gd name="connsiteX14" fmla="*/ 2026 w 5986"/>
                <a:gd name="connsiteY14" fmla="*/ -2206 h 7817"/>
                <a:gd name="connsiteX15" fmla="*/ 1771 w 5986"/>
                <a:gd name="connsiteY15" fmla="*/ -2020 h 7817"/>
                <a:gd name="connsiteX16" fmla="*/ 1073 w 5986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86" h="7817">
                  <a:moveTo>
                    <a:pt x="-2296" y="376"/>
                  </a:moveTo>
                  <a:lnTo>
                    <a:pt x="873" y="376"/>
                  </a:lnTo>
                  <a:lnTo>
                    <a:pt x="-708" y="4596"/>
                  </a:lnTo>
                  <a:close/>
                  <a:moveTo>
                    <a:pt x="1073" y="-176"/>
                  </a:moveTo>
                  <a:lnTo>
                    <a:pt x="-2504" y="-176"/>
                  </a:lnTo>
                  <a:lnTo>
                    <a:pt x="-3194" y="-2020"/>
                  </a:lnTo>
                  <a:lnTo>
                    <a:pt x="-3457" y="-2206"/>
                  </a:lnTo>
                  <a:lnTo>
                    <a:pt x="-3560" y="-2193"/>
                  </a:lnTo>
                  <a:lnTo>
                    <a:pt x="-3712" y="-1834"/>
                  </a:lnTo>
                  <a:lnTo>
                    <a:pt x="-991" y="5445"/>
                  </a:lnTo>
                  <a:lnTo>
                    <a:pt x="-722" y="5611"/>
                  </a:lnTo>
                  <a:lnTo>
                    <a:pt x="-453" y="5445"/>
                  </a:lnTo>
                  <a:lnTo>
                    <a:pt x="2275" y="-1834"/>
                  </a:lnTo>
                  <a:lnTo>
                    <a:pt x="2123" y="-2193"/>
                  </a:lnTo>
                  <a:lnTo>
                    <a:pt x="2026" y="-2206"/>
                  </a:lnTo>
                  <a:lnTo>
                    <a:pt x="1771" y="-2020"/>
                  </a:lnTo>
                  <a:lnTo>
                    <a:pt x="1073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9AC16021-329B-7463-2EF3-96B4213DF1DA}"/>
                </a:ext>
              </a:extLst>
            </p:cNvPr>
            <p:cNvSpPr/>
            <p:nvPr/>
          </p:nvSpPr>
          <p:spPr>
            <a:xfrm flipV="1">
              <a:off x="9377817" y="3069282"/>
              <a:ext cx="5800" cy="7748"/>
            </a:xfrm>
            <a:custGeom>
              <a:avLst/>
              <a:gdLst>
                <a:gd name="connsiteX0" fmla="*/ -1082 w 5800"/>
                <a:gd name="connsiteY0" fmla="*/ 1564 h 7748"/>
                <a:gd name="connsiteX1" fmla="*/ -3720 w 5800"/>
                <a:gd name="connsiteY1" fmla="*/ 5169 h 7748"/>
                <a:gd name="connsiteX2" fmla="*/ -3665 w 5800"/>
                <a:gd name="connsiteY2" fmla="*/ 5542 h 7748"/>
                <a:gd name="connsiteX3" fmla="*/ -3278 w 5800"/>
                <a:gd name="connsiteY3" fmla="*/ 5500 h 7748"/>
                <a:gd name="connsiteX4" fmla="*/ -827 w 5800"/>
                <a:gd name="connsiteY4" fmla="*/ 2123 h 7748"/>
                <a:gd name="connsiteX5" fmla="*/ 1646 w 5800"/>
                <a:gd name="connsiteY5" fmla="*/ 5500 h 7748"/>
                <a:gd name="connsiteX6" fmla="*/ 2025 w 5800"/>
                <a:gd name="connsiteY6" fmla="*/ 5542 h 7748"/>
                <a:gd name="connsiteX7" fmla="*/ 2081 w 5800"/>
                <a:gd name="connsiteY7" fmla="*/ 5169 h 7748"/>
                <a:gd name="connsiteX8" fmla="*/ -543 w 5800"/>
                <a:gd name="connsiteY8" fmla="*/ 1585 h 7748"/>
                <a:gd name="connsiteX9" fmla="*/ -543 w 5800"/>
                <a:gd name="connsiteY9" fmla="*/ -1937 h 7748"/>
                <a:gd name="connsiteX10" fmla="*/ -813 w 5800"/>
                <a:gd name="connsiteY10" fmla="*/ -2206 h 7748"/>
                <a:gd name="connsiteX11" fmla="*/ -1082 w 5800"/>
                <a:gd name="connsiteY11" fmla="*/ -1937 h 7748"/>
                <a:gd name="connsiteX12" fmla="*/ -1082 w 5800"/>
                <a:gd name="connsiteY12" fmla="*/ 1564 h 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00" h="7748">
                  <a:moveTo>
                    <a:pt x="-1082" y="1564"/>
                  </a:moveTo>
                  <a:lnTo>
                    <a:pt x="-3720" y="5169"/>
                  </a:lnTo>
                  <a:lnTo>
                    <a:pt x="-3665" y="5542"/>
                  </a:lnTo>
                  <a:lnTo>
                    <a:pt x="-3278" y="5500"/>
                  </a:lnTo>
                  <a:lnTo>
                    <a:pt x="-827" y="2123"/>
                  </a:lnTo>
                  <a:lnTo>
                    <a:pt x="1646" y="5500"/>
                  </a:lnTo>
                  <a:lnTo>
                    <a:pt x="2025" y="5542"/>
                  </a:lnTo>
                  <a:lnTo>
                    <a:pt x="2081" y="5169"/>
                  </a:lnTo>
                  <a:lnTo>
                    <a:pt x="-543" y="1585"/>
                  </a:lnTo>
                  <a:lnTo>
                    <a:pt x="-543" y="-1937"/>
                  </a:lnTo>
                  <a:lnTo>
                    <a:pt x="-813" y="-2206"/>
                  </a:lnTo>
                  <a:lnTo>
                    <a:pt x="-1082" y="-1937"/>
                  </a:lnTo>
                  <a:lnTo>
                    <a:pt x="-1082" y="156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2992D902-912D-4A73-6A92-AA0359454E3E}"/>
                </a:ext>
              </a:extLst>
            </p:cNvPr>
            <p:cNvSpPr/>
            <p:nvPr/>
          </p:nvSpPr>
          <p:spPr>
            <a:xfrm flipV="1">
              <a:off x="9459032" y="3069178"/>
              <a:ext cx="5192" cy="7851"/>
            </a:xfrm>
            <a:custGeom>
              <a:avLst/>
              <a:gdLst>
                <a:gd name="connsiteX0" fmla="*/ -3635 w 5192"/>
                <a:gd name="connsiteY0" fmla="*/ -17 h 7851"/>
                <a:gd name="connsiteX1" fmla="*/ -3310 w 5192"/>
                <a:gd name="connsiteY1" fmla="*/ -183 h 7851"/>
                <a:gd name="connsiteX2" fmla="*/ -1287 w 5192"/>
                <a:gd name="connsiteY2" fmla="*/ -1654 h 7851"/>
                <a:gd name="connsiteX3" fmla="*/ 833 w 5192"/>
                <a:gd name="connsiteY3" fmla="*/ 459 h 7851"/>
                <a:gd name="connsiteX4" fmla="*/ 833 w 5192"/>
                <a:gd name="connsiteY4" fmla="*/ 5383 h 7851"/>
                <a:gd name="connsiteX5" fmla="*/ 1102 w 5192"/>
                <a:gd name="connsiteY5" fmla="*/ 5645 h 7851"/>
                <a:gd name="connsiteX6" fmla="*/ 1371 w 5192"/>
                <a:gd name="connsiteY6" fmla="*/ 5383 h 7851"/>
                <a:gd name="connsiteX7" fmla="*/ 1371 w 5192"/>
                <a:gd name="connsiteY7" fmla="*/ 459 h 7851"/>
                <a:gd name="connsiteX8" fmla="*/ -1287 w 5192"/>
                <a:gd name="connsiteY8" fmla="*/ -2206 h 7851"/>
                <a:gd name="connsiteX9" fmla="*/ -3822 w 5192"/>
                <a:gd name="connsiteY9" fmla="*/ -363 h 7851"/>
                <a:gd name="connsiteX10" fmla="*/ -3635 w 5192"/>
                <a:gd name="connsiteY10" fmla="*/ -17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92" h="7851">
                  <a:moveTo>
                    <a:pt x="-3635" y="-17"/>
                  </a:moveTo>
                  <a:lnTo>
                    <a:pt x="-3310" y="-183"/>
                  </a:lnTo>
                  <a:cubicBezTo>
                    <a:pt x="-3027" y="-1046"/>
                    <a:pt x="-2226" y="-1661"/>
                    <a:pt x="-1287" y="-1654"/>
                  </a:cubicBezTo>
                  <a:cubicBezTo>
                    <a:pt x="-120" y="-1654"/>
                    <a:pt x="833" y="-708"/>
                    <a:pt x="833" y="459"/>
                  </a:cubicBezTo>
                  <a:lnTo>
                    <a:pt x="833" y="5383"/>
                  </a:lnTo>
                  <a:lnTo>
                    <a:pt x="1102" y="5645"/>
                  </a:lnTo>
                  <a:lnTo>
                    <a:pt x="1371" y="5383"/>
                  </a:lnTo>
                  <a:lnTo>
                    <a:pt x="1371" y="459"/>
                  </a:lnTo>
                  <a:cubicBezTo>
                    <a:pt x="1371" y="-1025"/>
                    <a:pt x="183" y="-2206"/>
                    <a:pt x="-1287" y="-2206"/>
                  </a:cubicBezTo>
                  <a:cubicBezTo>
                    <a:pt x="-2468" y="-2206"/>
                    <a:pt x="-3483" y="-1426"/>
                    <a:pt x="-3822" y="-363"/>
                  </a:cubicBezTo>
                  <a:lnTo>
                    <a:pt x="-3635" y="-17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F95EF1AE-F6CE-5AAD-08C6-FAC161DAD4CC}"/>
                </a:ext>
              </a:extLst>
            </p:cNvPr>
            <p:cNvSpPr/>
            <p:nvPr/>
          </p:nvSpPr>
          <p:spPr>
            <a:xfrm flipV="1">
              <a:off x="9466345" y="3069178"/>
              <a:ext cx="6346" cy="7851"/>
            </a:xfrm>
            <a:custGeom>
              <a:avLst/>
              <a:gdLst>
                <a:gd name="connsiteX0" fmla="*/ -3831 w 6346"/>
                <a:gd name="connsiteY0" fmla="*/ 5383 h 7851"/>
                <a:gd name="connsiteX1" fmla="*/ -3562 w 6346"/>
                <a:gd name="connsiteY1" fmla="*/ 5645 h 7851"/>
                <a:gd name="connsiteX2" fmla="*/ -3279 w 6346"/>
                <a:gd name="connsiteY2" fmla="*/ 5383 h 7851"/>
                <a:gd name="connsiteX3" fmla="*/ -3279 w 6346"/>
                <a:gd name="connsiteY3" fmla="*/ 970 h 7851"/>
                <a:gd name="connsiteX4" fmla="*/ -669 w 6346"/>
                <a:gd name="connsiteY4" fmla="*/ -1654 h 7851"/>
                <a:gd name="connsiteX5" fmla="*/ 1969 w 6346"/>
                <a:gd name="connsiteY5" fmla="*/ 970 h 7851"/>
                <a:gd name="connsiteX6" fmla="*/ 1969 w 6346"/>
                <a:gd name="connsiteY6" fmla="*/ 5383 h 7851"/>
                <a:gd name="connsiteX7" fmla="*/ 2238 w 6346"/>
                <a:gd name="connsiteY7" fmla="*/ 5645 h 7851"/>
                <a:gd name="connsiteX8" fmla="*/ 2515 w 6346"/>
                <a:gd name="connsiteY8" fmla="*/ 5383 h 7851"/>
                <a:gd name="connsiteX9" fmla="*/ 2515 w 6346"/>
                <a:gd name="connsiteY9" fmla="*/ 970 h 7851"/>
                <a:gd name="connsiteX10" fmla="*/ -669 w 6346"/>
                <a:gd name="connsiteY10" fmla="*/ -2206 h 7851"/>
                <a:gd name="connsiteX11" fmla="*/ -3831 w 6346"/>
                <a:gd name="connsiteY11" fmla="*/ 970 h 7851"/>
                <a:gd name="connsiteX12" fmla="*/ -3831 w 6346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46" h="7851">
                  <a:moveTo>
                    <a:pt x="-3831" y="5383"/>
                  </a:moveTo>
                  <a:lnTo>
                    <a:pt x="-3562" y="5645"/>
                  </a:lnTo>
                  <a:lnTo>
                    <a:pt x="-3279" y="5383"/>
                  </a:lnTo>
                  <a:lnTo>
                    <a:pt x="-3279" y="970"/>
                  </a:lnTo>
                  <a:cubicBezTo>
                    <a:pt x="-3279" y="-480"/>
                    <a:pt x="-2105" y="-1640"/>
                    <a:pt x="-669" y="-1654"/>
                  </a:cubicBezTo>
                  <a:cubicBezTo>
                    <a:pt x="788" y="-1640"/>
                    <a:pt x="1969" y="-480"/>
                    <a:pt x="1969" y="970"/>
                  </a:cubicBezTo>
                  <a:lnTo>
                    <a:pt x="1969" y="5383"/>
                  </a:lnTo>
                  <a:lnTo>
                    <a:pt x="2238" y="5645"/>
                  </a:lnTo>
                  <a:lnTo>
                    <a:pt x="2515" y="5383"/>
                  </a:lnTo>
                  <a:lnTo>
                    <a:pt x="2515" y="970"/>
                  </a:lnTo>
                  <a:cubicBezTo>
                    <a:pt x="2515" y="-777"/>
                    <a:pt x="1092" y="-2206"/>
                    <a:pt x="-669" y="-2206"/>
                  </a:cubicBezTo>
                  <a:cubicBezTo>
                    <a:pt x="-2409" y="-2206"/>
                    <a:pt x="-3831" y="-777"/>
                    <a:pt x="-3831" y="970"/>
                  </a:cubicBezTo>
                  <a:lnTo>
                    <a:pt x="-3831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4EAA445A-E9B1-77EC-01CA-8E80202DB06F}"/>
                </a:ext>
              </a:extLst>
            </p:cNvPr>
            <p:cNvSpPr/>
            <p:nvPr/>
          </p:nvSpPr>
          <p:spPr>
            <a:xfrm flipV="1">
              <a:off x="9475308" y="3069254"/>
              <a:ext cx="5779" cy="7775"/>
            </a:xfrm>
            <a:custGeom>
              <a:avLst/>
              <a:gdLst>
                <a:gd name="connsiteX0" fmla="*/ -3304 w 5779"/>
                <a:gd name="connsiteY0" fmla="*/ 4492 h 7775"/>
                <a:gd name="connsiteX1" fmla="*/ -3304 w 5779"/>
                <a:gd name="connsiteY1" fmla="*/ -1937 h 7775"/>
                <a:gd name="connsiteX2" fmla="*/ -3573 w 5779"/>
                <a:gd name="connsiteY2" fmla="*/ -2206 h 7775"/>
                <a:gd name="connsiteX3" fmla="*/ -3842 w 5779"/>
                <a:gd name="connsiteY3" fmla="*/ -1937 h 7775"/>
                <a:gd name="connsiteX4" fmla="*/ -3842 w 5779"/>
                <a:gd name="connsiteY4" fmla="*/ 5265 h 7775"/>
                <a:gd name="connsiteX5" fmla="*/ -3746 w 5779"/>
                <a:gd name="connsiteY5" fmla="*/ 5569 h 7775"/>
                <a:gd name="connsiteX6" fmla="*/ -3359 w 5779"/>
                <a:gd name="connsiteY6" fmla="*/ 5500 h 7775"/>
                <a:gd name="connsiteX7" fmla="*/ 1392 w 5779"/>
                <a:gd name="connsiteY7" fmla="*/ -1095 h 7775"/>
                <a:gd name="connsiteX8" fmla="*/ 1392 w 5779"/>
                <a:gd name="connsiteY8" fmla="*/ 5300 h 7775"/>
                <a:gd name="connsiteX9" fmla="*/ 1661 w 5779"/>
                <a:gd name="connsiteY9" fmla="*/ 5569 h 7775"/>
                <a:gd name="connsiteX10" fmla="*/ 1938 w 5779"/>
                <a:gd name="connsiteY10" fmla="*/ 5300 h 7775"/>
                <a:gd name="connsiteX11" fmla="*/ 1938 w 5779"/>
                <a:gd name="connsiteY11" fmla="*/ -1937 h 7775"/>
                <a:gd name="connsiteX12" fmla="*/ 1661 w 5779"/>
                <a:gd name="connsiteY12" fmla="*/ -2206 h 7775"/>
                <a:gd name="connsiteX13" fmla="*/ 1447 w 5779"/>
                <a:gd name="connsiteY13" fmla="*/ -2103 h 7775"/>
                <a:gd name="connsiteX14" fmla="*/ 1406 w 5779"/>
                <a:gd name="connsiteY14" fmla="*/ -2054 h 7775"/>
                <a:gd name="connsiteX15" fmla="*/ -3304 w 5779"/>
                <a:gd name="connsiteY15" fmla="*/ 4492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79" h="7775">
                  <a:moveTo>
                    <a:pt x="-3304" y="4492"/>
                  </a:moveTo>
                  <a:lnTo>
                    <a:pt x="-3304" y="-1937"/>
                  </a:lnTo>
                  <a:lnTo>
                    <a:pt x="-3573" y="-2206"/>
                  </a:lnTo>
                  <a:lnTo>
                    <a:pt x="-3842" y="-1937"/>
                  </a:lnTo>
                  <a:lnTo>
                    <a:pt x="-3842" y="5265"/>
                  </a:lnTo>
                  <a:lnTo>
                    <a:pt x="-3746" y="5569"/>
                  </a:lnTo>
                  <a:lnTo>
                    <a:pt x="-3359" y="5500"/>
                  </a:lnTo>
                  <a:lnTo>
                    <a:pt x="1392" y="-1095"/>
                  </a:lnTo>
                  <a:lnTo>
                    <a:pt x="1392" y="5300"/>
                  </a:lnTo>
                  <a:lnTo>
                    <a:pt x="1661" y="5569"/>
                  </a:lnTo>
                  <a:lnTo>
                    <a:pt x="1938" y="5300"/>
                  </a:lnTo>
                  <a:lnTo>
                    <a:pt x="1938" y="-1937"/>
                  </a:lnTo>
                  <a:lnTo>
                    <a:pt x="1661" y="-2206"/>
                  </a:lnTo>
                  <a:lnTo>
                    <a:pt x="1447" y="-2103"/>
                  </a:lnTo>
                  <a:lnTo>
                    <a:pt x="1406" y="-2054"/>
                  </a:lnTo>
                  <a:lnTo>
                    <a:pt x="-3304" y="4492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791F87CB-6D09-6ACE-8C75-6A060B7731E4}"/>
                </a:ext>
              </a:extLst>
            </p:cNvPr>
            <p:cNvSpPr/>
            <p:nvPr/>
          </p:nvSpPr>
          <p:spPr>
            <a:xfrm flipV="1">
              <a:off x="9483174" y="3069178"/>
              <a:ext cx="4571" cy="7851"/>
            </a:xfrm>
            <a:custGeom>
              <a:avLst/>
              <a:gdLst>
                <a:gd name="connsiteX0" fmla="*/ -3851 w 4571"/>
                <a:gd name="connsiteY0" fmla="*/ 5383 h 7851"/>
                <a:gd name="connsiteX1" fmla="*/ -3582 w 4571"/>
                <a:gd name="connsiteY1" fmla="*/ 5645 h 7851"/>
                <a:gd name="connsiteX2" fmla="*/ 451 w 4571"/>
                <a:gd name="connsiteY2" fmla="*/ 5645 h 7851"/>
                <a:gd name="connsiteX3" fmla="*/ 720 w 4571"/>
                <a:gd name="connsiteY3" fmla="*/ 5383 h 7851"/>
                <a:gd name="connsiteX4" fmla="*/ 451 w 4571"/>
                <a:gd name="connsiteY4" fmla="*/ 5100 h 7851"/>
                <a:gd name="connsiteX5" fmla="*/ -3306 w 4571"/>
                <a:gd name="connsiteY5" fmla="*/ 5100 h 7851"/>
                <a:gd name="connsiteX6" fmla="*/ -3306 w 4571"/>
                <a:gd name="connsiteY6" fmla="*/ 1992 h 7851"/>
                <a:gd name="connsiteX7" fmla="*/ -12 w 4571"/>
                <a:gd name="connsiteY7" fmla="*/ 1992 h 7851"/>
                <a:gd name="connsiteX8" fmla="*/ 250 w 4571"/>
                <a:gd name="connsiteY8" fmla="*/ 1709 h 7851"/>
                <a:gd name="connsiteX9" fmla="*/ -12 w 4571"/>
                <a:gd name="connsiteY9" fmla="*/ 1440 h 7851"/>
                <a:gd name="connsiteX10" fmla="*/ -3306 w 4571"/>
                <a:gd name="connsiteY10" fmla="*/ 1440 h 7851"/>
                <a:gd name="connsiteX11" fmla="*/ -3306 w 4571"/>
                <a:gd name="connsiteY11" fmla="*/ -1654 h 7851"/>
                <a:gd name="connsiteX12" fmla="*/ 451 w 4571"/>
                <a:gd name="connsiteY12" fmla="*/ -1654 h 7851"/>
                <a:gd name="connsiteX13" fmla="*/ 720 w 4571"/>
                <a:gd name="connsiteY13" fmla="*/ -1937 h 7851"/>
                <a:gd name="connsiteX14" fmla="*/ 451 w 4571"/>
                <a:gd name="connsiteY14" fmla="*/ -2206 h 7851"/>
                <a:gd name="connsiteX15" fmla="*/ -3548 w 4571"/>
                <a:gd name="connsiteY15" fmla="*/ -2206 h 7851"/>
                <a:gd name="connsiteX16" fmla="*/ -3582 w 4571"/>
                <a:gd name="connsiteY16" fmla="*/ -2206 h 7851"/>
                <a:gd name="connsiteX17" fmla="*/ -3603 w 4571"/>
                <a:gd name="connsiteY17" fmla="*/ -2206 h 7851"/>
                <a:gd name="connsiteX18" fmla="*/ -3851 w 4571"/>
                <a:gd name="connsiteY18" fmla="*/ -1937 h 7851"/>
                <a:gd name="connsiteX19" fmla="*/ -3851 w 4571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1" h="7851">
                  <a:moveTo>
                    <a:pt x="-3851" y="5383"/>
                  </a:moveTo>
                  <a:lnTo>
                    <a:pt x="-3582" y="5645"/>
                  </a:lnTo>
                  <a:lnTo>
                    <a:pt x="451" y="5645"/>
                  </a:lnTo>
                  <a:lnTo>
                    <a:pt x="720" y="5383"/>
                  </a:lnTo>
                  <a:lnTo>
                    <a:pt x="451" y="5100"/>
                  </a:lnTo>
                  <a:lnTo>
                    <a:pt x="-3306" y="5100"/>
                  </a:lnTo>
                  <a:lnTo>
                    <a:pt x="-3306" y="1992"/>
                  </a:lnTo>
                  <a:lnTo>
                    <a:pt x="-12" y="1992"/>
                  </a:lnTo>
                  <a:lnTo>
                    <a:pt x="250" y="1709"/>
                  </a:lnTo>
                  <a:lnTo>
                    <a:pt x="-12" y="1440"/>
                  </a:lnTo>
                  <a:lnTo>
                    <a:pt x="-3306" y="1440"/>
                  </a:lnTo>
                  <a:lnTo>
                    <a:pt x="-3306" y="-1654"/>
                  </a:lnTo>
                  <a:lnTo>
                    <a:pt x="451" y="-1654"/>
                  </a:lnTo>
                  <a:lnTo>
                    <a:pt x="720" y="-1937"/>
                  </a:lnTo>
                  <a:lnTo>
                    <a:pt x="451" y="-2206"/>
                  </a:lnTo>
                  <a:lnTo>
                    <a:pt x="-3548" y="-2206"/>
                  </a:lnTo>
                  <a:lnTo>
                    <a:pt x="-3582" y="-2206"/>
                  </a:lnTo>
                  <a:lnTo>
                    <a:pt x="-3603" y="-2206"/>
                  </a:lnTo>
                  <a:lnTo>
                    <a:pt x="-3851" y="-1937"/>
                  </a:lnTo>
                  <a:lnTo>
                    <a:pt x="-3851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23163CBF-09BB-0AED-B701-2BB7826698B7}"/>
                </a:ext>
              </a:extLst>
            </p:cNvPr>
            <p:cNvSpPr/>
            <p:nvPr/>
          </p:nvSpPr>
          <p:spPr>
            <a:xfrm flipV="1">
              <a:off x="9561295" y="3069178"/>
              <a:ext cx="5192" cy="7851"/>
            </a:xfrm>
            <a:custGeom>
              <a:avLst/>
              <a:gdLst>
                <a:gd name="connsiteX0" fmla="*/ -3777 w 5192"/>
                <a:gd name="connsiteY0" fmla="*/ -17 h 7851"/>
                <a:gd name="connsiteX1" fmla="*/ -3439 w 5192"/>
                <a:gd name="connsiteY1" fmla="*/ -183 h 7851"/>
                <a:gd name="connsiteX2" fmla="*/ -1422 w 5192"/>
                <a:gd name="connsiteY2" fmla="*/ -1654 h 7851"/>
                <a:gd name="connsiteX3" fmla="*/ 705 w 5192"/>
                <a:gd name="connsiteY3" fmla="*/ 459 h 7851"/>
                <a:gd name="connsiteX4" fmla="*/ 705 w 5192"/>
                <a:gd name="connsiteY4" fmla="*/ 5383 h 7851"/>
                <a:gd name="connsiteX5" fmla="*/ 974 w 5192"/>
                <a:gd name="connsiteY5" fmla="*/ 5645 h 7851"/>
                <a:gd name="connsiteX6" fmla="*/ 1243 w 5192"/>
                <a:gd name="connsiteY6" fmla="*/ 5383 h 7851"/>
                <a:gd name="connsiteX7" fmla="*/ 1243 w 5192"/>
                <a:gd name="connsiteY7" fmla="*/ 459 h 7851"/>
                <a:gd name="connsiteX8" fmla="*/ -1422 w 5192"/>
                <a:gd name="connsiteY8" fmla="*/ -2206 h 7851"/>
                <a:gd name="connsiteX9" fmla="*/ -3950 w 5192"/>
                <a:gd name="connsiteY9" fmla="*/ -363 h 7851"/>
                <a:gd name="connsiteX10" fmla="*/ -3777 w 5192"/>
                <a:gd name="connsiteY10" fmla="*/ -17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92" h="7851">
                  <a:moveTo>
                    <a:pt x="-3777" y="-17"/>
                  </a:moveTo>
                  <a:lnTo>
                    <a:pt x="-3439" y="-183"/>
                  </a:lnTo>
                  <a:cubicBezTo>
                    <a:pt x="-3156" y="-1046"/>
                    <a:pt x="-2361" y="-1661"/>
                    <a:pt x="-1422" y="-1654"/>
                  </a:cubicBezTo>
                  <a:cubicBezTo>
                    <a:pt x="-248" y="-1654"/>
                    <a:pt x="705" y="-708"/>
                    <a:pt x="705" y="459"/>
                  </a:cubicBezTo>
                  <a:lnTo>
                    <a:pt x="705" y="5383"/>
                  </a:lnTo>
                  <a:lnTo>
                    <a:pt x="974" y="5645"/>
                  </a:lnTo>
                  <a:lnTo>
                    <a:pt x="1243" y="5383"/>
                  </a:lnTo>
                  <a:lnTo>
                    <a:pt x="1243" y="459"/>
                  </a:lnTo>
                  <a:cubicBezTo>
                    <a:pt x="1243" y="-1025"/>
                    <a:pt x="55" y="-2206"/>
                    <a:pt x="-1422" y="-2206"/>
                  </a:cubicBezTo>
                  <a:cubicBezTo>
                    <a:pt x="-2596" y="-2206"/>
                    <a:pt x="-3611" y="-1426"/>
                    <a:pt x="-3950" y="-363"/>
                  </a:cubicBezTo>
                  <a:lnTo>
                    <a:pt x="-3777" y="-17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54375C19-2764-7D1A-4AD6-133334FECA66}"/>
                </a:ext>
              </a:extLst>
            </p:cNvPr>
            <p:cNvSpPr/>
            <p:nvPr/>
          </p:nvSpPr>
          <p:spPr>
            <a:xfrm flipV="1">
              <a:off x="9568601" y="3069178"/>
              <a:ext cx="6346" cy="7851"/>
            </a:xfrm>
            <a:custGeom>
              <a:avLst/>
              <a:gdLst>
                <a:gd name="connsiteX0" fmla="*/ -3960 w 6346"/>
                <a:gd name="connsiteY0" fmla="*/ 5383 h 7851"/>
                <a:gd name="connsiteX1" fmla="*/ -3690 w 6346"/>
                <a:gd name="connsiteY1" fmla="*/ 5645 h 7851"/>
                <a:gd name="connsiteX2" fmla="*/ -3414 w 6346"/>
                <a:gd name="connsiteY2" fmla="*/ 5383 h 7851"/>
                <a:gd name="connsiteX3" fmla="*/ -3414 w 6346"/>
                <a:gd name="connsiteY3" fmla="*/ 970 h 7851"/>
                <a:gd name="connsiteX4" fmla="*/ -804 w 6346"/>
                <a:gd name="connsiteY4" fmla="*/ -1654 h 7851"/>
                <a:gd name="connsiteX5" fmla="*/ 1841 w 6346"/>
                <a:gd name="connsiteY5" fmla="*/ 970 h 7851"/>
                <a:gd name="connsiteX6" fmla="*/ 1841 w 6346"/>
                <a:gd name="connsiteY6" fmla="*/ 5383 h 7851"/>
                <a:gd name="connsiteX7" fmla="*/ 2110 w 6346"/>
                <a:gd name="connsiteY7" fmla="*/ 5645 h 7851"/>
                <a:gd name="connsiteX8" fmla="*/ 2386 w 6346"/>
                <a:gd name="connsiteY8" fmla="*/ 5383 h 7851"/>
                <a:gd name="connsiteX9" fmla="*/ 2386 w 6346"/>
                <a:gd name="connsiteY9" fmla="*/ 970 h 7851"/>
                <a:gd name="connsiteX10" fmla="*/ -804 w 6346"/>
                <a:gd name="connsiteY10" fmla="*/ -2206 h 7851"/>
                <a:gd name="connsiteX11" fmla="*/ -3960 w 6346"/>
                <a:gd name="connsiteY11" fmla="*/ 970 h 7851"/>
                <a:gd name="connsiteX12" fmla="*/ -3960 w 6346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46" h="7851">
                  <a:moveTo>
                    <a:pt x="-3960" y="5383"/>
                  </a:moveTo>
                  <a:lnTo>
                    <a:pt x="-3690" y="5645"/>
                  </a:lnTo>
                  <a:lnTo>
                    <a:pt x="-3414" y="5383"/>
                  </a:lnTo>
                  <a:lnTo>
                    <a:pt x="-3414" y="970"/>
                  </a:lnTo>
                  <a:cubicBezTo>
                    <a:pt x="-3414" y="-480"/>
                    <a:pt x="-2233" y="-1640"/>
                    <a:pt x="-804" y="-1654"/>
                  </a:cubicBezTo>
                  <a:cubicBezTo>
                    <a:pt x="660" y="-1640"/>
                    <a:pt x="1841" y="-480"/>
                    <a:pt x="1841" y="970"/>
                  </a:cubicBezTo>
                  <a:lnTo>
                    <a:pt x="1841" y="5383"/>
                  </a:lnTo>
                  <a:lnTo>
                    <a:pt x="2110" y="5645"/>
                  </a:lnTo>
                  <a:lnTo>
                    <a:pt x="2386" y="5383"/>
                  </a:lnTo>
                  <a:lnTo>
                    <a:pt x="2386" y="970"/>
                  </a:lnTo>
                  <a:cubicBezTo>
                    <a:pt x="2386" y="-777"/>
                    <a:pt x="964" y="-2206"/>
                    <a:pt x="-804" y="-2206"/>
                  </a:cubicBezTo>
                  <a:cubicBezTo>
                    <a:pt x="-2537" y="-2206"/>
                    <a:pt x="-3960" y="-777"/>
                    <a:pt x="-3960" y="970"/>
                  </a:cubicBezTo>
                  <a:lnTo>
                    <a:pt x="-3960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EB1270FA-3C0C-4A4A-6702-68D91760428B}"/>
                </a:ext>
              </a:extLst>
            </p:cNvPr>
            <p:cNvSpPr/>
            <p:nvPr/>
          </p:nvSpPr>
          <p:spPr>
            <a:xfrm flipV="1">
              <a:off x="9577185" y="3069178"/>
              <a:ext cx="4585" cy="7851"/>
            </a:xfrm>
            <a:custGeom>
              <a:avLst/>
              <a:gdLst>
                <a:gd name="connsiteX0" fmla="*/ -3679 w 4585"/>
                <a:gd name="connsiteY0" fmla="*/ -2206 h 7851"/>
                <a:gd name="connsiteX1" fmla="*/ -3700 w 4585"/>
                <a:gd name="connsiteY1" fmla="*/ -2206 h 7851"/>
                <a:gd name="connsiteX2" fmla="*/ -3969 w 4585"/>
                <a:gd name="connsiteY2" fmla="*/ -1937 h 7851"/>
                <a:gd name="connsiteX3" fmla="*/ -3969 w 4585"/>
                <a:gd name="connsiteY3" fmla="*/ 5383 h 7851"/>
                <a:gd name="connsiteX4" fmla="*/ -3700 w 4585"/>
                <a:gd name="connsiteY4" fmla="*/ 5645 h 7851"/>
                <a:gd name="connsiteX5" fmla="*/ -3417 w 4585"/>
                <a:gd name="connsiteY5" fmla="*/ 5383 h 7851"/>
                <a:gd name="connsiteX6" fmla="*/ -3417 w 4585"/>
                <a:gd name="connsiteY6" fmla="*/ -1654 h 7851"/>
                <a:gd name="connsiteX7" fmla="*/ 339 w 4585"/>
                <a:gd name="connsiteY7" fmla="*/ -1654 h 7851"/>
                <a:gd name="connsiteX8" fmla="*/ 616 w 4585"/>
                <a:gd name="connsiteY8" fmla="*/ -1937 h 7851"/>
                <a:gd name="connsiteX9" fmla="*/ 339 w 4585"/>
                <a:gd name="connsiteY9" fmla="*/ -2206 h 7851"/>
                <a:gd name="connsiteX10" fmla="*/ -3679 w 4585"/>
                <a:gd name="connsiteY10" fmla="*/ -2206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85" h="7851">
                  <a:moveTo>
                    <a:pt x="-3679" y="-2206"/>
                  </a:moveTo>
                  <a:lnTo>
                    <a:pt x="-3700" y="-2206"/>
                  </a:lnTo>
                  <a:lnTo>
                    <a:pt x="-3969" y="-1937"/>
                  </a:lnTo>
                  <a:lnTo>
                    <a:pt x="-3969" y="5383"/>
                  </a:lnTo>
                  <a:lnTo>
                    <a:pt x="-3700" y="5645"/>
                  </a:lnTo>
                  <a:lnTo>
                    <a:pt x="-3417" y="5383"/>
                  </a:lnTo>
                  <a:lnTo>
                    <a:pt x="-3417" y="-1654"/>
                  </a:lnTo>
                  <a:lnTo>
                    <a:pt x="339" y="-1654"/>
                  </a:lnTo>
                  <a:lnTo>
                    <a:pt x="616" y="-1937"/>
                  </a:lnTo>
                  <a:lnTo>
                    <a:pt x="339" y="-2206"/>
                  </a:lnTo>
                  <a:lnTo>
                    <a:pt x="-3679" y="-220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6ACC63FD-801B-E32C-ACD9-279A6FD4195D}"/>
                </a:ext>
              </a:extLst>
            </p:cNvPr>
            <p:cNvSpPr/>
            <p:nvPr/>
          </p:nvSpPr>
          <p:spPr>
            <a:xfrm flipV="1">
              <a:off x="9581542" y="3069282"/>
              <a:ext cx="5800" cy="7748"/>
            </a:xfrm>
            <a:custGeom>
              <a:avLst/>
              <a:gdLst>
                <a:gd name="connsiteX0" fmla="*/ -1338 w 5800"/>
                <a:gd name="connsiteY0" fmla="*/ 1564 h 7748"/>
                <a:gd name="connsiteX1" fmla="*/ -3976 w 5800"/>
                <a:gd name="connsiteY1" fmla="*/ 5169 h 7748"/>
                <a:gd name="connsiteX2" fmla="*/ -3914 w 5800"/>
                <a:gd name="connsiteY2" fmla="*/ 5542 h 7748"/>
                <a:gd name="connsiteX3" fmla="*/ -3534 w 5800"/>
                <a:gd name="connsiteY3" fmla="*/ 5500 h 7748"/>
                <a:gd name="connsiteX4" fmla="*/ -1082 w 5800"/>
                <a:gd name="connsiteY4" fmla="*/ 2123 h 7748"/>
                <a:gd name="connsiteX5" fmla="*/ 1390 w 5800"/>
                <a:gd name="connsiteY5" fmla="*/ 5500 h 7748"/>
                <a:gd name="connsiteX6" fmla="*/ 1770 w 5800"/>
                <a:gd name="connsiteY6" fmla="*/ 5542 h 7748"/>
                <a:gd name="connsiteX7" fmla="*/ 1825 w 5800"/>
                <a:gd name="connsiteY7" fmla="*/ 5169 h 7748"/>
                <a:gd name="connsiteX8" fmla="*/ -799 w 5800"/>
                <a:gd name="connsiteY8" fmla="*/ 1585 h 7748"/>
                <a:gd name="connsiteX9" fmla="*/ -799 w 5800"/>
                <a:gd name="connsiteY9" fmla="*/ -1937 h 7748"/>
                <a:gd name="connsiteX10" fmla="*/ -1069 w 5800"/>
                <a:gd name="connsiteY10" fmla="*/ -2206 h 7748"/>
                <a:gd name="connsiteX11" fmla="*/ -1338 w 5800"/>
                <a:gd name="connsiteY11" fmla="*/ -1937 h 7748"/>
                <a:gd name="connsiteX12" fmla="*/ -1338 w 5800"/>
                <a:gd name="connsiteY12" fmla="*/ 1564 h 7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00" h="7748">
                  <a:moveTo>
                    <a:pt x="-1338" y="1564"/>
                  </a:moveTo>
                  <a:lnTo>
                    <a:pt x="-3976" y="5169"/>
                  </a:lnTo>
                  <a:lnTo>
                    <a:pt x="-3914" y="5542"/>
                  </a:lnTo>
                  <a:lnTo>
                    <a:pt x="-3534" y="5500"/>
                  </a:lnTo>
                  <a:lnTo>
                    <a:pt x="-1082" y="2123"/>
                  </a:lnTo>
                  <a:lnTo>
                    <a:pt x="1390" y="5500"/>
                  </a:lnTo>
                  <a:lnTo>
                    <a:pt x="1770" y="5542"/>
                  </a:lnTo>
                  <a:lnTo>
                    <a:pt x="1825" y="5169"/>
                  </a:lnTo>
                  <a:lnTo>
                    <a:pt x="-799" y="1585"/>
                  </a:lnTo>
                  <a:lnTo>
                    <a:pt x="-799" y="-1937"/>
                  </a:lnTo>
                  <a:lnTo>
                    <a:pt x="-1069" y="-2206"/>
                  </a:lnTo>
                  <a:lnTo>
                    <a:pt x="-1338" y="-1937"/>
                  </a:lnTo>
                  <a:lnTo>
                    <a:pt x="-1338" y="156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1C494C0E-35F8-9AC4-EA90-F8FAC95CC8A7}"/>
                </a:ext>
              </a:extLst>
            </p:cNvPr>
            <p:cNvSpPr/>
            <p:nvPr/>
          </p:nvSpPr>
          <p:spPr>
            <a:xfrm flipV="1">
              <a:off x="9651080" y="3069213"/>
              <a:ext cx="5986" cy="7817"/>
            </a:xfrm>
            <a:custGeom>
              <a:avLst/>
              <a:gdLst>
                <a:gd name="connsiteX0" fmla="*/ -2654 w 5986"/>
                <a:gd name="connsiteY0" fmla="*/ 376 h 7817"/>
                <a:gd name="connsiteX1" fmla="*/ 522 w 5986"/>
                <a:gd name="connsiteY1" fmla="*/ 376 h 7817"/>
                <a:gd name="connsiteX2" fmla="*/ -1066 w 5986"/>
                <a:gd name="connsiteY2" fmla="*/ 4596 h 7817"/>
                <a:gd name="connsiteX3" fmla="*/ 723 w 5986"/>
                <a:gd name="connsiteY3" fmla="*/ -176 h 7817"/>
                <a:gd name="connsiteX4" fmla="*/ -2855 w 5986"/>
                <a:gd name="connsiteY4" fmla="*/ -176 h 7817"/>
                <a:gd name="connsiteX5" fmla="*/ -3545 w 5986"/>
                <a:gd name="connsiteY5" fmla="*/ -2020 h 7817"/>
                <a:gd name="connsiteX6" fmla="*/ -3808 w 5986"/>
                <a:gd name="connsiteY6" fmla="*/ -2206 h 7817"/>
                <a:gd name="connsiteX7" fmla="*/ -3904 w 5986"/>
                <a:gd name="connsiteY7" fmla="*/ -2193 h 7817"/>
                <a:gd name="connsiteX8" fmla="*/ -4063 w 5986"/>
                <a:gd name="connsiteY8" fmla="*/ -1834 h 7817"/>
                <a:gd name="connsiteX9" fmla="*/ -1342 w 5986"/>
                <a:gd name="connsiteY9" fmla="*/ 5445 h 7817"/>
                <a:gd name="connsiteX10" fmla="*/ -1073 w 5986"/>
                <a:gd name="connsiteY10" fmla="*/ 5611 h 7817"/>
                <a:gd name="connsiteX11" fmla="*/ -804 w 5986"/>
                <a:gd name="connsiteY11" fmla="*/ 5445 h 7817"/>
                <a:gd name="connsiteX12" fmla="*/ 1924 w 5986"/>
                <a:gd name="connsiteY12" fmla="*/ -1834 h 7817"/>
                <a:gd name="connsiteX13" fmla="*/ 1772 w 5986"/>
                <a:gd name="connsiteY13" fmla="*/ -2193 h 7817"/>
                <a:gd name="connsiteX14" fmla="*/ 1675 w 5986"/>
                <a:gd name="connsiteY14" fmla="*/ -2206 h 7817"/>
                <a:gd name="connsiteX15" fmla="*/ 1420 w 5986"/>
                <a:gd name="connsiteY15" fmla="*/ -2020 h 7817"/>
                <a:gd name="connsiteX16" fmla="*/ 723 w 5986"/>
                <a:gd name="connsiteY16" fmla="*/ -176 h 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86" h="7817">
                  <a:moveTo>
                    <a:pt x="-2654" y="376"/>
                  </a:moveTo>
                  <a:lnTo>
                    <a:pt x="522" y="376"/>
                  </a:lnTo>
                  <a:lnTo>
                    <a:pt x="-1066" y="4596"/>
                  </a:lnTo>
                  <a:close/>
                  <a:moveTo>
                    <a:pt x="723" y="-176"/>
                  </a:moveTo>
                  <a:lnTo>
                    <a:pt x="-2855" y="-176"/>
                  </a:lnTo>
                  <a:lnTo>
                    <a:pt x="-3545" y="-2020"/>
                  </a:lnTo>
                  <a:lnTo>
                    <a:pt x="-3808" y="-2206"/>
                  </a:lnTo>
                  <a:lnTo>
                    <a:pt x="-3904" y="-2193"/>
                  </a:lnTo>
                  <a:lnTo>
                    <a:pt x="-4063" y="-1834"/>
                  </a:lnTo>
                  <a:lnTo>
                    <a:pt x="-1342" y="5445"/>
                  </a:lnTo>
                  <a:lnTo>
                    <a:pt x="-1073" y="5611"/>
                  </a:lnTo>
                  <a:lnTo>
                    <a:pt x="-804" y="5445"/>
                  </a:lnTo>
                  <a:lnTo>
                    <a:pt x="1924" y="-1834"/>
                  </a:lnTo>
                  <a:lnTo>
                    <a:pt x="1772" y="-2193"/>
                  </a:lnTo>
                  <a:lnTo>
                    <a:pt x="1675" y="-2206"/>
                  </a:lnTo>
                  <a:lnTo>
                    <a:pt x="1420" y="-2020"/>
                  </a:lnTo>
                  <a:lnTo>
                    <a:pt x="723" y="-17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A968AA0B-AB42-B695-FE50-AEDCFFED0168}"/>
                </a:ext>
              </a:extLst>
            </p:cNvPr>
            <p:cNvSpPr/>
            <p:nvPr/>
          </p:nvSpPr>
          <p:spPr>
            <a:xfrm flipV="1">
              <a:off x="9658531" y="3069178"/>
              <a:ext cx="6353" cy="7851"/>
            </a:xfrm>
            <a:custGeom>
              <a:avLst/>
              <a:gdLst>
                <a:gd name="connsiteX0" fmla="*/ -4073 w 6353"/>
                <a:gd name="connsiteY0" fmla="*/ 5383 h 7851"/>
                <a:gd name="connsiteX1" fmla="*/ -3803 w 6353"/>
                <a:gd name="connsiteY1" fmla="*/ 5645 h 7851"/>
                <a:gd name="connsiteX2" fmla="*/ -3520 w 6353"/>
                <a:gd name="connsiteY2" fmla="*/ 5383 h 7851"/>
                <a:gd name="connsiteX3" fmla="*/ -3520 w 6353"/>
                <a:gd name="connsiteY3" fmla="*/ 970 h 7851"/>
                <a:gd name="connsiteX4" fmla="*/ -910 w 6353"/>
                <a:gd name="connsiteY4" fmla="*/ -1654 h 7851"/>
                <a:gd name="connsiteX5" fmla="*/ 1728 w 6353"/>
                <a:gd name="connsiteY5" fmla="*/ 970 h 7851"/>
                <a:gd name="connsiteX6" fmla="*/ 1728 w 6353"/>
                <a:gd name="connsiteY6" fmla="*/ 5383 h 7851"/>
                <a:gd name="connsiteX7" fmla="*/ 1997 w 6353"/>
                <a:gd name="connsiteY7" fmla="*/ 5645 h 7851"/>
                <a:gd name="connsiteX8" fmla="*/ 2280 w 6353"/>
                <a:gd name="connsiteY8" fmla="*/ 5383 h 7851"/>
                <a:gd name="connsiteX9" fmla="*/ 2280 w 6353"/>
                <a:gd name="connsiteY9" fmla="*/ 970 h 7851"/>
                <a:gd name="connsiteX10" fmla="*/ -910 w 6353"/>
                <a:gd name="connsiteY10" fmla="*/ -2206 h 7851"/>
                <a:gd name="connsiteX11" fmla="*/ -4073 w 6353"/>
                <a:gd name="connsiteY11" fmla="*/ 970 h 7851"/>
                <a:gd name="connsiteX12" fmla="*/ -4073 w 6353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53" h="7851">
                  <a:moveTo>
                    <a:pt x="-4073" y="5383"/>
                  </a:moveTo>
                  <a:lnTo>
                    <a:pt x="-3803" y="5645"/>
                  </a:lnTo>
                  <a:lnTo>
                    <a:pt x="-3520" y="5383"/>
                  </a:lnTo>
                  <a:lnTo>
                    <a:pt x="-3520" y="970"/>
                  </a:lnTo>
                  <a:cubicBezTo>
                    <a:pt x="-3520" y="-480"/>
                    <a:pt x="-2346" y="-1640"/>
                    <a:pt x="-910" y="-1654"/>
                  </a:cubicBezTo>
                  <a:cubicBezTo>
                    <a:pt x="554" y="-1640"/>
                    <a:pt x="1728" y="-480"/>
                    <a:pt x="1728" y="970"/>
                  </a:cubicBezTo>
                  <a:lnTo>
                    <a:pt x="1728" y="5383"/>
                  </a:lnTo>
                  <a:lnTo>
                    <a:pt x="1997" y="5645"/>
                  </a:lnTo>
                  <a:lnTo>
                    <a:pt x="2280" y="5383"/>
                  </a:lnTo>
                  <a:lnTo>
                    <a:pt x="2280" y="970"/>
                  </a:lnTo>
                  <a:cubicBezTo>
                    <a:pt x="2280" y="-777"/>
                    <a:pt x="851" y="-2206"/>
                    <a:pt x="-910" y="-2206"/>
                  </a:cubicBezTo>
                  <a:cubicBezTo>
                    <a:pt x="-2650" y="-2206"/>
                    <a:pt x="-4073" y="-777"/>
                    <a:pt x="-4073" y="970"/>
                  </a:cubicBezTo>
                  <a:lnTo>
                    <a:pt x="-4073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F38E8ABD-A4C7-60A7-B423-13E290570A09}"/>
                </a:ext>
              </a:extLst>
            </p:cNvPr>
            <p:cNvSpPr/>
            <p:nvPr/>
          </p:nvSpPr>
          <p:spPr>
            <a:xfrm flipV="1">
              <a:off x="9667280" y="3069061"/>
              <a:ext cx="6718" cy="7968"/>
            </a:xfrm>
            <a:custGeom>
              <a:avLst/>
              <a:gdLst>
                <a:gd name="connsiteX0" fmla="*/ -65 w 6718"/>
                <a:gd name="connsiteY0" fmla="*/ 1329 h 7968"/>
                <a:gd name="connsiteX1" fmla="*/ -348 w 6718"/>
                <a:gd name="connsiteY1" fmla="*/ 1598 h 7968"/>
                <a:gd name="connsiteX2" fmla="*/ -65 w 6718"/>
                <a:gd name="connsiteY2" fmla="*/ 1882 h 7968"/>
                <a:gd name="connsiteX3" fmla="*/ 2387 w 6718"/>
                <a:gd name="connsiteY3" fmla="*/ 1882 h 7968"/>
                <a:gd name="connsiteX4" fmla="*/ 2635 w 6718"/>
                <a:gd name="connsiteY4" fmla="*/ 1598 h 7968"/>
                <a:gd name="connsiteX5" fmla="*/ 2635 w 6718"/>
                <a:gd name="connsiteY5" fmla="*/ -1095 h 7968"/>
                <a:gd name="connsiteX6" fmla="*/ 2635 w 6718"/>
                <a:gd name="connsiteY6" fmla="*/ -1136 h 7968"/>
                <a:gd name="connsiteX7" fmla="*/ 2532 w 6718"/>
                <a:gd name="connsiteY7" fmla="*/ -1343 h 7968"/>
                <a:gd name="connsiteX8" fmla="*/ -3 w 6718"/>
                <a:gd name="connsiteY8" fmla="*/ -2207 h 7968"/>
                <a:gd name="connsiteX9" fmla="*/ -4084 w 6718"/>
                <a:gd name="connsiteY9" fmla="*/ 1792 h 7968"/>
                <a:gd name="connsiteX10" fmla="*/ -3 w 6718"/>
                <a:gd name="connsiteY10" fmla="*/ 5762 h 7968"/>
                <a:gd name="connsiteX11" fmla="*/ 2545 w 6718"/>
                <a:gd name="connsiteY11" fmla="*/ 4872 h 7968"/>
                <a:gd name="connsiteX12" fmla="*/ 2580 w 6718"/>
                <a:gd name="connsiteY12" fmla="*/ 4492 h 7968"/>
                <a:gd name="connsiteX13" fmla="*/ 2193 w 6718"/>
                <a:gd name="connsiteY13" fmla="*/ 4450 h 7968"/>
                <a:gd name="connsiteX14" fmla="*/ -3 w 6718"/>
                <a:gd name="connsiteY14" fmla="*/ 5210 h 7968"/>
                <a:gd name="connsiteX15" fmla="*/ -3531 w 6718"/>
                <a:gd name="connsiteY15" fmla="*/ 1792 h 7968"/>
                <a:gd name="connsiteX16" fmla="*/ -3 w 6718"/>
                <a:gd name="connsiteY16" fmla="*/ -1654 h 7968"/>
                <a:gd name="connsiteX17" fmla="*/ 2076 w 6718"/>
                <a:gd name="connsiteY17" fmla="*/ -977 h 7968"/>
                <a:gd name="connsiteX18" fmla="*/ 2076 w 6718"/>
                <a:gd name="connsiteY18" fmla="*/ 1329 h 7968"/>
                <a:gd name="connsiteX19" fmla="*/ -65 w 6718"/>
                <a:gd name="connsiteY19" fmla="*/ 1329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18" h="7968">
                  <a:moveTo>
                    <a:pt x="-65" y="1329"/>
                  </a:moveTo>
                  <a:lnTo>
                    <a:pt x="-348" y="1598"/>
                  </a:lnTo>
                  <a:lnTo>
                    <a:pt x="-65" y="1882"/>
                  </a:lnTo>
                  <a:lnTo>
                    <a:pt x="2387" y="1882"/>
                  </a:lnTo>
                  <a:lnTo>
                    <a:pt x="2635" y="1598"/>
                  </a:lnTo>
                  <a:lnTo>
                    <a:pt x="2635" y="-1095"/>
                  </a:lnTo>
                  <a:lnTo>
                    <a:pt x="2635" y="-1136"/>
                  </a:lnTo>
                  <a:lnTo>
                    <a:pt x="2532" y="-1343"/>
                  </a:lnTo>
                  <a:cubicBezTo>
                    <a:pt x="1841" y="-1889"/>
                    <a:pt x="964" y="-2207"/>
                    <a:pt x="-3" y="-2207"/>
                  </a:cubicBezTo>
                  <a:cubicBezTo>
                    <a:pt x="-2254" y="-2193"/>
                    <a:pt x="-4084" y="-432"/>
                    <a:pt x="-4084" y="1792"/>
                  </a:cubicBezTo>
                  <a:cubicBezTo>
                    <a:pt x="-4084" y="3974"/>
                    <a:pt x="-2254" y="5762"/>
                    <a:pt x="-3" y="5762"/>
                  </a:cubicBezTo>
                  <a:cubicBezTo>
                    <a:pt x="978" y="5762"/>
                    <a:pt x="1841" y="5424"/>
                    <a:pt x="2545" y="4872"/>
                  </a:cubicBezTo>
                  <a:lnTo>
                    <a:pt x="2580" y="4492"/>
                  </a:lnTo>
                  <a:lnTo>
                    <a:pt x="2193" y="4450"/>
                  </a:lnTo>
                  <a:cubicBezTo>
                    <a:pt x="1620" y="4920"/>
                    <a:pt x="840" y="5210"/>
                    <a:pt x="-3" y="5210"/>
                  </a:cubicBezTo>
                  <a:cubicBezTo>
                    <a:pt x="-1957" y="5210"/>
                    <a:pt x="-3531" y="3670"/>
                    <a:pt x="-3531" y="1792"/>
                  </a:cubicBezTo>
                  <a:cubicBezTo>
                    <a:pt x="-3531" y="-114"/>
                    <a:pt x="-1957" y="-1654"/>
                    <a:pt x="-3" y="-1654"/>
                  </a:cubicBezTo>
                  <a:cubicBezTo>
                    <a:pt x="771" y="-1654"/>
                    <a:pt x="1496" y="-1405"/>
                    <a:pt x="2076" y="-977"/>
                  </a:cubicBezTo>
                  <a:lnTo>
                    <a:pt x="2076" y="1329"/>
                  </a:lnTo>
                  <a:lnTo>
                    <a:pt x="-65" y="1329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F32DE8D1-B7CC-8910-D34D-A01D83DE886D}"/>
                </a:ext>
              </a:extLst>
            </p:cNvPr>
            <p:cNvSpPr/>
            <p:nvPr/>
          </p:nvSpPr>
          <p:spPr>
            <a:xfrm flipV="1">
              <a:off x="9676747" y="3069178"/>
              <a:ext cx="6346" cy="7851"/>
            </a:xfrm>
            <a:custGeom>
              <a:avLst/>
              <a:gdLst>
                <a:gd name="connsiteX0" fmla="*/ -4096 w 6346"/>
                <a:gd name="connsiteY0" fmla="*/ 5383 h 7851"/>
                <a:gd name="connsiteX1" fmla="*/ -3819 w 6346"/>
                <a:gd name="connsiteY1" fmla="*/ 5645 h 7851"/>
                <a:gd name="connsiteX2" fmla="*/ -3536 w 6346"/>
                <a:gd name="connsiteY2" fmla="*/ 5383 h 7851"/>
                <a:gd name="connsiteX3" fmla="*/ -3536 w 6346"/>
                <a:gd name="connsiteY3" fmla="*/ 970 h 7851"/>
                <a:gd name="connsiteX4" fmla="*/ -933 w 6346"/>
                <a:gd name="connsiteY4" fmla="*/ -1654 h 7851"/>
                <a:gd name="connsiteX5" fmla="*/ 1705 w 6346"/>
                <a:gd name="connsiteY5" fmla="*/ 970 h 7851"/>
                <a:gd name="connsiteX6" fmla="*/ 1705 w 6346"/>
                <a:gd name="connsiteY6" fmla="*/ 5383 h 7851"/>
                <a:gd name="connsiteX7" fmla="*/ 1974 w 6346"/>
                <a:gd name="connsiteY7" fmla="*/ 5645 h 7851"/>
                <a:gd name="connsiteX8" fmla="*/ 2251 w 6346"/>
                <a:gd name="connsiteY8" fmla="*/ 5383 h 7851"/>
                <a:gd name="connsiteX9" fmla="*/ 2251 w 6346"/>
                <a:gd name="connsiteY9" fmla="*/ 970 h 7851"/>
                <a:gd name="connsiteX10" fmla="*/ -933 w 6346"/>
                <a:gd name="connsiteY10" fmla="*/ -2206 h 7851"/>
                <a:gd name="connsiteX11" fmla="*/ -4096 w 6346"/>
                <a:gd name="connsiteY11" fmla="*/ 970 h 7851"/>
                <a:gd name="connsiteX12" fmla="*/ -4096 w 6346"/>
                <a:gd name="connsiteY12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46" h="7851">
                  <a:moveTo>
                    <a:pt x="-4096" y="5383"/>
                  </a:moveTo>
                  <a:lnTo>
                    <a:pt x="-3819" y="5645"/>
                  </a:lnTo>
                  <a:lnTo>
                    <a:pt x="-3536" y="5383"/>
                  </a:lnTo>
                  <a:lnTo>
                    <a:pt x="-3536" y="970"/>
                  </a:lnTo>
                  <a:cubicBezTo>
                    <a:pt x="-3536" y="-480"/>
                    <a:pt x="-2369" y="-1640"/>
                    <a:pt x="-933" y="-1654"/>
                  </a:cubicBezTo>
                  <a:cubicBezTo>
                    <a:pt x="525" y="-1640"/>
                    <a:pt x="1705" y="-480"/>
                    <a:pt x="1705" y="970"/>
                  </a:cubicBezTo>
                  <a:lnTo>
                    <a:pt x="1705" y="5383"/>
                  </a:lnTo>
                  <a:lnTo>
                    <a:pt x="1974" y="5645"/>
                  </a:lnTo>
                  <a:lnTo>
                    <a:pt x="2251" y="5383"/>
                  </a:lnTo>
                  <a:lnTo>
                    <a:pt x="2251" y="970"/>
                  </a:lnTo>
                  <a:cubicBezTo>
                    <a:pt x="2251" y="-777"/>
                    <a:pt x="828" y="-2206"/>
                    <a:pt x="-933" y="-2206"/>
                  </a:cubicBezTo>
                  <a:cubicBezTo>
                    <a:pt x="-2666" y="-2206"/>
                    <a:pt x="-4096" y="-777"/>
                    <a:pt x="-4096" y="970"/>
                  </a:cubicBezTo>
                  <a:lnTo>
                    <a:pt x="-4096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635A1286-D5CE-9934-1FF4-FB10112C202D}"/>
                </a:ext>
              </a:extLst>
            </p:cNvPr>
            <p:cNvSpPr/>
            <p:nvPr/>
          </p:nvSpPr>
          <p:spPr>
            <a:xfrm flipV="1">
              <a:off x="9685490" y="3069061"/>
              <a:ext cx="5828" cy="7975"/>
            </a:xfrm>
            <a:custGeom>
              <a:avLst/>
              <a:gdLst>
                <a:gd name="connsiteX0" fmla="*/ -4106 w 5828"/>
                <a:gd name="connsiteY0" fmla="*/ -729 h 7975"/>
                <a:gd name="connsiteX1" fmla="*/ -3761 w 5828"/>
                <a:gd name="connsiteY1" fmla="*/ -694 h 7975"/>
                <a:gd name="connsiteX2" fmla="*/ -1178 w 5828"/>
                <a:gd name="connsiteY2" fmla="*/ -1702 h 7975"/>
                <a:gd name="connsiteX3" fmla="*/ 548 w 5828"/>
                <a:gd name="connsiteY3" fmla="*/ -1185 h 7975"/>
                <a:gd name="connsiteX4" fmla="*/ 1225 w 5828"/>
                <a:gd name="connsiteY4" fmla="*/ -24 h 7975"/>
                <a:gd name="connsiteX5" fmla="*/ 583 w 5828"/>
                <a:gd name="connsiteY5" fmla="*/ 1060 h 7975"/>
                <a:gd name="connsiteX6" fmla="*/ -1233 w 5828"/>
                <a:gd name="connsiteY6" fmla="*/ 1695 h 7975"/>
                <a:gd name="connsiteX7" fmla="*/ -1254 w 5828"/>
                <a:gd name="connsiteY7" fmla="*/ 1695 h 7975"/>
                <a:gd name="connsiteX8" fmla="*/ -3105 w 5828"/>
                <a:gd name="connsiteY8" fmla="*/ 2358 h 7975"/>
                <a:gd name="connsiteX9" fmla="*/ -3920 w 5828"/>
                <a:gd name="connsiteY9" fmla="*/ 3725 h 7975"/>
                <a:gd name="connsiteX10" fmla="*/ -3091 w 5828"/>
                <a:gd name="connsiteY10" fmla="*/ 5196 h 7975"/>
                <a:gd name="connsiteX11" fmla="*/ -1199 w 5828"/>
                <a:gd name="connsiteY11" fmla="*/ 5769 h 7975"/>
                <a:gd name="connsiteX12" fmla="*/ 1225 w 5828"/>
                <a:gd name="connsiteY12" fmla="*/ 4858 h 7975"/>
                <a:gd name="connsiteX13" fmla="*/ 1287 w 5828"/>
                <a:gd name="connsiteY13" fmla="*/ 4512 h 7975"/>
                <a:gd name="connsiteX14" fmla="*/ 956 w 5828"/>
                <a:gd name="connsiteY14" fmla="*/ 4443 h 7975"/>
                <a:gd name="connsiteX15" fmla="*/ -1199 w 5828"/>
                <a:gd name="connsiteY15" fmla="*/ 5272 h 7975"/>
                <a:gd name="connsiteX16" fmla="*/ -2801 w 5828"/>
                <a:gd name="connsiteY16" fmla="*/ 4802 h 7975"/>
                <a:gd name="connsiteX17" fmla="*/ -3416 w 5828"/>
                <a:gd name="connsiteY17" fmla="*/ 3725 h 7975"/>
                <a:gd name="connsiteX18" fmla="*/ -2836 w 5828"/>
                <a:gd name="connsiteY18" fmla="*/ 2772 h 7975"/>
                <a:gd name="connsiteX19" fmla="*/ -1158 w 5828"/>
                <a:gd name="connsiteY19" fmla="*/ 2178 h 7975"/>
                <a:gd name="connsiteX20" fmla="*/ -1130 w 5828"/>
                <a:gd name="connsiteY20" fmla="*/ 2178 h 7975"/>
                <a:gd name="connsiteX21" fmla="*/ 859 w 5828"/>
                <a:gd name="connsiteY21" fmla="*/ 1460 h 7975"/>
                <a:gd name="connsiteX22" fmla="*/ 1722 w 5828"/>
                <a:gd name="connsiteY22" fmla="*/ -24 h 7975"/>
                <a:gd name="connsiteX23" fmla="*/ 838 w 5828"/>
                <a:gd name="connsiteY23" fmla="*/ -1592 h 7975"/>
                <a:gd name="connsiteX24" fmla="*/ -1178 w 5828"/>
                <a:gd name="connsiteY24" fmla="*/ -2207 h 7975"/>
                <a:gd name="connsiteX25" fmla="*/ -4071 w 5828"/>
                <a:gd name="connsiteY25" fmla="*/ -1074 h 7975"/>
                <a:gd name="connsiteX26" fmla="*/ -4106 w 5828"/>
                <a:gd name="connsiteY26" fmla="*/ -729 h 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828" h="7975">
                  <a:moveTo>
                    <a:pt x="-4106" y="-729"/>
                  </a:moveTo>
                  <a:lnTo>
                    <a:pt x="-3761" y="-694"/>
                  </a:lnTo>
                  <a:cubicBezTo>
                    <a:pt x="-3174" y="-1164"/>
                    <a:pt x="-2200" y="-1709"/>
                    <a:pt x="-1178" y="-1702"/>
                  </a:cubicBezTo>
                  <a:cubicBezTo>
                    <a:pt x="-495" y="-1702"/>
                    <a:pt x="120" y="-1502"/>
                    <a:pt x="548" y="-1185"/>
                  </a:cubicBezTo>
                  <a:lnTo>
                    <a:pt x="1225" y="-24"/>
                  </a:lnTo>
                  <a:lnTo>
                    <a:pt x="583" y="1060"/>
                  </a:lnTo>
                  <a:cubicBezTo>
                    <a:pt x="154" y="1336"/>
                    <a:pt x="-474" y="1550"/>
                    <a:pt x="-1233" y="1695"/>
                  </a:cubicBezTo>
                  <a:lnTo>
                    <a:pt x="-1254" y="1695"/>
                  </a:lnTo>
                  <a:cubicBezTo>
                    <a:pt x="-1986" y="1826"/>
                    <a:pt x="-2628" y="2033"/>
                    <a:pt x="-3105" y="2358"/>
                  </a:cubicBezTo>
                  <a:lnTo>
                    <a:pt x="-3920" y="3725"/>
                  </a:lnTo>
                  <a:lnTo>
                    <a:pt x="-3091" y="5196"/>
                  </a:lnTo>
                  <a:cubicBezTo>
                    <a:pt x="-2601" y="5548"/>
                    <a:pt x="-1938" y="5769"/>
                    <a:pt x="-1199" y="5769"/>
                  </a:cubicBezTo>
                  <a:cubicBezTo>
                    <a:pt x="-177" y="5769"/>
                    <a:pt x="610" y="5258"/>
                    <a:pt x="1225" y="4858"/>
                  </a:cubicBezTo>
                  <a:lnTo>
                    <a:pt x="1287" y="4512"/>
                  </a:lnTo>
                  <a:lnTo>
                    <a:pt x="956" y="4443"/>
                  </a:lnTo>
                  <a:cubicBezTo>
                    <a:pt x="341" y="4844"/>
                    <a:pt x="-336" y="5272"/>
                    <a:pt x="-1199" y="5272"/>
                  </a:cubicBezTo>
                  <a:cubicBezTo>
                    <a:pt x="-1841" y="5272"/>
                    <a:pt x="-2414" y="5085"/>
                    <a:pt x="-2801" y="4802"/>
                  </a:cubicBezTo>
                  <a:lnTo>
                    <a:pt x="-3416" y="3725"/>
                  </a:lnTo>
                  <a:lnTo>
                    <a:pt x="-2836" y="2772"/>
                  </a:lnTo>
                  <a:cubicBezTo>
                    <a:pt x="-2449" y="2503"/>
                    <a:pt x="-1869" y="2309"/>
                    <a:pt x="-1158" y="2178"/>
                  </a:cubicBezTo>
                  <a:lnTo>
                    <a:pt x="-1130" y="2178"/>
                  </a:lnTo>
                  <a:cubicBezTo>
                    <a:pt x="-350" y="2033"/>
                    <a:pt x="348" y="1805"/>
                    <a:pt x="859" y="1460"/>
                  </a:cubicBezTo>
                  <a:cubicBezTo>
                    <a:pt x="1377" y="1122"/>
                    <a:pt x="1722" y="611"/>
                    <a:pt x="1722" y="-24"/>
                  </a:cubicBezTo>
                  <a:cubicBezTo>
                    <a:pt x="1722" y="-646"/>
                    <a:pt x="1363" y="-1212"/>
                    <a:pt x="838" y="-1592"/>
                  </a:cubicBezTo>
                  <a:cubicBezTo>
                    <a:pt x="313" y="-1972"/>
                    <a:pt x="-391" y="-2207"/>
                    <a:pt x="-1178" y="-2207"/>
                  </a:cubicBezTo>
                  <a:cubicBezTo>
                    <a:pt x="-2380" y="-2200"/>
                    <a:pt x="-3416" y="-1592"/>
                    <a:pt x="-4071" y="-1074"/>
                  </a:cubicBezTo>
                  <a:lnTo>
                    <a:pt x="-4106" y="-729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56125269-9008-B4AE-CC2C-482CDF1DED59}"/>
                </a:ext>
              </a:extLst>
            </p:cNvPr>
            <p:cNvSpPr/>
            <p:nvPr/>
          </p:nvSpPr>
          <p:spPr>
            <a:xfrm flipV="1">
              <a:off x="9692540" y="3069178"/>
              <a:ext cx="5807" cy="7851"/>
            </a:xfrm>
            <a:custGeom>
              <a:avLst/>
              <a:gdLst>
                <a:gd name="connsiteX0" fmla="*/ -1477 w 5807"/>
                <a:gd name="connsiteY0" fmla="*/ 5100 h 7851"/>
                <a:gd name="connsiteX1" fmla="*/ -3846 w 5807"/>
                <a:gd name="connsiteY1" fmla="*/ 5100 h 7851"/>
                <a:gd name="connsiteX2" fmla="*/ -4115 w 5807"/>
                <a:gd name="connsiteY2" fmla="*/ 5383 h 7851"/>
                <a:gd name="connsiteX3" fmla="*/ -3846 w 5807"/>
                <a:gd name="connsiteY3" fmla="*/ 5645 h 7851"/>
                <a:gd name="connsiteX4" fmla="*/ 1423 w 5807"/>
                <a:gd name="connsiteY4" fmla="*/ 5645 h 7851"/>
                <a:gd name="connsiteX5" fmla="*/ 1693 w 5807"/>
                <a:gd name="connsiteY5" fmla="*/ 5383 h 7851"/>
                <a:gd name="connsiteX6" fmla="*/ 1423 w 5807"/>
                <a:gd name="connsiteY6" fmla="*/ 5100 h 7851"/>
                <a:gd name="connsiteX7" fmla="*/ -938 w 5807"/>
                <a:gd name="connsiteY7" fmla="*/ 5100 h 7851"/>
                <a:gd name="connsiteX8" fmla="*/ -938 w 5807"/>
                <a:gd name="connsiteY8" fmla="*/ -1937 h 7851"/>
                <a:gd name="connsiteX9" fmla="*/ -1208 w 5807"/>
                <a:gd name="connsiteY9" fmla="*/ -2206 h 7851"/>
                <a:gd name="connsiteX10" fmla="*/ -1477 w 5807"/>
                <a:gd name="connsiteY10" fmla="*/ -1937 h 7851"/>
                <a:gd name="connsiteX11" fmla="*/ -1477 w 5807"/>
                <a:gd name="connsiteY11" fmla="*/ 5100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7" h="7851">
                  <a:moveTo>
                    <a:pt x="-1477" y="5100"/>
                  </a:moveTo>
                  <a:lnTo>
                    <a:pt x="-3846" y="5100"/>
                  </a:lnTo>
                  <a:lnTo>
                    <a:pt x="-4115" y="5383"/>
                  </a:lnTo>
                  <a:lnTo>
                    <a:pt x="-3846" y="5645"/>
                  </a:lnTo>
                  <a:lnTo>
                    <a:pt x="1423" y="5645"/>
                  </a:lnTo>
                  <a:lnTo>
                    <a:pt x="1693" y="5383"/>
                  </a:lnTo>
                  <a:lnTo>
                    <a:pt x="1423" y="5100"/>
                  </a:lnTo>
                  <a:lnTo>
                    <a:pt x="-938" y="5100"/>
                  </a:lnTo>
                  <a:lnTo>
                    <a:pt x="-938" y="-1937"/>
                  </a:lnTo>
                  <a:lnTo>
                    <a:pt x="-1208" y="-2206"/>
                  </a:lnTo>
                  <a:lnTo>
                    <a:pt x="-1477" y="-1937"/>
                  </a:lnTo>
                  <a:lnTo>
                    <a:pt x="-1477" y="5100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599CA1BD-17D2-2242-9D23-B3D6D386AEEA}"/>
                </a:ext>
              </a:extLst>
            </p:cNvPr>
            <p:cNvSpPr/>
            <p:nvPr/>
          </p:nvSpPr>
          <p:spPr>
            <a:xfrm flipV="1">
              <a:off x="9744013" y="3069061"/>
              <a:ext cx="5828" cy="7975"/>
            </a:xfrm>
            <a:custGeom>
              <a:avLst/>
              <a:gdLst>
                <a:gd name="connsiteX0" fmla="*/ -4180 w 5828"/>
                <a:gd name="connsiteY0" fmla="*/ -729 h 7975"/>
                <a:gd name="connsiteX1" fmla="*/ -3834 w 5828"/>
                <a:gd name="connsiteY1" fmla="*/ -694 h 7975"/>
                <a:gd name="connsiteX2" fmla="*/ -1245 w 5828"/>
                <a:gd name="connsiteY2" fmla="*/ -1702 h 7975"/>
                <a:gd name="connsiteX3" fmla="*/ 482 w 5828"/>
                <a:gd name="connsiteY3" fmla="*/ -1185 h 7975"/>
                <a:gd name="connsiteX4" fmla="*/ 1144 w 5828"/>
                <a:gd name="connsiteY4" fmla="*/ -24 h 7975"/>
                <a:gd name="connsiteX5" fmla="*/ 509 w 5828"/>
                <a:gd name="connsiteY5" fmla="*/ 1060 h 7975"/>
                <a:gd name="connsiteX6" fmla="*/ -1307 w 5828"/>
                <a:gd name="connsiteY6" fmla="*/ 1695 h 7975"/>
                <a:gd name="connsiteX7" fmla="*/ -1328 w 5828"/>
                <a:gd name="connsiteY7" fmla="*/ 1695 h 7975"/>
                <a:gd name="connsiteX8" fmla="*/ -3185 w 5828"/>
                <a:gd name="connsiteY8" fmla="*/ 2358 h 7975"/>
                <a:gd name="connsiteX9" fmla="*/ -3986 w 5828"/>
                <a:gd name="connsiteY9" fmla="*/ 3725 h 7975"/>
                <a:gd name="connsiteX10" fmla="*/ -3171 w 5828"/>
                <a:gd name="connsiteY10" fmla="*/ 5196 h 7975"/>
                <a:gd name="connsiteX11" fmla="*/ -1265 w 5828"/>
                <a:gd name="connsiteY11" fmla="*/ 5769 h 7975"/>
                <a:gd name="connsiteX12" fmla="*/ 1144 w 5828"/>
                <a:gd name="connsiteY12" fmla="*/ 4858 h 7975"/>
                <a:gd name="connsiteX13" fmla="*/ 1221 w 5828"/>
                <a:gd name="connsiteY13" fmla="*/ 4512 h 7975"/>
                <a:gd name="connsiteX14" fmla="*/ 882 w 5828"/>
                <a:gd name="connsiteY14" fmla="*/ 4443 h 7975"/>
                <a:gd name="connsiteX15" fmla="*/ -1265 w 5828"/>
                <a:gd name="connsiteY15" fmla="*/ 5272 h 7975"/>
                <a:gd name="connsiteX16" fmla="*/ -2881 w 5828"/>
                <a:gd name="connsiteY16" fmla="*/ 4802 h 7975"/>
                <a:gd name="connsiteX17" fmla="*/ -3496 w 5828"/>
                <a:gd name="connsiteY17" fmla="*/ 3725 h 7975"/>
                <a:gd name="connsiteX18" fmla="*/ -2916 w 5828"/>
                <a:gd name="connsiteY18" fmla="*/ 2772 h 7975"/>
                <a:gd name="connsiteX19" fmla="*/ -1231 w 5828"/>
                <a:gd name="connsiteY19" fmla="*/ 2178 h 7975"/>
                <a:gd name="connsiteX20" fmla="*/ -1210 w 5828"/>
                <a:gd name="connsiteY20" fmla="*/ 2178 h 7975"/>
                <a:gd name="connsiteX21" fmla="*/ 785 w 5828"/>
                <a:gd name="connsiteY21" fmla="*/ 1460 h 7975"/>
                <a:gd name="connsiteX22" fmla="*/ 1649 w 5828"/>
                <a:gd name="connsiteY22" fmla="*/ -24 h 7975"/>
                <a:gd name="connsiteX23" fmla="*/ 772 w 5828"/>
                <a:gd name="connsiteY23" fmla="*/ -1592 h 7975"/>
                <a:gd name="connsiteX24" fmla="*/ -1245 w 5828"/>
                <a:gd name="connsiteY24" fmla="*/ -2207 h 7975"/>
                <a:gd name="connsiteX25" fmla="*/ -4138 w 5828"/>
                <a:gd name="connsiteY25" fmla="*/ -1074 h 7975"/>
                <a:gd name="connsiteX26" fmla="*/ -4180 w 5828"/>
                <a:gd name="connsiteY26" fmla="*/ -729 h 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828" h="7975">
                  <a:moveTo>
                    <a:pt x="-4180" y="-729"/>
                  </a:moveTo>
                  <a:lnTo>
                    <a:pt x="-3834" y="-694"/>
                  </a:lnTo>
                  <a:cubicBezTo>
                    <a:pt x="-3247" y="-1164"/>
                    <a:pt x="-2274" y="-1709"/>
                    <a:pt x="-1245" y="-1702"/>
                  </a:cubicBezTo>
                  <a:cubicBezTo>
                    <a:pt x="-568" y="-1702"/>
                    <a:pt x="53" y="-1502"/>
                    <a:pt x="482" y="-1185"/>
                  </a:cubicBezTo>
                  <a:lnTo>
                    <a:pt x="1144" y="-24"/>
                  </a:lnTo>
                  <a:lnTo>
                    <a:pt x="509" y="1060"/>
                  </a:lnTo>
                  <a:cubicBezTo>
                    <a:pt x="88" y="1336"/>
                    <a:pt x="-540" y="1550"/>
                    <a:pt x="-1307" y="1695"/>
                  </a:cubicBezTo>
                  <a:lnTo>
                    <a:pt x="-1328" y="1695"/>
                  </a:lnTo>
                  <a:cubicBezTo>
                    <a:pt x="-2059" y="1826"/>
                    <a:pt x="-2695" y="2033"/>
                    <a:pt x="-3185" y="2358"/>
                  </a:cubicBezTo>
                  <a:lnTo>
                    <a:pt x="-3986" y="3725"/>
                  </a:lnTo>
                  <a:lnTo>
                    <a:pt x="-3171" y="5196"/>
                  </a:lnTo>
                  <a:cubicBezTo>
                    <a:pt x="-2674" y="5548"/>
                    <a:pt x="-2018" y="5769"/>
                    <a:pt x="-1265" y="5769"/>
                  </a:cubicBezTo>
                  <a:cubicBezTo>
                    <a:pt x="-243" y="5769"/>
                    <a:pt x="530" y="5258"/>
                    <a:pt x="1144" y="4858"/>
                  </a:cubicBezTo>
                  <a:lnTo>
                    <a:pt x="1221" y="4512"/>
                  </a:lnTo>
                  <a:lnTo>
                    <a:pt x="882" y="4443"/>
                  </a:lnTo>
                  <a:cubicBezTo>
                    <a:pt x="261" y="4844"/>
                    <a:pt x="-402" y="5272"/>
                    <a:pt x="-1265" y="5272"/>
                  </a:cubicBezTo>
                  <a:cubicBezTo>
                    <a:pt x="-1914" y="5272"/>
                    <a:pt x="-2481" y="5085"/>
                    <a:pt x="-2881" y="4802"/>
                  </a:cubicBezTo>
                  <a:lnTo>
                    <a:pt x="-3496" y="3725"/>
                  </a:lnTo>
                  <a:lnTo>
                    <a:pt x="-2916" y="2772"/>
                  </a:lnTo>
                  <a:cubicBezTo>
                    <a:pt x="-2515" y="2503"/>
                    <a:pt x="-1935" y="2309"/>
                    <a:pt x="-1231" y="2178"/>
                  </a:cubicBezTo>
                  <a:lnTo>
                    <a:pt x="-1210" y="2178"/>
                  </a:lnTo>
                  <a:cubicBezTo>
                    <a:pt x="-416" y="2033"/>
                    <a:pt x="275" y="1805"/>
                    <a:pt x="785" y="1460"/>
                  </a:cubicBezTo>
                  <a:cubicBezTo>
                    <a:pt x="1310" y="1122"/>
                    <a:pt x="1649" y="611"/>
                    <a:pt x="1649" y="-24"/>
                  </a:cubicBezTo>
                  <a:cubicBezTo>
                    <a:pt x="1649" y="-646"/>
                    <a:pt x="1297" y="-1212"/>
                    <a:pt x="772" y="-1592"/>
                  </a:cubicBezTo>
                  <a:cubicBezTo>
                    <a:pt x="240" y="-1972"/>
                    <a:pt x="-465" y="-2207"/>
                    <a:pt x="-1245" y="-2207"/>
                  </a:cubicBezTo>
                  <a:cubicBezTo>
                    <a:pt x="-2446" y="-2200"/>
                    <a:pt x="-3496" y="-1592"/>
                    <a:pt x="-4138" y="-1074"/>
                  </a:cubicBezTo>
                  <a:lnTo>
                    <a:pt x="-4180" y="-729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97A02A67-AF3C-EF71-33BB-DD875E7C30CE}"/>
                </a:ext>
              </a:extLst>
            </p:cNvPr>
            <p:cNvSpPr/>
            <p:nvPr/>
          </p:nvSpPr>
          <p:spPr>
            <a:xfrm flipV="1">
              <a:off x="9751837" y="3069178"/>
              <a:ext cx="4578" cy="7851"/>
            </a:xfrm>
            <a:custGeom>
              <a:avLst/>
              <a:gdLst>
                <a:gd name="connsiteX0" fmla="*/ -4189 w 4578"/>
                <a:gd name="connsiteY0" fmla="*/ 5383 h 7851"/>
                <a:gd name="connsiteX1" fmla="*/ -3913 w 4578"/>
                <a:gd name="connsiteY1" fmla="*/ 5645 h 7851"/>
                <a:gd name="connsiteX2" fmla="*/ 121 w 4578"/>
                <a:gd name="connsiteY2" fmla="*/ 5645 h 7851"/>
                <a:gd name="connsiteX3" fmla="*/ 390 w 4578"/>
                <a:gd name="connsiteY3" fmla="*/ 5383 h 7851"/>
                <a:gd name="connsiteX4" fmla="*/ 121 w 4578"/>
                <a:gd name="connsiteY4" fmla="*/ 5100 h 7851"/>
                <a:gd name="connsiteX5" fmla="*/ -3636 w 4578"/>
                <a:gd name="connsiteY5" fmla="*/ 5100 h 7851"/>
                <a:gd name="connsiteX6" fmla="*/ -3636 w 4578"/>
                <a:gd name="connsiteY6" fmla="*/ 1992 h 7851"/>
                <a:gd name="connsiteX7" fmla="*/ -349 w 4578"/>
                <a:gd name="connsiteY7" fmla="*/ 1992 h 7851"/>
                <a:gd name="connsiteX8" fmla="*/ -87 w 4578"/>
                <a:gd name="connsiteY8" fmla="*/ 1709 h 7851"/>
                <a:gd name="connsiteX9" fmla="*/ -349 w 4578"/>
                <a:gd name="connsiteY9" fmla="*/ 1440 h 7851"/>
                <a:gd name="connsiteX10" fmla="*/ -3636 w 4578"/>
                <a:gd name="connsiteY10" fmla="*/ 1440 h 7851"/>
                <a:gd name="connsiteX11" fmla="*/ -3636 w 4578"/>
                <a:gd name="connsiteY11" fmla="*/ -1654 h 7851"/>
                <a:gd name="connsiteX12" fmla="*/ 121 w 4578"/>
                <a:gd name="connsiteY12" fmla="*/ -1654 h 7851"/>
                <a:gd name="connsiteX13" fmla="*/ 390 w 4578"/>
                <a:gd name="connsiteY13" fmla="*/ -1937 h 7851"/>
                <a:gd name="connsiteX14" fmla="*/ 121 w 4578"/>
                <a:gd name="connsiteY14" fmla="*/ -2206 h 7851"/>
                <a:gd name="connsiteX15" fmla="*/ -3885 w 4578"/>
                <a:gd name="connsiteY15" fmla="*/ -2206 h 7851"/>
                <a:gd name="connsiteX16" fmla="*/ -3913 w 4578"/>
                <a:gd name="connsiteY16" fmla="*/ -2206 h 7851"/>
                <a:gd name="connsiteX17" fmla="*/ -3933 w 4578"/>
                <a:gd name="connsiteY17" fmla="*/ -2206 h 7851"/>
                <a:gd name="connsiteX18" fmla="*/ -4189 w 4578"/>
                <a:gd name="connsiteY18" fmla="*/ -1937 h 7851"/>
                <a:gd name="connsiteX19" fmla="*/ -4189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4189" y="5383"/>
                  </a:moveTo>
                  <a:lnTo>
                    <a:pt x="-3913" y="5645"/>
                  </a:lnTo>
                  <a:lnTo>
                    <a:pt x="121" y="5645"/>
                  </a:lnTo>
                  <a:lnTo>
                    <a:pt x="390" y="5383"/>
                  </a:lnTo>
                  <a:lnTo>
                    <a:pt x="121" y="5100"/>
                  </a:lnTo>
                  <a:lnTo>
                    <a:pt x="-3636" y="5100"/>
                  </a:lnTo>
                  <a:lnTo>
                    <a:pt x="-3636" y="1992"/>
                  </a:lnTo>
                  <a:lnTo>
                    <a:pt x="-349" y="1992"/>
                  </a:lnTo>
                  <a:lnTo>
                    <a:pt x="-87" y="1709"/>
                  </a:lnTo>
                  <a:lnTo>
                    <a:pt x="-349" y="1440"/>
                  </a:lnTo>
                  <a:lnTo>
                    <a:pt x="-3636" y="1440"/>
                  </a:lnTo>
                  <a:lnTo>
                    <a:pt x="-3636" y="-1654"/>
                  </a:lnTo>
                  <a:lnTo>
                    <a:pt x="121" y="-1654"/>
                  </a:lnTo>
                  <a:lnTo>
                    <a:pt x="390" y="-1937"/>
                  </a:lnTo>
                  <a:lnTo>
                    <a:pt x="121" y="-2206"/>
                  </a:lnTo>
                  <a:lnTo>
                    <a:pt x="-3885" y="-2206"/>
                  </a:lnTo>
                  <a:lnTo>
                    <a:pt x="-3913" y="-2206"/>
                  </a:lnTo>
                  <a:lnTo>
                    <a:pt x="-3933" y="-2206"/>
                  </a:lnTo>
                  <a:lnTo>
                    <a:pt x="-4189" y="-1937"/>
                  </a:lnTo>
                  <a:lnTo>
                    <a:pt x="-4189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7792A633-0F06-3402-1854-72B8D34DA890}"/>
                </a:ext>
              </a:extLst>
            </p:cNvPr>
            <p:cNvSpPr/>
            <p:nvPr/>
          </p:nvSpPr>
          <p:spPr>
            <a:xfrm flipV="1">
              <a:off x="9758473" y="3069178"/>
              <a:ext cx="4723" cy="7851"/>
            </a:xfrm>
            <a:custGeom>
              <a:avLst/>
              <a:gdLst>
                <a:gd name="connsiteX0" fmla="*/ -1704 w 4723"/>
                <a:gd name="connsiteY0" fmla="*/ 1702 h 7851"/>
                <a:gd name="connsiteX1" fmla="*/ -12 w 4723"/>
                <a:gd name="connsiteY1" fmla="*/ 3401 h 7851"/>
                <a:gd name="connsiteX2" fmla="*/ -1704 w 4723"/>
                <a:gd name="connsiteY2" fmla="*/ 5100 h 7851"/>
                <a:gd name="connsiteX3" fmla="*/ -3644 w 4723"/>
                <a:gd name="connsiteY3" fmla="*/ 5100 h 7851"/>
                <a:gd name="connsiteX4" fmla="*/ -3644 w 4723"/>
                <a:gd name="connsiteY4" fmla="*/ 1702 h 7851"/>
                <a:gd name="connsiteX5" fmla="*/ -4197 w 4723"/>
                <a:gd name="connsiteY5" fmla="*/ 5383 h 7851"/>
                <a:gd name="connsiteX6" fmla="*/ -3928 w 4723"/>
                <a:gd name="connsiteY6" fmla="*/ 5645 h 7851"/>
                <a:gd name="connsiteX7" fmla="*/ -1704 w 4723"/>
                <a:gd name="connsiteY7" fmla="*/ 5645 h 7851"/>
                <a:gd name="connsiteX8" fmla="*/ 526 w 4723"/>
                <a:gd name="connsiteY8" fmla="*/ 3401 h 7851"/>
                <a:gd name="connsiteX9" fmla="*/ -1704 w 4723"/>
                <a:gd name="connsiteY9" fmla="*/ 1170 h 7851"/>
                <a:gd name="connsiteX10" fmla="*/ -3644 w 4723"/>
                <a:gd name="connsiteY10" fmla="*/ 1150 h 7851"/>
                <a:gd name="connsiteX11" fmla="*/ -3644 w 4723"/>
                <a:gd name="connsiteY11" fmla="*/ -1937 h 7851"/>
                <a:gd name="connsiteX12" fmla="*/ -3928 w 4723"/>
                <a:gd name="connsiteY12" fmla="*/ -2206 h 7851"/>
                <a:gd name="connsiteX13" fmla="*/ -4197 w 4723"/>
                <a:gd name="connsiteY13" fmla="*/ -1937 h 7851"/>
                <a:gd name="connsiteX14" fmla="*/ -4197 w 4723"/>
                <a:gd name="connsiteY14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723" h="7851">
                  <a:moveTo>
                    <a:pt x="-1704" y="1702"/>
                  </a:moveTo>
                  <a:cubicBezTo>
                    <a:pt x="-772" y="1709"/>
                    <a:pt x="-12" y="2475"/>
                    <a:pt x="-12" y="3401"/>
                  </a:cubicBezTo>
                  <a:cubicBezTo>
                    <a:pt x="-12" y="4333"/>
                    <a:pt x="-772" y="5100"/>
                    <a:pt x="-1704" y="5100"/>
                  </a:cubicBezTo>
                  <a:lnTo>
                    <a:pt x="-3644" y="5100"/>
                  </a:lnTo>
                  <a:lnTo>
                    <a:pt x="-3644" y="1702"/>
                  </a:lnTo>
                  <a:close/>
                  <a:moveTo>
                    <a:pt x="-4197" y="5383"/>
                  </a:moveTo>
                  <a:lnTo>
                    <a:pt x="-3928" y="5645"/>
                  </a:lnTo>
                  <a:lnTo>
                    <a:pt x="-1704" y="5645"/>
                  </a:lnTo>
                  <a:cubicBezTo>
                    <a:pt x="-475" y="5645"/>
                    <a:pt x="526" y="4637"/>
                    <a:pt x="526" y="3401"/>
                  </a:cubicBezTo>
                  <a:cubicBezTo>
                    <a:pt x="526" y="2172"/>
                    <a:pt x="-475" y="1170"/>
                    <a:pt x="-1704" y="1170"/>
                  </a:cubicBezTo>
                  <a:lnTo>
                    <a:pt x="-3644" y="1150"/>
                  </a:lnTo>
                  <a:lnTo>
                    <a:pt x="-3644" y="-1937"/>
                  </a:lnTo>
                  <a:lnTo>
                    <a:pt x="-3928" y="-2206"/>
                  </a:lnTo>
                  <a:lnTo>
                    <a:pt x="-4197" y="-1937"/>
                  </a:lnTo>
                  <a:lnTo>
                    <a:pt x="-4197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C2C1CCD7-741E-69B7-E315-46300DD2A499}"/>
                </a:ext>
              </a:extLst>
            </p:cNvPr>
            <p:cNvSpPr/>
            <p:nvPr/>
          </p:nvSpPr>
          <p:spPr>
            <a:xfrm flipV="1">
              <a:off x="9764392" y="3069178"/>
              <a:ext cx="5814" cy="7851"/>
            </a:xfrm>
            <a:custGeom>
              <a:avLst/>
              <a:gdLst>
                <a:gd name="connsiteX0" fmla="*/ -1567 w 5814"/>
                <a:gd name="connsiteY0" fmla="*/ 5100 h 7851"/>
                <a:gd name="connsiteX1" fmla="*/ -3936 w 5814"/>
                <a:gd name="connsiteY1" fmla="*/ 5100 h 7851"/>
                <a:gd name="connsiteX2" fmla="*/ -4205 w 5814"/>
                <a:gd name="connsiteY2" fmla="*/ 5383 h 7851"/>
                <a:gd name="connsiteX3" fmla="*/ -3936 w 5814"/>
                <a:gd name="connsiteY3" fmla="*/ 5645 h 7851"/>
                <a:gd name="connsiteX4" fmla="*/ 1340 w 5814"/>
                <a:gd name="connsiteY4" fmla="*/ 5645 h 7851"/>
                <a:gd name="connsiteX5" fmla="*/ 1609 w 5814"/>
                <a:gd name="connsiteY5" fmla="*/ 5383 h 7851"/>
                <a:gd name="connsiteX6" fmla="*/ 1340 w 5814"/>
                <a:gd name="connsiteY6" fmla="*/ 5100 h 7851"/>
                <a:gd name="connsiteX7" fmla="*/ -1029 w 5814"/>
                <a:gd name="connsiteY7" fmla="*/ 5100 h 7851"/>
                <a:gd name="connsiteX8" fmla="*/ -1029 w 5814"/>
                <a:gd name="connsiteY8" fmla="*/ -1937 h 7851"/>
                <a:gd name="connsiteX9" fmla="*/ -1298 w 5814"/>
                <a:gd name="connsiteY9" fmla="*/ -2206 h 7851"/>
                <a:gd name="connsiteX10" fmla="*/ -1567 w 5814"/>
                <a:gd name="connsiteY10" fmla="*/ -1937 h 7851"/>
                <a:gd name="connsiteX11" fmla="*/ -1567 w 5814"/>
                <a:gd name="connsiteY11" fmla="*/ 5100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14" h="7851">
                  <a:moveTo>
                    <a:pt x="-1567" y="5100"/>
                  </a:moveTo>
                  <a:lnTo>
                    <a:pt x="-3936" y="5100"/>
                  </a:lnTo>
                  <a:lnTo>
                    <a:pt x="-4205" y="5383"/>
                  </a:lnTo>
                  <a:lnTo>
                    <a:pt x="-3936" y="5645"/>
                  </a:lnTo>
                  <a:lnTo>
                    <a:pt x="1340" y="5645"/>
                  </a:lnTo>
                  <a:lnTo>
                    <a:pt x="1609" y="5383"/>
                  </a:lnTo>
                  <a:lnTo>
                    <a:pt x="1340" y="5100"/>
                  </a:lnTo>
                  <a:lnTo>
                    <a:pt x="-1029" y="5100"/>
                  </a:lnTo>
                  <a:lnTo>
                    <a:pt x="-1029" y="-1937"/>
                  </a:lnTo>
                  <a:lnTo>
                    <a:pt x="-1298" y="-2206"/>
                  </a:lnTo>
                  <a:lnTo>
                    <a:pt x="-1567" y="-1937"/>
                  </a:lnTo>
                  <a:lnTo>
                    <a:pt x="-1567" y="5100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18C2463C-08D0-2E37-F3C2-57966ECC3C78}"/>
                </a:ext>
              </a:extLst>
            </p:cNvPr>
            <p:cNvSpPr/>
            <p:nvPr/>
          </p:nvSpPr>
          <p:spPr>
            <a:xfrm flipV="1">
              <a:off x="9772257" y="3069178"/>
              <a:ext cx="4571" cy="7851"/>
            </a:xfrm>
            <a:custGeom>
              <a:avLst/>
              <a:gdLst>
                <a:gd name="connsiteX0" fmla="*/ -4214 w 4571"/>
                <a:gd name="connsiteY0" fmla="*/ 5383 h 7851"/>
                <a:gd name="connsiteX1" fmla="*/ -3945 w 4571"/>
                <a:gd name="connsiteY1" fmla="*/ 5645 h 7851"/>
                <a:gd name="connsiteX2" fmla="*/ 88 w 4571"/>
                <a:gd name="connsiteY2" fmla="*/ 5645 h 7851"/>
                <a:gd name="connsiteX3" fmla="*/ 357 w 4571"/>
                <a:gd name="connsiteY3" fmla="*/ 5383 h 7851"/>
                <a:gd name="connsiteX4" fmla="*/ 88 w 4571"/>
                <a:gd name="connsiteY4" fmla="*/ 5100 h 7851"/>
                <a:gd name="connsiteX5" fmla="*/ -3669 w 4571"/>
                <a:gd name="connsiteY5" fmla="*/ 5100 h 7851"/>
                <a:gd name="connsiteX6" fmla="*/ -3669 w 4571"/>
                <a:gd name="connsiteY6" fmla="*/ 1992 h 7851"/>
                <a:gd name="connsiteX7" fmla="*/ -389 w 4571"/>
                <a:gd name="connsiteY7" fmla="*/ 1992 h 7851"/>
                <a:gd name="connsiteX8" fmla="*/ -119 w 4571"/>
                <a:gd name="connsiteY8" fmla="*/ 1709 h 7851"/>
                <a:gd name="connsiteX9" fmla="*/ -389 w 4571"/>
                <a:gd name="connsiteY9" fmla="*/ 1440 h 7851"/>
                <a:gd name="connsiteX10" fmla="*/ -3669 w 4571"/>
                <a:gd name="connsiteY10" fmla="*/ 1440 h 7851"/>
                <a:gd name="connsiteX11" fmla="*/ -3669 w 4571"/>
                <a:gd name="connsiteY11" fmla="*/ -1654 h 7851"/>
                <a:gd name="connsiteX12" fmla="*/ 88 w 4571"/>
                <a:gd name="connsiteY12" fmla="*/ -1654 h 7851"/>
                <a:gd name="connsiteX13" fmla="*/ 357 w 4571"/>
                <a:gd name="connsiteY13" fmla="*/ -1937 h 7851"/>
                <a:gd name="connsiteX14" fmla="*/ 88 w 4571"/>
                <a:gd name="connsiteY14" fmla="*/ -2206 h 7851"/>
                <a:gd name="connsiteX15" fmla="*/ -3917 w 4571"/>
                <a:gd name="connsiteY15" fmla="*/ -2206 h 7851"/>
                <a:gd name="connsiteX16" fmla="*/ -3945 w 4571"/>
                <a:gd name="connsiteY16" fmla="*/ -2206 h 7851"/>
                <a:gd name="connsiteX17" fmla="*/ -3973 w 4571"/>
                <a:gd name="connsiteY17" fmla="*/ -2206 h 7851"/>
                <a:gd name="connsiteX18" fmla="*/ -4214 w 4571"/>
                <a:gd name="connsiteY18" fmla="*/ -1937 h 7851"/>
                <a:gd name="connsiteX19" fmla="*/ -4214 w 4571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1" h="7851">
                  <a:moveTo>
                    <a:pt x="-4214" y="5383"/>
                  </a:moveTo>
                  <a:lnTo>
                    <a:pt x="-3945" y="5645"/>
                  </a:lnTo>
                  <a:lnTo>
                    <a:pt x="88" y="5645"/>
                  </a:lnTo>
                  <a:lnTo>
                    <a:pt x="357" y="5383"/>
                  </a:lnTo>
                  <a:lnTo>
                    <a:pt x="88" y="5100"/>
                  </a:lnTo>
                  <a:lnTo>
                    <a:pt x="-3669" y="5100"/>
                  </a:lnTo>
                  <a:lnTo>
                    <a:pt x="-3669" y="1992"/>
                  </a:lnTo>
                  <a:lnTo>
                    <a:pt x="-389" y="1992"/>
                  </a:lnTo>
                  <a:lnTo>
                    <a:pt x="-119" y="1709"/>
                  </a:lnTo>
                  <a:lnTo>
                    <a:pt x="-389" y="1440"/>
                  </a:lnTo>
                  <a:lnTo>
                    <a:pt x="-3669" y="1440"/>
                  </a:lnTo>
                  <a:lnTo>
                    <a:pt x="-3669" y="-1654"/>
                  </a:lnTo>
                  <a:lnTo>
                    <a:pt x="88" y="-1654"/>
                  </a:lnTo>
                  <a:lnTo>
                    <a:pt x="357" y="-1937"/>
                  </a:lnTo>
                  <a:lnTo>
                    <a:pt x="88" y="-2206"/>
                  </a:lnTo>
                  <a:lnTo>
                    <a:pt x="-3917" y="-2206"/>
                  </a:lnTo>
                  <a:lnTo>
                    <a:pt x="-3945" y="-2206"/>
                  </a:lnTo>
                  <a:lnTo>
                    <a:pt x="-3973" y="-2206"/>
                  </a:lnTo>
                  <a:lnTo>
                    <a:pt x="-4214" y="-1937"/>
                  </a:lnTo>
                  <a:lnTo>
                    <a:pt x="-4214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08B8132D-0EC6-A2CF-CA17-EF7AF9D71A3B}"/>
                </a:ext>
              </a:extLst>
            </p:cNvPr>
            <p:cNvSpPr/>
            <p:nvPr/>
          </p:nvSpPr>
          <p:spPr>
            <a:xfrm flipV="1">
              <a:off x="9778886" y="3069254"/>
              <a:ext cx="6601" cy="7775"/>
            </a:xfrm>
            <a:custGeom>
              <a:avLst/>
              <a:gdLst>
                <a:gd name="connsiteX0" fmla="*/ 1832 w 6601"/>
                <a:gd name="connsiteY0" fmla="*/ 4526 h 7775"/>
                <a:gd name="connsiteX1" fmla="*/ -681 w 6601"/>
                <a:gd name="connsiteY1" fmla="*/ 1039 h 7775"/>
                <a:gd name="connsiteX2" fmla="*/ -902 w 6601"/>
                <a:gd name="connsiteY2" fmla="*/ 915 h 7775"/>
                <a:gd name="connsiteX3" fmla="*/ -923 w 6601"/>
                <a:gd name="connsiteY3" fmla="*/ 915 h 7775"/>
                <a:gd name="connsiteX4" fmla="*/ -1158 w 6601"/>
                <a:gd name="connsiteY4" fmla="*/ 1039 h 7775"/>
                <a:gd name="connsiteX5" fmla="*/ -3671 w 6601"/>
                <a:gd name="connsiteY5" fmla="*/ 4520 h 7775"/>
                <a:gd name="connsiteX6" fmla="*/ -3671 w 6601"/>
                <a:gd name="connsiteY6" fmla="*/ -1937 h 7775"/>
                <a:gd name="connsiteX7" fmla="*/ -3941 w 6601"/>
                <a:gd name="connsiteY7" fmla="*/ -2206 h 7775"/>
                <a:gd name="connsiteX8" fmla="*/ -4224 w 6601"/>
                <a:gd name="connsiteY8" fmla="*/ -1937 h 7775"/>
                <a:gd name="connsiteX9" fmla="*/ -4224 w 6601"/>
                <a:gd name="connsiteY9" fmla="*/ 5334 h 7775"/>
                <a:gd name="connsiteX10" fmla="*/ -4107 w 6601"/>
                <a:gd name="connsiteY10" fmla="*/ 5542 h 7775"/>
                <a:gd name="connsiteX11" fmla="*/ -4086 w 6601"/>
                <a:gd name="connsiteY11" fmla="*/ 5569 h 7775"/>
                <a:gd name="connsiteX12" fmla="*/ -3706 w 6601"/>
                <a:gd name="connsiteY12" fmla="*/ 5500 h 7775"/>
                <a:gd name="connsiteX13" fmla="*/ -916 w 6601"/>
                <a:gd name="connsiteY13" fmla="*/ 1633 h 7775"/>
                <a:gd name="connsiteX14" fmla="*/ 1860 w 6601"/>
                <a:gd name="connsiteY14" fmla="*/ 5500 h 7775"/>
                <a:gd name="connsiteX15" fmla="*/ 2247 w 6601"/>
                <a:gd name="connsiteY15" fmla="*/ 5569 h 7775"/>
                <a:gd name="connsiteX16" fmla="*/ 2330 w 6601"/>
                <a:gd name="connsiteY16" fmla="*/ 5479 h 7775"/>
                <a:gd name="connsiteX17" fmla="*/ 2378 w 6601"/>
                <a:gd name="connsiteY17" fmla="*/ 5334 h 7775"/>
                <a:gd name="connsiteX18" fmla="*/ 2378 w 6601"/>
                <a:gd name="connsiteY18" fmla="*/ -1937 h 7775"/>
                <a:gd name="connsiteX19" fmla="*/ 2108 w 6601"/>
                <a:gd name="connsiteY19" fmla="*/ -2206 h 7775"/>
                <a:gd name="connsiteX20" fmla="*/ 1832 w 6601"/>
                <a:gd name="connsiteY20" fmla="*/ -1937 h 7775"/>
                <a:gd name="connsiteX21" fmla="*/ 1832 w 6601"/>
                <a:gd name="connsiteY21" fmla="*/ 4526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601" h="7775">
                  <a:moveTo>
                    <a:pt x="1832" y="4526"/>
                  </a:moveTo>
                  <a:lnTo>
                    <a:pt x="-681" y="1039"/>
                  </a:lnTo>
                  <a:lnTo>
                    <a:pt x="-902" y="915"/>
                  </a:lnTo>
                  <a:lnTo>
                    <a:pt x="-923" y="915"/>
                  </a:lnTo>
                  <a:lnTo>
                    <a:pt x="-1158" y="1039"/>
                  </a:lnTo>
                  <a:lnTo>
                    <a:pt x="-3671" y="4520"/>
                  </a:lnTo>
                  <a:lnTo>
                    <a:pt x="-3671" y="-1937"/>
                  </a:lnTo>
                  <a:lnTo>
                    <a:pt x="-3941" y="-2206"/>
                  </a:lnTo>
                  <a:lnTo>
                    <a:pt x="-4224" y="-1937"/>
                  </a:lnTo>
                  <a:lnTo>
                    <a:pt x="-4224" y="5334"/>
                  </a:lnTo>
                  <a:lnTo>
                    <a:pt x="-4107" y="5542"/>
                  </a:lnTo>
                  <a:lnTo>
                    <a:pt x="-4086" y="5569"/>
                  </a:lnTo>
                  <a:lnTo>
                    <a:pt x="-3706" y="5500"/>
                  </a:lnTo>
                  <a:lnTo>
                    <a:pt x="-916" y="1633"/>
                  </a:lnTo>
                  <a:lnTo>
                    <a:pt x="1860" y="5500"/>
                  </a:lnTo>
                  <a:lnTo>
                    <a:pt x="2247" y="5569"/>
                  </a:lnTo>
                  <a:lnTo>
                    <a:pt x="2330" y="5479"/>
                  </a:lnTo>
                  <a:lnTo>
                    <a:pt x="2378" y="5334"/>
                  </a:lnTo>
                  <a:lnTo>
                    <a:pt x="2378" y="-1937"/>
                  </a:lnTo>
                  <a:lnTo>
                    <a:pt x="2108" y="-2206"/>
                  </a:lnTo>
                  <a:lnTo>
                    <a:pt x="1832" y="-1937"/>
                  </a:lnTo>
                  <a:lnTo>
                    <a:pt x="1832" y="452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6E1799AB-DDC1-172E-8758-215B5FDBAF1F}"/>
                </a:ext>
              </a:extLst>
            </p:cNvPr>
            <p:cNvSpPr/>
            <p:nvPr/>
          </p:nvSpPr>
          <p:spPr>
            <a:xfrm flipV="1">
              <a:off x="9788333" y="3069178"/>
              <a:ext cx="4757" cy="7851"/>
            </a:xfrm>
            <a:custGeom>
              <a:avLst/>
              <a:gdLst>
                <a:gd name="connsiteX0" fmla="*/ -1721 w 4757"/>
                <a:gd name="connsiteY0" fmla="*/ -1654 h 7851"/>
                <a:gd name="connsiteX1" fmla="*/ -29 w 4757"/>
                <a:gd name="connsiteY1" fmla="*/ 38 h 7851"/>
                <a:gd name="connsiteX2" fmla="*/ -1721 w 4757"/>
                <a:gd name="connsiteY2" fmla="*/ 1737 h 7851"/>
                <a:gd name="connsiteX3" fmla="*/ -3682 w 4757"/>
                <a:gd name="connsiteY3" fmla="*/ 1737 h 7851"/>
                <a:gd name="connsiteX4" fmla="*/ -3682 w 4757"/>
                <a:gd name="connsiteY4" fmla="*/ -1654 h 7851"/>
                <a:gd name="connsiteX5" fmla="*/ -2218 w 4757"/>
                <a:gd name="connsiteY5" fmla="*/ 2296 h 7851"/>
                <a:gd name="connsiteX6" fmla="*/ -817 w 4757"/>
                <a:gd name="connsiteY6" fmla="*/ 3684 h 7851"/>
                <a:gd name="connsiteX7" fmla="*/ -2218 w 4757"/>
                <a:gd name="connsiteY7" fmla="*/ 5100 h 7851"/>
                <a:gd name="connsiteX8" fmla="*/ -3682 w 4757"/>
                <a:gd name="connsiteY8" fmla="*/ 5100 h 7851"/>
                <a:gd name="connsiteX9" fmla="*/ -3682 w 4757"/>
                <a:gd name="connsiteY9" fmla="*/ 2296 h 7851"/>
                <a:gd name="connsiteX10" fmla="*/ -4235 w 4757"/>
                <a:gd name="connsiteY10" fmla="*/ 5383 h 7851"/>
                <a:gd name="connsiteX11" fmla="*/ -3965 w 4757"/>
                <a:gd name="connsiteY11" fmla="*/ 5645 h 7851"/>
                <a:gd name="connsiteX12" fmla="*/ -2218 w 4757"/>
                <a:gd name="connsiteY12" fmla="*/ 5645 h 7851"/>
                <a:gd name="connsiteX13" fmla="*/ -264 w 4757"/>
                <a:gd name="connsiteY13" fmla="*/ 3684 h 7851"/>
                <a:gd name="connsiteX14" fmla="*/ -1017 w 4757"/>
                <a:gd name="connsiteY14" fmla="*/ 2158 h 7851"/>
                <a:gd name="connsiteX15" fmla="*/ 523 w 4757"/>
                <a:gd name="connsiteY15" fmla="*/ 38 h 7851"/>
                <a:gd name="connsiteX16" fmla="*/ -1721 w 4757"/>
                <a:gd name="connsiteY16" fmla="*/ -2206 h 7851"/>
                <a:gd name="connsiteX17" fmla="*/ -3931 w 4757"/>
                <a:gd name="connsiteY17" fmla="*/ -2206 h 7851"/>
                <a:gd name="connsiteX18" fmla="*/ -3965 w 4757"/>
                <a:gd name="connsiteY18" fmla="*/ -2206 h 7851"/>
                <a:gd name="connsiteX19" fmla="*/ -3979 w 4757"/>
                <a:gd name="connsiteY19" fmla="*/ -2206 h 7851"/>
                <a:gd name="connsiteX20" fmla="*/ -4235 w 4757"/>
                <a:gd name="connsiteY20" fmla="*/ -1937 h 7851"/>
                <a:gd name="connsiteX21" fmla="*/ -4235 w 4757"/>
                <a:gd name="connsiteY21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757" h="7851">
                  <a:moveTo>
                    <a:pt x="-1721" y="-1654"/>
                  </a:moveTo>
                  <a:cubicBezTo>
                    <a:pt x="-789" y="-1654"/>
                    <a:pt x="-43" y="-901"/>
                    <a:pt x="-29" y="38"/>
                  </a:cubicBezTo>
                  <a:cubicBezTo>
                    <a:pt x="-43" y="970"/>
                    <a:pt x="-789" y="1737"/>
                    <a:pt x="-1721" y="1737"/>
                  </a:cubicBezTo>
                  <a:lnTo>
                    <a:pt x="-3682" y="1737"/>
                  </a:lnTo>
                  <a:lnTo>
                    <a:pt x="-3682" y="-1654"/>
                  </a:lnTo>
                  <a:close/>
                  <a:moveTo>
                    <a:pt x="-2218" y="2296"/>
                  </a:moveTo>
                  <a:cubicBezTo>
                    <a:pt x="-1445" y="2296"/>
                    <a:pt x="-817" y="2924"/>
                    <a:pt x="-817" y="3684"/>
                  </a:cubicBezTo>
                  <a:cubicBezTo>
                    <a:pt x="-817" y="4471"/>
                    <a:pt x="-1445" y="5100"/>
                    <a:pt x="-2218" y="5100"/>
                  </a:cubicBezTo>
                  <a:lnTo>
                    <a:pt x="-3682" y="5100"/>
                  </a:lnTo>
                  <a:lnTo>
                    <a:pt x="-3682" y="2296"/>
                  </a:lnTo>
                  <a:close/>
                  <a:moveTo>
                    <a:pt x="-4235" y="5383"/>
                  </a:moveTo>
                  <a:lnTo>
                    <a:pt x="-3965" y="5645"/>
                  </a:lnTo>
                  <a:lnTo>
                    <a:pt x="-2218" y="5645"/>
                  </a:lnTo>
                  <a:cubicBezTo>
                    <a:pt x="-1141" y="5645"/>
                    <a:pt x="-264" y="4775"/>
                    <a:pt x="-264" y="3684"/>
                  </a:cubicBezTo>
                  <a:lnTo>
                    <a:pt x="-1017" y="2158"/>
                  </a:lnTo>
                  <a:cubicBezTo>
                    <a:pt x="-133" y="1854"/>
                    <a:pt x="523" y="1025"/>
                    <a:pt x="523" y="38"/>
                  </a:cubicBezTo>
                  <a:cubicBezTo>
                    <a:pt x="523" y="-1205"/>
                    <a:pt x="-492" y="-2206"/>
                    <a:pt x="-1721" y="-2206"/>
                  </a:cubicBezTo>
                  <a:lnTo>
                    <a:pt x="-3931" y="-2206"/>
                  </a:lnTo>
                  <a:lnTo>
                    <a:pt x="-3965" y="-2206"/>
                  </a:lnTo>
                  <a:lnTo>
                    <a:pt x="-3979" y="-2206"/>
                  </a:lnTo>
                  <a:lnTo>
                    <a:pt x="-4235" y="-1937"/>
                  </a:lnTo>
                  <a:lnTo>
                    <a:pt x="-4235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FDFC7030-E29C-8D84-D528-571C54035546}"/>
                </a:ext>
              </a:extLst>
            </p:cNvPr>
            <p:cNvSpPr/>
            <p:nvPr/>
          </p:nvSpPr>
          <p:spPr>
            <a:xfrm flipV="1">
              <a:off x="9794983" y="3069178"/>
              <a:ext cx="4571" cy="7851"/>
            </a:xfrm>
            <a:custGeom>
              <a:avLst/>
              <a:gdLst>
                <a:gd name="connsiteX0" fmla="*/ -4243 w 4571"/>
                <a:gd name="connsiteY0" fmla="*/ 5383 h 7851"/>
                <a:gd name="connsiteX1" fmla="*/ -3973 w 4571"/>
                <a:gd name="connsiteY1" fmla="*/ 5645 h 7851"/>
                <a:gd name="connsiteX2" fmla="*/ 59 w 4571"/>
                <a:gd name="connsiteY2" fmla="*/ 5645 h 7851"/>
                <a:gd name="connsiteX3" fmla="*/ 329 w 4571"/>
                <a:gd name="connsiteY3" fmla="*/ 5383 h 7851"/>
                <a:gd name="connsiteX4" fmla="*/ 59 w 4571"/>
                <a:gd name="connsiteY4" fmla="*/ 5100 h 7851"/>
                <a:gd name="connsiteX5" fmla="*/ -3697 w 4571"/>
                <a:gd name="connsiteY5" fmla="*/ 5100 h 7851"/>
                <a:gd name="connsiteX6" fmla="*/ -3697 w 4571"/>
                <a:gd name="connsiteY6" fmla="*/ 1992 h 7851"/>
                <a:gd name="connsiteX7" fmla="*/ -410 w 4571"/>
                <a:gd name="connsiteY7" fmla="*/ 1992 h 7851"/>
                <a:gd name="connsiteX8" fmla="*/ -141 w 4571"/>
                <a:gd name="connsiteY8" fmla="*/ 1709 h 7851"/>
                <a:gd name="connsiteX9" fmla="*/ -410 w 4571"/>
                <a:gd name="connsiteY9" fmla="*/ 1440 h 7851"/>
                <a:gd name="connsiteX10" fmla="*/ -3697 w 4571"/>
                <a:gd name="connsiteY10" fmla="*/ 1440 h 7851"/>
                <a:gd name="connsiteX11" fmla="*/ -3697 w 4571"/>
                <a:gd name="connsiteY11" fmla="*/ -1654 h 7851"/>
                <a:gd name="connsiteX12" fmla="*/ 59 w 4571"/>
                <a:gd name="connsiteY12" fmla="*/ -1654 h 7851"/>
                <a:gd name="connsiteX13" fmla="*/ 329 w 4571"/>
                <a:gd name="connsiteY13" fmla="*/ -1937 h 7851"/>
                <a:gd name="connsiteX14" fmla="*/ 59 w 4571"/>
                <a:gd name="connsiteY14" fmla="*/ -2206 h 7851"/>
                <a:gd name="connsiteX15" fmla="*/ -3939 w 4571"/>
                <a:gd name="connsiteY15" fmla="*/ -2206 h 7851"/>
                <a:gd name="connsiteX16" fmla="*/ -3973 w 4571"/>
                <a:gd name="connsiteY16" fmla="*/ -2206 h 7851"/>
                <a:gd name="connsiteX17" fmla="*/ -3994 w 4571"/>
                <a:gd name="connsiteY17" fmla="*/ -2206 h 7851"/>
                <a:gd name="connsiteX18" fmla="*/ -4243 w 4571"/>
                <a:gd name="connsiteY18" fmla="*/ -1937 h 7851"/>
                <a:gd name="connsiteX19" fmla="*/ -4243 w 4571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1" h="7851">
                  <a:moveTo>
                    <a:pt x="-4243" y="5383"/>
                  </a:moveTo>
                  <a:lnTo>
                    <a:pt x="-3973" y="5645"/>
                  </a:lnTo>
                  <a:lnTo>
                    <a:pt x="59" y="5645"/>
                  </a:lnTo>
                  <a:lnTo>
                    <a:pt x="329" y="5383"/>
                  </a:lnTo>
                  <a:lnTo>
                    <a:pt x="59" y="5100"/>
                  </a:lnTo>
                  <a:lnTo>
                    <a:pt x="-3697" y="5100"/>
                  </a:lnTo>
                  <a:lnTo>
                    <a:pt x="-3697" y="1992"/>
                  </a:lnTo>
                  <a:lnTo>
                    <a:pt x="-410" y="1992"/>
                  </a:lnTo>
                  <a:lnTo>
                    <a:pt x="-141" y="1709"/>
                  </a:lnTo>
                  <a:lnTo>
                    <a:pt x="-410" y="1440"/>
                  </a:lnTo>
                  <a:lnTo>
                    <a:pt x="-3697" y="1440"/>
                  </a:lnTo>
                  <a:lnTo>
                    <a:pt x="-3697" y="-1654"/>
                  </a:lnTo>
                  <a:lnTo>
                    <a:pt x="59" y="-1654"/>
                  </a:lnTo>
                  <a:lnTo>
                    <a:pt x="329" y="-1937"/>
                  </a:lnTo>
                  <a:lnTo>
                    <a:pt x="59" y="-2206"/>
                  </a:lnTo>
                  <a:lnTo>
                    <a:pt x="-3939" y="-2206"/>
                  </a:lnTo>
                  <a:lnTo>
                    <a:pt x="-3973" y="-2206"/>
                  </a:lnTo>
                  <a:lnTo>
                    <a:pt x="-3994" y="-2206"/>
                  </a:lnTo>
                  <a:lnTo>
                    <a:pt x="-4243" y="-1937"/>
                  </a:lnTo>
                  <a:lnTo>
                    <a:pt x="-4243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E7323D57-FD5C-E496-0E9A-91695A522B85}"/>
                </a:ext>
              </a:extLst>
            </p:cNvPr>
            <p:cNvSpPr/>
            <p:nvPr/>
          </p:nvSpPr>
          <p:spPr>
            <a:xfrm flipV="1">
              <a:off x="9801681" y="3069178"/>
              <a:ext cx="5116" cy="7851"/>
            </a:xfrm>
            <a:custGeom>
              <a:avLst/>
              <a:gdLst>
                <a:gd name="connsiteX0" fmla="*/ -1759 w 5116"/>
                <a:gd name="connsiteY0" fmla="*/ 5100 h 7851"/>
                <a:gd name="connsiteX1" fmla="*/ -3706 w 5116"/>
                <a:gd name="connsiteY1" fmla="*/ 5100 h 7851"/>
                <a:gd name="connsiteX2" fmla="*/ -3706 w 5116"/>
                <a:gd name="connsiteY2" fmla="*/ 1709 h 7851"/>
                <a:gd name="connsiteX3" fmla="*/ -1717 w 5116"/>
                <a:gd name="connsiteY3" fmla="*/ 1709 h 7851"/>
                <a:gd name="connsiteX4" fmla="*/ -67 w 5116"/>
                <a:gd name="connsiteY4" fmla="*/ 3401 h 7851"/>
                <a:gd name="connsiteX5" fmla="*/ -1759 w 5116"/>
                <a:gd name="connsiteY5" fmla="*/ 5100 h 7851"/>
                <a:gd name="connsiteX6" fmla="*/ -191 w 5116"/>
                <a:gd name="connsiteY6" fmla="*/ -432 h 7851"/>
                <a:gd name="connsiteX7" fmla="*/ -834 w 5116"/>
                <a:gd name="connsiteY7" fmla="*/ 756 h 7851"/>
                <a:gd name="connsiteX8" fmla="*/ -1731 w 5116"/>
                <a:gd name="connsiteY8" fmla="*/ 1150 h 7851"/>
                <a:gd name="connsiteX9" fmla="*/ -1793 w 5116"/>
                <a:gd name="connsiteY9" fmla="*/ 1170 h 7851"/>
                <a:gd name="connsiteX10" fmla="*/ -3706 w 5116"/>
                <a:gd name="connsiteY10" fmla="*/ 1170 h 7851"/>
                <a:gd name="connsiteX11" fmla="*/ -3706 w 5116"/>
                <a:gd name="connsiteY11" fmla="*/ -1937 h 7851"/>
                <a:gd name="connsiteX12" fmla="*/ -3982 w 5116"/>
                <a:gd name="connsiteY12" fmla="*/ -2206 h 7851"/>
                <a:gd name="connsiteX13" fmla="*/ -4252 w 5116"/>
                <a:gd name="connsiteY13" fmla="*/ -1937 h 7851"/>
                <a:gd name="connsiteX14" fmla="*/ -4252 w 5116"/>
                <a:gd name="connsiteY14" fmla="*/ 5383 h 7851"/>
                <a:gd name="connsiteX15" fmla="*/ -4003 w 5116"/>
                <a:gd name="connsiteY15" fmla="*/ 5645 h 7851"/>
                <a:gd name="connsiteX16" fmla="*/ -3982 w 5116"/>
                <a:gd name="connsiteY16" fmla="*/ 5645 h 7851"/>
                <a:gd name="connsiteX17" fmla="*/ -3948 w 5116"/>
                <a:gd name="connsiteY17" fmla="*/ 5645 h 7851"/>
                <a:gd name="connsiteX18" fmla="*/ -1759 w 5116"/>
                <a:gd name="connsiteY18" fmla="*/ 5645 h 7851"/>
                <a:gd name="connsiteX19" fmla="*/ 472 w 5116"/>
                <a:gd name="connsiteY19" fmla="*/ 3401 h 7851"/>
                <a:gd name="connsiteX20" fmla="*/ -820 w 5116"/>
                <a:gd name="connsiteY20" fmla="*/ 1371 h 7851"/>
                <a:gd name="connsiteX21" fmla="*/ -702 w 5116"/>
                <a:gd name="connsiteY21" fmla="*/ 1322 h 7851"/>
                <a:gd name="connsiteX22" fmla="*/ 347 w 5116"/>
                <a:gd name="connsiteY22" fmla="*/ -432 h 7851"/>
                <a:gd name="connsiteX23" fmla="*/ 451 w 5116"/>
                <a:gd name="connsiteY23" fmla="*/ -1343 h 7851"/>
                <a:gd name="connsiteX24" fmla="*/ 561 w 5116"/>
                <a:gd name="connsiteY24" fmla="*/ -1530 h 7851"/>
                <a:gd name="connsiteX25" fmla="*/ 865 w 5116"/>
                <a:gd name="connsiteY25" fmla="*/ -1709 h 7851"/>
                <a:gd name="connsiteX26" fmla="*/ 686 w 5116"/>
                <a:gd name="connsiteY26" fmla="*/ -2068 h 7851"/>
                <a:gd name="connsiteX27" fmla="*/ 555 w 5116"/>
                <a:gd name="connsiteY27" fmla="*/ -2082 h 7851"/>
                <a:gd name="connsiteX28" fmla="*/ 534 w 5116"/>
                <a:gd name="connsiteY28" fmla="*/ -2082 h 7851"/>
                <a:gd name="connsiteX29" fmla="*/ 23 w 5116"/>
                <a:gd name="connsiteY29" fmla="*/ -1716 h 7851"/>
                <a:gd name="connsiteX30" fmla="*/ -191 w 5116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16" h="7851">
                  <a:moveTo>
                    <a:pt x="-1759" y="5100"/>
                  </a:moveTo>
                  <a:lnTo>
                    <a:pt x="-3706" y="5100"/>
                  </a:lnTo>
                  <a:lnTo>
                    <a:pt x="-3706" y="1709"/>
                  </a:lnTo>
                  <a:lnTo>
                    <a:pt x="-1717" y="1709"/>
                  </a:lnTo>
                  <a:cubicBezTo>
                    <a:pt x="-813" y="1737"/>
                    <a:pt x="-67" y="2482"/>
                    <a:pt x="-67" y="3401"/>
                  </a:cubicBezTo>
                  <a:cubicBezTo>
                    <a:pt x="-67" y="4347"/>
                    <a:pt x="-834" y="5100"/>
                    <a:pt x="-1759" y="5100"/>
                  </a:cubicBezTo>
                  <a:close/>
                  <a:moveTo>
                    <a:pt x="-191" y="-432"/>
                  </a:moveTo>
                  <a:lnTo>
                    <a:pt x="-834" y="756"/>
                  </a:lnTo>
                  <a:lnTo>
                    <a:pt x="-1731" y="1150"/>
                  </a:lnTo>
                  <a:lnTo>
                    <a:pt x="-1793" y="1170"/>
                  </a:lnTo>
                  <a:lnTo>
                    <a:pt x="-3706" y="1170"/>
                  </a:lnTo>
                  <a:lnTo>
                    <a:pt x="-3706" y="-1937"/>
                  </a:lnTo>
                  <a:lnTo>
                    <a:pt x="-3982" y="-2206"/>
                  </a:lnTo>
                  <a:lnTo>
                    <a:pt x="-4252" y="-1937"/>
                  </a:lnTo>
                  <a:lnTo>
                    <a:pt x="-4252" y="5383"/>
                  </a:lnTo>
                  <a:lnTo>
                    <a:pt x="-4003" y="5645"/>
                  </a:lnTo>
                  <a:lnTo>
                    <a:pt x="-3982" y="5645"/>
                  </a:lnTo>
                  <a:lnTo>
                    <a:pt x="-3948" y="5645"/>
                  </a:lnTo>
                  <a:lnTo>
                    <a:pt x="-1759" y="5645"/>
                  </a:lnTo>
                  <a:cubicBezTo>
                    <a:pt x="-530" y="5645"/>
                    <a:pt x="472" y="4651"/>
                    <a:pt x="472" y="3401"/>
                  </a:cubicBezTo>
                  <a:cubicBezTo>
                    <a:pt x="472" y="2510"/>
                    <a:pt x="-53" y="1737"/>
                    <a:pt x="-820" y="1371"/>
                  </a:cubicBezTo>
                  <a:lnTo>
                    <a:pt x="-702" y="1322"/>
                  </a:lnTo>
                  <a:cubicBezTo>
                    <a:pt x="-191" y="1025"/>
                    <a:pt x="347" y="459"/>
                    <a:pt x="347" y="-432"/>
                  </a:cubicBezTo>
                  <a:lnTo>
                    <a:pt x="451" y="-1343"/>
                  </a:lnTo>
                  <a:lnTo>
                    <a:pt x="561" y="-1530"/>
                  </a:lnTo>
                  <a:lnTo>
                    <a:pt x="865" y="-1709"/>
                  </a:lnTo>
                  <a:lnTo>
                    <a:pt x="686" y="-2068"/>
                  </a:lnTo>
                  <a:lnTo>
                    <a:pt x="555" y="-2082"/>
                  </a:lnTo>
                  <a:lnTo>
                    <a:pt x="534" y="-2082"/>
                  </a:lnTo>
                  <a:lnTo>
                    <a:pt x="23" y="-1716"/>
                  </a:lnTo>
                  <a:cubicBezTo>
                    <a:pt x="-108" y="-1461"/>
                    <a:pt x="-191" y="-1095"/>
                    <a:pt x="-191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2A02D556-478E-BABF-A5DE-F70FA836BD94}"/>
                </a:ext>
              </a:extLst>
            </p:cNvPr>
            <p:cNvSpPr/>
            <p:nvPr/>
          </p:nvSpPr>
          <p:spPr>
            <a:xfrm flipV="1">
              <a:off x="9849839" y="3069061"/>
              <a:ext cx="7554" cy="7968"/>
            </a:xfrm>
            <a:custGeom>
              <a:avLst/>
              <a:gdLst>
                <a:gd name="connsiteX0" fmla="*/ -522 w 7554"/>
                <a:gd name="connsiteY0" fmla="*/ -1654 h 7968"/>
                <a:gd name="connsiteX1" fmla="*/ 2682 w 7554"/>
                <a:gd name="connsiteY1" fmla="*/ 1778 h 7968"/>
                <a:gd name="connsiteX2" fmla="*/ -522 w 7554"/>
                <a:gd name="connsiteY2" fmla="*/ 5196 h 7968"/>
                <a:gd name="connsiteX3" fmla="*/ -3761 w 7554"/>
                <a:gd name="connsiteY3" fmla="*/ 1778 h 7968"/>
                <a:gd name="connsiteX4" fmla="*/ -522 w 7554"/>
                <a:gd name="connsiteY4" fmla="*/ -1654 h 7968"/>
                <a:gd name="connsiteX5" fmla="*/ -522 w 7554"/>
                <a:gd name="connsiteY5" fmla="*/ 5762 h 7968"/>
                <a:gd name="connsiteX6" fmla="*/ 3241 w 7554"/>
                <a:gd name="connsiteY6" fmla="*/ 1778 h 7968"/>
                <a:gd name="connsiteX7" fmla="*/ -522 w 7554"/>
                <a:gd name="connsiteY7" fmla="*/ -2207 h 7968"/>
                <a:gd name="connsiteX8" fmla="*/ -4314 w 7554"/>
                <a:gd name="connsiteY8" fmla="*/ 1778 h 7968"/>
                <a:gd name="connsiteX9" fmla="*/ -522 w 7554"/>
                <a:gd name="connsiteY9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54" h="7968">
                  <a:moveTo>
                    <a:pt x="-522" y="-1654"/>
                  </a:moveTo>
                  <a:cubicBezTo>
                    <a:pt x="1204" y="-1654"/>
                    <a:pt x="2668" y="-142"/>
                    <a:pt x="2682" y="1778"/>
                  </a:cubicBezTo>
                  <a:cubicBezTo>
                    <a:pt x="2668" y="3718"/>
                    <a:pt x="1204" y="5196"/>
                    <a:pt x="-522" y="5196"/>
                  </a:cubicBezTo>
                  <a:cubicBezTo>
                    <a:pt x="-2304" y="5196"/>
                    <a:pt x="-3761" y="3718"/>
                    <a:pt x="-3761" y="1778"/>
                  </a:cubicBezTo>
                  <a:cubicBezTo>
                    <a:pt x="-3761" y="-142"/>
                    <a:pt x="-2304" y="-1654"/>
                    <a:pt x="-522" y="-1654"/>
                  </a:cubicBezTo>
                  <a:close/>
                  <a:moveTo>
                    <a:pt x="-522" y="5762"/>
                  </a:moveTo>
                  <a:cubicBezTo>
                    <a:pt x="1570" y="5762"/>
                    <a:pt x="3227" y="3974"/>
                    <a:pt x="3241" y="1778"/>
                  </a:cubicBezTo>
                  <a:cubicBezTo>
                    <a:pt x="3227" y="-418"/>
                    <a:pt x="1570" y="-2207"/>
                    <a:pt x="-522" y="-2207"/>
                  </a:cubicBezTo>
                  <a:cubicBezTo>
                    <a:pt x="-2642" y="-2207"/>
                    <a:pt x="-4300" y="-418"/>
                    <a:pt x="-4314" y="1778"/>
                  </a:cubicBezTo>
                  <a:cubicBezTo>
                    <a:pt x="-4300" y="3974"/>
                    <a:pt x="-2642" y="5762"/>
                    <a:pt x="-522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9640FE93-E1D8-B04F-3D2F-F22B286B3975}"/>
                </a:ext>
              </a:extLst>
            </p:cNvPr>
            <p:cNvSpPr/>
            <p:nvPr/>
          </p:nvSpPr>
          <p:spPr>
            <a:xfrm flipV="1">
              <a:off x="9859017" y="3069061"/>
              <a:ext cx="6663" cy="7968"/>
            </a:xfrm>
            <a:custGeom>
              <a:avLst/>
              <a:gdLst>
                <a:gd name="connsiteX0" fmla="*/ -243 w 6663"/>
                <a:gd name="connsiteY0" fmla="*/ 5762 h 7968"/>
                <a:gd name="connsiteX1" fmla="*/ 2291 w 6663"/>
                <a:gd name="connsiteY1" fmla="*/ 4899 h 7968"/>
                <a:gd name="connsiteX2" fmla="*/ 2339 w 6663"/>
                <a:gd name="connsiteY2" fmla="*/ 4506 h 7968"/>
                <a:gd name="connsiteX3" fmla="*/ 1960 w 6663"/>
                <a:gd name="connsiteY3" fmla="*/ 4450 h 7968"/>
                <a:gd name="connsiteX4" fmla="*/ -243 w 6663"/>
                <a:gd name="connsiteY4" fmla="*/ 5210 h 7968"/>
                <a:gd name="connsiteX5" fmla="*/ -3772 w 6663"/>
                <a:gd name="connsiteY5" fmla="*/ 1757 h 7968"/>
                <a:gd name="connsiteX6" fmla="*/ -243 w 6663"/>
                <a:gd name="connsiteY6" fmla="*/ -1654 h 7968"/>
                <a:gd name="connsiteX7" fmla="*/ 1932 w 6663"/>
                <a:gd name="connsiteY7" fmla="*/ -894 h 7968"/>
                <a:gd name="connsiteX8" fmla="*/ 2325 w 6663"/>
                <a:gd name="connsiteY8" fmla="*/ -957 h 7968"/>
                <a:gd name="connsiteX9" fmla="*/ 2291 w 6663"/>
                <a:gd name="connsiteY9" fmla="*/ -1350 h 7968"/>
                <a:gd name="connsiteX10" fmla="*/ -243 w 6663"/>
                <a:gd name="connsiteY10" fmla="*/ -2207 h 7968"/>
                <a:gd name="connsiteX11" fmla="*/ -4324 w 6663"/>
                <a:gd name="connsiteY11" fmla="*/ 1757 h 7968"/>
                <a:gd name="connsiteX12" fmla="*/ -243 w 6663"/>
                <a:gd name="connsiteY12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63" h="7968">
                  <a:moveTo>
                    <a:pt x="-243" y="5762"/>
                  </a:moveTo>
                  <a:cubicBezTo>
                    <a:pt x="716" y="5762"/>
                    <a:pt x="1607" y="5424"/>
                    <a:pt x="2291" y="4899"/>
                  </a:cubicBezTo>
                  <a:lnTo>
                    <a:pt x="2339" y="4506"/>
                  </a:lnTo>
                  <a:lnTo>
                    <a:pt x="1960" y="4450"/>
                  </a:lnTo>
                  <a:cubicBezTo>
                    <a:pt x="1345" y="4920"/>
                    <a:pt x="585" y="5210"/>
                    <a:pt x="-243" y="5210"/>
                  </a:cubicBezTo>
                  <a:cubicBezTo>
                    <a:pt x="-2198" y="5210"/>
                    <a:pt x="-3772" y="3670"/>
                    <a:pt x="-3772" y="1757"/>
                  </a:cubicBezTo>
                  <a:cubicBezTo>
                    <a:pt x="-3772" y="-114"/>
                    <a:pt x="-2198" y="-1654"/>
                    <a:pt x="-243" y="-1654"/>
                  </a:cubicBezTo>
                  <a:cubicBezTo>
                    <a:pt x="585" y="-1654"/>
                    <a:pt x="1345" y="-1385"/>
                    <a:pt x="1932" y="-894"/>
                  </a:cubicBezTo>
                  <a:lnTo>
                    <a:pt x="2325" y="-957"/>
                  </a:lnTo>
                  <a:lnTo>
                    <a:pt x="2291" y="-1350"/>
                  </a:lnTo>
                  <a:cubicBezTo>
                    <a:pt x="1607" y="-1875"/>
                    <a:pt x="716" y="-2207"/>
                    <a:pt x="-243" y="-2207"/>
                  </a:cubicBezTo>
                  <a:cubicBezTo>
                    <a:pt x="-2495" y="-2207"/>
                    <a:pt x="-4324" y="-432"/>
                    <a:pt x="-4324" y="1757"/>
                  </a:cubicBezTo>
                  <a:cubicBezTo>
                    <a:pt x="-4324" y="3988"/>
                    <a:pt x="-2495" y="5749"/>
                    <a:pt x="-243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CA08E0A1-4389-90C4-B220-FC54350B5E11}"/>
                </a:ext>
              </a:extLst>
            </p:cNvPr>
            <p:cNvSpPr/>
            <p:nvPr/>
          </p:nvSpPr>
          <p:spPr>
            <a:xfrm flipV="1">
              <a:off x="9867393" y="3069178"/>
              <a:ext cx="5807" cy="7851"/>
            </a:xfrm>
            <a:custGeom>
              <a:avLst/>
              <a:gdLst>
                <a:gd name="connsiteX0" fmla="*/ -1703 w 5807"/>
                <a:gd name="connsiteY0" fmla="*/ 5100 h 7851"/>
                <a:gd name="connsiteX1" fmla="*/ -4072 w 5807"/>
                <a:gd name="connsiteY1" fmla="*/ 5100 h 7851"/>
                <a:gd name="connsiteX2" fmla="*/ -4334 w 5807"/>
                <a:gd name="connsiteY2" fmla="*/ 5383 h 7851"/>
                <a:gd name="connsiteX3" fmla="*/ -4072 w 5807"/>
                <a:gd name="connsiteY3" fmla="*/ 5645 h 7851"/>
                <a:gd name="connsiteX4" fmla="*/ 1204 w 5807"/>
                <a:gd name="connsiteY4" fmla="*/ 5645 h 7851"/>
                <a:gd name="connsiteX5" fmla="*/ 1473 w 5807"/>
                <a:gd name="connsiteY5" fmla="*/ 5383 h 7851"/>
                <a:gd name="connsiteX6" fmla="*/ 1204 w 5807"/>
                <a:gd name="connsiteY6" fmla="*/ 5100 h 7851"/>
                <a:gd name="connsiteX7" fmla="*/ -1165 w 5807"/>
                <a:gd name="connsiteY7" fmla="*/ 5100 h 7851"/>
                <a:gd name="connsiteX8" fmla="*/ -1165 w 5807"/>
                <a:gd name="connsiteY8" fmla="*/ -1937 h 7851"/>
                <a:gd name="connsiteX9" fmla="*/ -1434 w 5807"/>
                <a:gd name="connsiteY9" fmla="*/ -2206 h 7851"/>
                <a:gd name="connsiteX10" fmla="*/ -1703 w 5807"/>
                <a:gd name="connsiteY10" fmla="*/ -1937 h 7851"/>
                <a:gd name="connsiteX11" fmla="*/ -1703 w 5807"/>
                <a:gd name="connsiteY11" fmla="*/ 5100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7" h="7851">
                  <a:moveTo>
                    <a:pt x="-1703" y="5100"/>
                  </a:moveTo>
                  <a:lnTo>
                    <a:pt x="-4072" y="5100"/>
                  </a:lnTo>
                  <a:lnTo>
                    <a:pt x="-4334" y="5383"/>
                  </a:lnTo>
                  <a:lnTo>
                    <a:pt x="-4072" y="5645"/>
                  </a:lnTo>
                  <a:lnTo>
                    <a:pt x="1204" y="5645"/>
                  </a:lnTo>
                  <a:lnTo>
                    <a:pt x="1473" y="5383"/>
                  </a:lnTo>
                  <a:lnTo>
                    <a:pt x="1204" y="5100"/>
                  </a:lnTo>
                  <a:lnTo>
                    <a:pt x="-1165" y="5100"/>
                  </a:lnTo>
                  <a:lnTo>
                    <a:pt x="-1165" y="-1937"/>
                  </a:lnTo>
                  <a:lnTo>
                    <a:pt x="-1434" y="-2206"/>
                  </a:lnTo>
                  <a:lnTo>
                    <a:pt x="-1703" y="-1937"/>
                  </a:lnTo>
                  <a:lnTo>
                    <a:pt x="-1703" y="5100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537719DB-BE42-F97C-62A9-9D0F813DAC57}"/>
                </a:ext>
              </a:extLst>
            </p:cNvPr>
            <p:cNvSpPr/>
            <p:nvPr/>
          </p:nvSpPr>
          <p:spPr>
            <a:xfrm flipV="1">
              <a:off x="9874285" y="3069061"/>
              <a:ext cx="7547" cy="7968"/>
            </a:xfrm>
            <a:custGeom>
              <a:avLst/>
              <a:gdLst>
                <a:gd name="connsiteX0" fmla="*/ -560 w 7547"/>
                <a:gd name="connsiteY0" fmla="*/ -1654 h 7968"/>
                <a:gd name="connsiteX1" fmla="*/ 2644 w 7547"/>
                <a:gd name="connsiteY1" fmla="*/ 1778 h 7968"/>
                <a:gd name="connsiteX2" fmla="*/ -560 w 7547"/>
                <a:gd name="connsiteY2" fmla="*/ 5196 h 7968"/>
                <a:gd name="connsiteX3" fmla="*/ -3799 w 7547"/>
                <a:gd name="connsiteY3" fmla="*/ 1778 h 7968"/>
                <a:gd name="connsiteX4" fmla="*/ -560 w 7547"/>
                <a:gd name="connsiteY4" fmla="*/ -1654 h 7968"/>
                <a:gd name="connsiteX5" fmla="*/ -560 w 7547"/>
                <a:gd name="connsiteY5" fmla="*/ 5762 h 7968"/>
                <a:gd name="connsiteX6" fmla="*/ 3204 w 7547"/>
                <a:gd name="connsiteY6" fmla="*/ 1778 h 7968"/>
                <a:gd name="connsiteX7" fmla="*/ -560 w 7547"/>
                <a:gd name="connsiteY7" fmla="*/ -2207 h 7968"/>
                <a:gd name="connsiteX8" fmla="*/ -4344 w 7547"/>
                <a:gd name="connsiteY8" fmla="*/ 1778 h 7968"/>
                <a:gd name="connsiteX9" fmla="*/ -560 w 7547"/>
                <a:gd name="connsiteY9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47" h="7968">
                  <a:moveTo>
                    <a:pt x="-560" y="-1654"/>
                  </a:moveTo>
                  <a:cubicBezTo>
                    <a:pt x="1166" y="-1654"/>
                    <a:pt x="2630" y="-142"/>
                    <a:pt x="2644" y="1778"/>
                  </a:cubicBezTo>
                  <a:cubicBezTo>
                    <a:pt x="2630" y="3718"/>
                    <a:pt x="1166" y="5196"/>
                    <a:pt x="-560" y="5196"/>
                  </a:cubicBezTo>
                  <a:cubicBezTo>
                    <a:pt x="-2341" y="5196"/>
                    <a:pt x="-3799" y="3718"/>
                    <a:pt x="-3799" y="1778"/>
                  </a:cubicBezTo>
                  <a:cubicBezTo>
                    <a:pt x="-3799" y="-142"/>
                    <a:pt x="-2341" y="-1654"/>
                    <a:pt x="-560" y="-1654"/>
                  </a:cubicBezTo>
                  <a:close/>
                  <a:moveTo>
                    <a:pt x="-560" y="5762"/>
                  </a:moveTo>
                  <a:cubicBezTo>
                    <a:pt x="1539" y="5762"/>
                    <a:pt x="3190" y="3974"/>
                    <a:pt x="3204" y="1778"/>
                  </a:cubicBezTo>
                  <a:cubicBezTo>
                    <a:pt x="3190" y="-418"/>
                    <a:pt x="1539" y="-2207"/>
                    <a:pt x="-560" y="-2207"/>
                  </a:cubicBezTo>
                  <a:cubicBezTo>
                    <a:pt x="-2673" y="-2207"/>
                    <a:pt x="-4337" y="-418"/>
                    <a:pt x="-4344" y="1778"/>
                  </a:cubicBezTo>
                  <a:cubicBezTo>
                    <a:pt x="-4337" y="3974"/>
                    <a:pt x="-2673" y="5762"/>
                    <a:pt x="-560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BB94FBE9-A0EB-1AF8-B496-AE3DD2C2F57E}"/>
                </a:ext>
              </a:extLst>
            </p:cNvPr>
            <p:cNvSpPr/>
            <p:nvPr/>
          </p:nvSpPr>
          <p:spPr>
            <a:xfrm flipV="1">
              <a:off x="9883752" y="3069178"/>
              <a:ext cx="4757" cy="7851"/>
            </a:xfrm>
            <a:custGeom>
              <a:avLst/>
              <a:gdLst>
                <a:gd name="connsiteX0" fmla="*/ -1847 w 4757"/>
                <a:gd name="connsiteY0" fmla="*/ -1654 h 7851"/>
                <a:gd name="connsiteX1" fmla="*/ -149 w 4757"/>
                <a:gd name="connsiteY1" fmla="*/ 38 h 7851"/>
                <a:gd name="connsiteX2" fmla="*/ -1847 w 4757"/>
                <a:gd name="connsiteY2" fmla="*/ 1737 h 7851"/>
                <a:gd name="connsiteX3" fmla="*/ -3809 w 4757"/>
                <a:gd name="connsiteY3" fmla="*/ 1737 h 7851"/>
                <a:gd name="connsiteX4" fmla="*/ -3809 w 4757"/>
                <a:gd name="connsiteY4" fmla="*/ -1654 h 7851"/>
                <a:gd name="connsiteX5" fmla="*/ -2338 w 4757"/>
                <a:gd name="connsiteY5" fmla="*/ 2296 h 7851"/>
                <a:gd name="connsiteX6" fmla="*/ -936 w 4757"/>
                <a:gd name="connsiteY6" fmla="*/ 3684 h 7851"/>
                <a:gd name="connsiteX7" fmla="*/ -2338 w 4757"/>
                <a:gd name="connsiteY7" fmla="*/ 5100 h 7851"/>
                <a:gd name="connsiteX8" fmla="*/ -3809 w 4757"/>
                <a:gd name="connsiteY8" fmla="*/ 5100 h 7851"/>
                <a:gd name="connsiteX9" fmla="*/ -3809 w 4757"/>
                <a:gd name="connsiteY9" fmla="*/ 2296 h 7851"/>
                <a:gd name="connsiteX10" fmla="*/ -4354 w 4757"/>
                <a:gd name="connsiteY10" fmla="*/ 5383 h 7851"/>
                <a:gd name="connsiteX11" fmla="*/ -4085 w 4757"/>
                <a:gd name="connsiteY11" fmla="*/ 5645 h 7851"/>
                <a:gd name="connsiteX12" fmla="*/ -2338 w 4757"/>
                <a:gd name="connsiteY12" fmla="*/ 5645 h 7851"/>
                <a:gd name="connsiteX13" fmla="*/ -390 w 4757"/>
                <a:gd name="connsiteY13" fmla="*/ 3684 h 7851"/>
                <a:gd name="connsiteX14" fmla="*/ -1136 w 4757"/>
                <a:gd name="connsiteY14" fmla="*/ 2158 h 7851"/>
                <a:gd name="connsiteX15" fmla="*/ 404 w 4757"/>
                <a:gd name="connsiteY15" fmla="*/ 38 h 7851"/>
                <a:gd name="connsiteX16" fmla="*/ -1847 w 4757"/>
                <a:gd name="connsiteY16" fmla="*/ -2206 h 7851"/>
                <a:gd name="connsiteX17" fmla="*/ -4057 w 4757"/>
                <a:gd name="connsiteY17" fmla="*/ -2206 h 7851"/>
                <a:gd name="connsiteX18" fmla="*/ -4085 w 4757"/>
                <a:gd name="connsiteY18" fmla="*/ -2206 h 7851"/>
                <a:gd name="connsiteX19" fmla="*/ -4099 w 4757"/>
                <a:gd name="connsiteY19" fmla="*/ -2206 h 7851"/>
                <a:gd name="connsiteX20" fmla="*/ -4354 w 4757"/>
                <a:gd name="connsiteY20" fmla="*/ -1937 h 7851"/>
                <a:gd name="connsiteX21" fmla="*/ -4354 w 4757"/>
                <a:gd name="connsiteY21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757" h="7851">
                  <a:moveTo>
                    <a:pt x="-1847" y="-1654"/>
                  </a:moveTo>
                  <a:cubicBezTo>
                    <a:pt x="-915" y="-1654"/>
                    <a:pt x="-163" y="-901"/>
                    <a:pt x="-149" y="38"/>
                  </a:cubicBezTo>
                  <a:cubicBezTo>
                    <a:pt x="-163" y="970"/>
                    <a:pt x="-915" y="1737"/>
                    <a:pt x="-1847" y="1737"/>
                  </a:cubicBezTo>
                  <a:lnTo>
                    <a:pt x="-3809" y="1737"/>
                  </a:lnTo>
                  <a:lnTo>
                    <a:pt x="-3809" y="-1654"/>
                  </a:lnTo>
                  <a:close/>
                  <a:moveTo>
                    <a:pt x="-2338" y="2296"/>
                  </a:moveTo>
                  <a:cubicBezTo>
                    <a:pt x="-1564" y="2296"/>
                    <a:pt x="-936" y="2924"/>
                    <a:pt x="-936" y="3684"/>
                  </a:cubicBezTo>
                  <a:cubicBezTo>
                    <a:pt x="-936" y="4471"/>
                    <a:pt x="-1564" y="5100"/>
                    <a:pt x="-2338" y="5100"/>
                  </a:cubicBezTo>
                  <a:lnTo>
                    <a:pt x="-3809" y="5100"/>
                  </a:lnTo>
                  <a:lnTo>
                    <a:pt x="-3809" y="2296"/>
                  </a:lnTo>
                  <a:close/>
                  <a:moveTo>
                    <a:pt x="-4354" y="5383"/>
                  </a:moveTo>
                  <a:lnTo>
                    <a:pt x="-4085" y="5645"/>
                  </a:lnTo>
                  <a:lnTo>
                    <a:pt x="-2338" y="5645"/>
                  </a:lnTo>
                  <a:cubicBezTo>
                    <a:pt x="-1261" y="5645"/>
                    <a:pt x="-390" y="4775"/>
                    <a:pt x="-390" y="3684"/>
                  </a:cubicBezTo>
                  <a:lnTo>
                    <a:pt x="-1136" y="2158"/>
                  </a:lnTo>
                  <a:cubicBezTo>
                    <a:pt x="-252" y="1854"/>
                    <a:pt x="404" y="1025"/>
                    <a:pt x="404" y="38"/>
                  </a:cubicBezTo>
                  <a:cubicBezTo>
                    <a:pt x="404" y="-1205"/>
                    <a:pt x="-611" y="-2206"/>
                    <a:pt x="-1847" y="-2206"/>
                  </a:cubicBezTo>
                  <a:lnTo>
                    <a:pt x="-4057" y="-2206"/>
                  </a:lnTo>
                  <a:lnTo>
                    <a:pt x="-4085" y="-2206"/>
                  </a:lnTo>
                  <a:lnTo>
                    <a:pt x="-4099" y="-2206"/>
                  </a:lnTo>
                  <a:lnTo>
                    <a:pt x="-4354" y="-1937"/>
                  </a:lnTo>
                  <a:lnTo>
                    <a:pt x="-4354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B9914E0D-B0CB-14C3-D65D-AABFE0AC4278}"/>
                </a:ext>
              </a:extLst>
            </p:cNvPr>
            <p:cNvSpPr/>
            <p:nvPr/>
          </p:nvSpPr>
          <p:spPr>
            <a:xfrm flipV="1">
              <a:off x="9890395" y="3069178"/>
              <a:ext cx="4578" cy="7851"/>
            </a:xfrm>
            <a:custGeom>
              <a:avLst/>
              <a:gdLst>
                <a:gd name="connsiteX0" fmla="*/ -4363 w 4578"/>
                <a:gd name="connsiteY0" fmla="*/ 5383 h 7851"/>
                <a:gd name="connsiteX1" fmla="*/ -4093 w 4578"/>
                <a:gd name="connsiteY1" fmla="*/ 5645 h 7851"/>
                <a:gd name="connsiteX2" fmla="*/ -53 w 4578"/>
                <a:gd name="connsiteY2" fmla="*/ 5645 h 7851"/>
                <a:gd name="connsiteX3" fmla="*/ 216 w 4578"/>
                <a:gd name="connsiteY3" fmla="*/ 5383 h 7851"/>
                <a:gd name="connsiteX4" fmla="*/ -53 w 4578"/>
                <a:gd name="connsiteY4" fmla="*/ 5100 h 7851"/>
                <a:gd name="connsiteX5" fmla="*/ -3810 w 4578"/>
                <a:gd name="connsiteY5" fmla="*/ 5100 h 7851"/>
                <a:gd name="connsiteX6" fmla="*/ -3810 w 4578"/>
                <a:gd name="connsiteY6" fmla="*/ 1992 h 7851"/>
                <a:gd name="connsiteX7" fmla="*/ -523 w 4578"/>
                <a:gd name="connsiteY7" fmla="*/ 1992 h 7851"/>
                <a:gd name="connsiteX8" fmla="*/ -254 w 4578"/>
                <a:gd name="connsiteY8" fmla="*/ 1709 h 7851"/>
                <a:gd name="connsiteX9" fmla="*/ -523 w 4578"/>
                <a:gd name="connsiteY9" fmla="*/ 1440 h 7851"/>
                <a:gd name="connsiteX10" fmla="*/ -3810 w 4578"/>
                <a:gd name="connsiteY10" fmla="*/ 1440 h 7851"/>
                <a:gd name="connsiteX11" fmla="*/ -3810 w 4578"/>
                <a:gd name="connsiteY11" fmla="*/ -1654 h 7851"/>
                <a:gd name="connsiteX12" fmla="*/ -53 w 4578"/>
                <a:gd name="connsiteY12" fmla="*/ -1654 h 7851"/>
                <a:gd name="connsiteX13" fmla="*/ 216 w 4578"/>
                <a:gd name="connsiteY13" fmla="*/ -1937 h 7851"/>
                <a:gd name="connsiteX14" fmla="*/ -53 w 4578"/>
                <a:gd name="connsiteY14" fmla="*/ -2206 h 7851"/>
                <a:gd name="connsiteX15" fmla="*/ -4059 w 4578"/>
                <a:gd name="connsiteY15" fmla="*/ -2206 h 7851"/>
                <a:gd name="connsiteX16" fmla="*/ -4093 w 4578"/>
                <a:gd name="connsiteY16" fmla="*/ -2206 h 7851"/>
                <a:gd name="connsiteX17" fmla="*/ -4114 w 4578"/>
                <a:gd name="connsiteY17" fmla="*/ -2206 h 7851"/>
                <a:gd name="connsiteX18" fmla="*/ -4363 w 4578"/>
                <a:gd name="connsiteY18" fmla="*/ -1937 h 7851"/>
                <a:gd name="connsiteX19" fmla="*/ -4363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4363" y="5383"/>
                  </a:moveTo>
                  <a:lnTo>
                    <a:pt x="-4093" y="5645"/>
                  </a:lnTo>
                  <a:lnTo>
                    <a:pt x="-53" y="5645"/>
                  </a:lnTo>
                  <a:lnTo>
                    <a:pt x="216" y="5383"/>
                  </a:lnTo>
                  <a:lnTo>
                    <a:pt x="-53" y="5100"/>
                  </a:lnTo>
                  <a:lnTo>
                    <a:pt x="-3810" y="5100"/>
                  </a:lnTo>
                  <a:lnTo>
                    <a:pt x="-3810" y="1992"/>
                  </a:lnTo>
                  <a:lnTo>
                    <a:pt x="-523" y="1992"/>
                  </a:lnTo>
                  <a:lnTo>
                    <a:pt x="-254" y="1709"/>
                  </a:lnTo>
                  <a:lnTo>
                    <a:pt x="-523" y="1440"/>
                  </a:lnTo>
                  <a:lnTo>
                    <a:pt x="-3810" y="1440"/>
                  </a:lnTo>
                  <a:lnTo>
                    <a:pt x="-3810" y="-1654"/>
                  </a:lnTo>
                  <a:lnTo>
                    <a:pt x="-53" y="-1654"/>
                  </a:lnTo>
                  <a:lnTo>
                    <a:pt x="216" y="-1937"/>
                  </a:lnTo>
                  <a:lnTo>
                    <a:pt x="-53" y="-2206"/>
                  </a:lnTo>
                  <a:lnTo>
                    <a:pt x="-4059" y="-2206"/>
                  </a:lnTo>
                  <a:lnTo>
                    <a:pt x="-4093" y="-2206"/>
                  </a:lnTo>
                  <a:lnTo>
                    <a:pt x="-4114" y="-2206"/>
                  </a:lnTo>
                  <a:lnTo>
                    <a:pt x="-4363" y="-1937"/>
                  </a:lnTo>
                  <a:lnTo>
                    <a:pt x="-4363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297DED42-DF9C-1302-2223-84E230FD796B}"/>
                </a:ext>
              </a:extLst>
            </p:cNvPr>
            <p:cNvSpPr/>
            <p:nvPr/>
          </p:nvSpPr>
          <p:spPr>
            <a:xfrm flipV="1">
              <a:off x="9897100" y="3069178"/>
              <a:ext cx="5109" cy="7851"/>
            </a:xfrm>
            <a:custGeom>
              <a:avLst/>
              <a:gdLst>
                <a:gd name="connsiteX0" fmla="*/ -1885 w 5109"/>
                <a:gd name="connsiteY0" fmla="*/ 5100 h 7851"/>
                <a:gd name="connsiteX1" fmla="*/ -3819 w 5109"/>
                <a:gd name="connsiteY1" fmla="*/ 5100 h 7851"/>
                <a:gd name="connsiteX2" fmla="*/ -3819 w 5109"/>
                <a:gd name="connsiteY2" fmla="*/ 1709 h 7851"/>
                <a:gd name="connsiteX3" fmla="*/ -1837 w 5109"/>
                <a:gd name="connsiteY3" fmla="*/ 1709 h 7851"/>
                <a:gd name="connsiteX4" fmla="*/ -187 w 5109"/>
                <a:gd name="connsiteY4" fmla="*/ 3401 h 7851"/>
                <a:gd name="connsiteX5" fmla="*/ -1885 w 5109"/>
                <a:gd name="connsiteY5" fmla="*/ 5100 h 7851"/>
                <a:gd name="connsiteX6" fmla="*/ -311 w 5109"/>
                <a:gd name="connsiteY6" fmla="*/ -432 h 7851"/>
                <a:gd name="connsiteX7" fmla="*/ -946 w 5109"/>
                <a:gd name="connsiteY7" fmla="*/ 756 h 7851"/>
                <a:gd name="connsiteX8" fmla="*/ -1858 w 5109"/>
                <a:gd name="connsiteY8" fmla="*/ 1150 h 7851"/>
                <a:gd name="connsiteX9" fmla="*/ -1913 w 5109"/>
                <a:gd name="connsiteY9" fmla="*/ 1170 h 7851"/>
                <a:gd name="connsiteX10" fmla="*/ -3819 w 5109"/>
                <a:gd name="connsiteY10" fmla="*/ 1170 h 7851"/>
                <a:gd name="connsiteX11" fmla="*/ -3819 w 5109"/>
                <a:gd name="connsiteY11" fmla="*/ -1937 h 7851"/>
                <a:gd name="connsiteX12" fmla="*/ -4102 w 5109"/>
                <a:gd name="connsiteY12" fmla="*/ -2206 h 7851"/>
                <a:gd name="connsiteX13" fmla="*/ -4371 w 5109"/>
                <a:gd name="connsiteY13" fmla="*/ -1937 h 7851"/>
                <a:gd name="connsiteX14" fmla="*/ -4371 w 5109"/>
                <a:gd name="connsiteY14" fmla="*/ 5383 h 7851"/>
                <a:gd name="connsiteX15" fmla="*/ -4122 w 5109"/>
                <a:gd name="connsiteY15" fmla="*/ 5645 h 7851"/>
                <a:gd name="connsiteX16" fmla="*/ -4102 w 5109"/>
                <a:gd name="connsiteY16" fmla="*/ 5645 h 7851"/>
                <a:gd name="connsiteX17" fmla="*/ -4068 w 5109"/>
                <a:gd name="connsiteY17" fmla="*/ 5645 h 7851"/>
                <a:gd name="connsiteX18" fmla="*/ -1885 w 5109"/>
                <a:gd name="connsiteY18" fmla="*/ 5645 h 7851"/>
                <a:gd name="connsiteX19" fmla="*/ 352 w 5109"/>
                <a:gd name="connsiteY19" fmla="*/ 3401 h 7851"/>
                <a:gd name="connsiteX20" fmla="*/ -939 w 5109"/>
                <a:gd name="connsiteY20" fmla="*/ 1371 h 7851"/>
                <a:gd name="connsiteX21" fmla="*/ -836 w 5109"/>
                <a:gd name="connsiteY21" fmla="*/ 1322 h 7851"/>
                <a:gd name="connsiteX22" fmla="*/ 228 w 5109"/>
                <a:gd name="connsiteY22" fmla="*/ -432 h 7851"/>
                <a:gd name="connsiteX23" fmla="*/ 325 w 5109"/>
                <a:gd name="connsiteY23" fmla="*/ -1343 h 7851"/>
                <a:gd name="connsiteX24" fmla="*/ 442 w 5109"/>
                <a:gd name="connsiteY24" fmla="*/ -1530 h 7851"/>
                <a:gd name="connsiteX25" fmla="*/ 739 w 5109"/>
                <a:gd name="connsiteY25" fmla="*/ -1709 h 7851"/>
                <a:gd name="connsiteX26" fmla="*/ 559 w 5109"/>
                <a:gd name="connsiteY26" fmla="*/ -2068 h 7851"/>
                <a:gd name="connsiteX27" fmla="*/ 428 w 5109"/>
                <a:gd name="connsiteY27" fmla="*/ -2082 h 7851"/>
                <a:gd name="connsiteX28" fmla="*/ 407 w 5109"/>
                <a:gd name="connsiteY28" fmla="*/ -2082 h 7851"/>
                <a:gd name="connsiteX29" fmla="*/ -97 w 5109"/>
                <a:gd name="connsiteY29" fmla="*/ -1716 h 7851"/>
                <a:gd name="connsiteX30" fmla="*/ -311 w 5109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09" h="7851">
                  <a:moveTo>
                    <a:pt x="-1885" y="5100"/>
                  </a:moveTo>
                  <a:lnTo>
                    <a:pt x="-3819" y="5100"/>
                  </a:lnTo>
                  <a:lnTo>
                    <a:pt x="-3819" y="1709"/>
                  </a:lnTo>
                  <a:lnTo>
                    <a:pt x="-1837" y="1709"/>
                  </a:lnTo>
                  <a:cubicBezTo>
                    <a:pt x="-925" y="1737"/>
                    <a:pt x="-187" y="2482"/>
                    <a:pt x="-187" y="3401"/>
                  </a:cubicBezTo>
                  <a:cubicBezTo>
                    <a:pt x="-187" y="4347"/>
                    <a:pt x="-946" y="5100"/>
                    <a:pt x="-1885" y="5100"/>
                  </a:cubicBezTo>
                  <a:close/>
                  <a:moveTo>
                    <a:pt x="-311" y="-432"/>
                  </a:moveTo>
                  <a:lnTo>
                    <a:pt x="-946" y="756"/>
                  </a:lnTo>
                  <a:lnTo>
                    <a:pt x="-1858" y="1150"/>
                  </a:lnTo>
                  <a:lnTo>
                    <a:pt x="-1913" y="1170"/>
                  </a:lnTo>
                  <a:lnTo>
                    <a:pt x="-3819" y="1170"/>
                  </a:lnTo>
                  <a:lnTo>
                    <a:pt x="-3819" y="-1937"/>
                  </a:lnTo>
                  <a:lnTo>
                    <a:pt x="-4102" y="-2206"/>
                  </a:lnTo>
                  <a:lnTo>
                    <a:pt x="-4371" y="-1937"/>
                  </a:lnTo>
                  <a:lnTo>
                    <a:pt x="-4371" y="5383"/>
                  </a:lnTo>
                  <a:lnTo>
                    <a:pt x="-4122" y="5645"/>
                  </a:lnTo>
                  <a:lnTo>
                    <a:pt x="-4102" y="5645"/>
                  </a:lnTo>
                  <a:lnTo>
                    <a:pt x="-4068" y="5645"/>
                  </a:lnTo>
                  <a:lnTo>
                    <a:pt x="-1885" y="5645"/>
                  </a:lnTo>
                  <a:cubicBezTo>
                    <a:pt x="-642" y="5645"/>
                    <a:pt x="352" y="4651"/>
                    <a:pt x="352" y="3401"/>
                  </a:cubicBezTo>
                  <a:cubicBezTo>
                    <a:pt x="352" y="2510"/>
                    <a:pt x="-179" y="1737"/>
                    <a:pt x="-939" y="1371"/>
                  </a:cubicBezTo>
                  <a:lnTo>
                    <a:pt x="-836" y="1322"/>
                  </a:lnTo>
                  <a:cubicBezTo>
                    <a:pt x="-311" y="1025"/>
                    <a:pt x="228" y="459"/>
                    <a:pt x="228" y="-432"/>
                  </a:cubicBezTo>
                  <a:lnTo>
                    <a:pt x="325" y="-1343"/>
                  </a:lnTo>
                  <a:lnTo>
                    <a:pt x="442" y="-1530"/>
                  </a:lnTo>
                  <a:lnTo>
                    <a:pt x="739" y="-1709"/>
                  </a:lnTo>
                  <a:lnTo>
                    <a:pt x="559" y="-2068"/>
                  </a:lnTo>
                  <a:lnTo>
                    <a:pt x="428" y="-2082"/>
                  </a:lnTo>
                  <a:lnTo>
                    <a:pt x="407" y="-2082"/>
                  </a:lnTo>
                  <a:lnTo>
                    <a:pt x="-97" y="-1716"/>
                  </a:lnTo>
                  <a:cubicBezTo>
                    <a:pt x="-235" y="-1461"/>
                    <a:pt x="-311" y="-1095"/>
                    <a:pt x="-311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8F827C0E-514B-F0D0-BC78-E05E713A06DB}"/>
                </a:ext>
              </a:extLst>
            </p:cNvPr>
            <p:cNvSpPr/>
            <p:nvPr/>
          </p:nvSpPr>
          <p:spPr>
            <a:xfrm flipV="1">
              <a:off x="9946986" y="3069254"/>
              <a:ext cx="5786" cy="7775"/>
            </a:xfrm>
            <a:custGeom>
              <a:avLst/>
              <a:gdLst>
                <a:gd name="connsiteX0" fmla="*/ -3903 w 5786"/>
                <a:gd name="connsiteY0" fmla="*/ 4492 h 7775"/>
                <a:gd name="connsiteX1" fmla="*/ -3903 w 5786"/>
                <a:gd name="connsiteY1" fmla="*/ -1937 h 7775"/>
                <a:gd name="connsiteX2" fmla="*/ -4172 w 5786"/>
                <a:gd name="connsiteY2" fmla="*/ -2206 h 7775"/>
                <a:gd name="connsiteX3" fmla="*/ -4434 w 5786"/>
                <a:gd name="connsiteY3" fmla="*/ -1937 h 7775"/>
                <a:gd name="connsiteX4" fmla="*/ -4434 w 5786"/>
                <a:gd name="connsiteY4" fmla="*/ 5265 h 7775"/>
                <a:gd name="connsiteX5" fmla="*/ -4331 w 5786"/>
                <a:gd name="connsiteY5" fmla="*/ 5569 h 7775"/>
                <a:gd name="connsiteX6" fmla="*/ -3951 w 5786"/>
                <a:gd name="connsiteY6" fmla="*/ 5500 h 7775"/>
                <a:gd name="connsiteX7" fmla="*/ 800 w 5786"/>
                <a:gd name="connsiteY7" fmla="*/ -1095 h 7775"/>
                <a:gd name="connsiteX8" fmla="*/ 800 w 5786"/>
                <a:gd name="connsiteY8" fmla="*/ 5300 h 7775"/>
                <a:gd name="connsiteX9" fmla="*/ 1069 w 5786"/>
                <a:gd name="connsiteY9" fmla="*/ 5569 h 7775"/>
                <a:gd name="connsiteX10" fmla="*/ 1352 w 5786"/>
                <a:gd name="connsiteY10" fmla="*/ 5300 h 7775"/>
                <a:gd name="connsiteX11" fmla="*/ 1352 w 5786"/>
                <a:gd name="connsiteY11" fmla="*/ -1937 h 7775"/>
                <a:gd name="connsiteX12" fmla="*/ 1069 w 5786"/>
                <a:gd name="connsiteY12" fmla="*/ -2206 h 7775"/>
                <a:gd name="connsiteX13" fmla="*/ 855 w 5786"/>
                <a:gd name="connsiteY13" fmla="*/ -2103 h 7775"/>
                <a:gd name="connsiteX14" fmla="*/ 814 w 5786"/>
                <a:gd name="connsiteY14" fmla="*/ -2054 h 7775"/>
                <a:gd name="connsiteX15" fmla="*/ -3903 w 5786"/>
                <a:gd name="connsiteY15" fmla="*/ 4492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86" h="7775">
                  <a:moveTo>
                    <a:pt x="-3903" y="4492"/>
                  </a:moveTo>
                  <a:lnTo>
                    <a:pt x="-3903" y="-1937"/>
                  </a:lnTo>
                  <a:lnTo>
                    <a:pt x="-4172" y="-2206"/>
                  </a:lnTo>
                  <a:lnTo>
                    <a:pt x="-4434" y="-1937"/>
                  </a:lnTo>
                  <a:lnTo>
                    <a:pt x="-4434" y="5265"/>
                  </a:lnTo>
                  <a:lnTo>
                    <a:pt x="-4331" y="5569"/>
                  </a:lnTo>
                  <a:lnTo>
                    <a:pt x="-3951" y="5500"/>
                  </a:lnTo>
                  <a:lnTo>
                    <a:pt x="800" y="-1095"/>
                  </a:lnTo>
                  <a:lnTo>
                    <a:pt x="800" y="5300"/>
                  </a:lnTo>
                  <a:lnTo>
                    <a:pt x="1069" y="5569"/>
                  </a:lnTo>
                  <a:lnTo>
                    <a:pt x="1352" y="5300"/>
                  </a:lnTo>
                  <a:lnTo>
                    <a:pt x="1352" y="-1937"/>
                  </a:lnTo>
                  <a:lnTo>
                    <a:pt x="1069" y="-2206"/>
                  </a:lnTo>
                  <a:lnTo>
                    <a:pt x="855" y="-2103"/>
                  </a:lnTo>
                  <a:lnTo>
                    <a:pt x="814" y="-2054"/>
                  </a:lnTo>
                  <a:lnTo>
                    <a:pt x="-3903" y="4492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597ED4CE-F55D-C0B2-A9AB-26539C8DC555}"/>
                </a:ext>
              </a:extLst>
            </p:cNvPr>
            <p:cNvSpPr/>
            <p:nvPr/>
          </p:nvSpPr>
          <p:spPr>
            <a:xfrm flipV="1">
              <a:off x="9954678" y="3069061"/>
              <a:ext cx="7540" cy="7968"/>
            </a:xfrm>
            <a:custGeom>
              <a:avLst/>
              <a:gdLst>
                <a:gd name="connsiteX0" fmla="*/ -661 w 7540"/>
                <a:gd name="connsiteY0" fmla="*/ -1654 h 7968"/>
                <a:gd name="connsiteX1" fmla="*/ 2536 w 7540"/>
                <a:gd name="connsiteY1" fmla="*/ 1778 h 7968"/>
                <a:gd name="connsiteX2" fmla="*/ -661 w 7540"/>
                <a:gd name="connsiteY2" fmla="*/ 5196 h 7968"/>
                <a:gd name="connsiteX3" fmla="*/ -3900 w 7540"/>
                <a:gd name="connsiteY3" fmla="*/ 1778 h 7968"/>
                <a:gd name="connsiteX4" fmla="*/ -661 w 7540"/>
                <a:gd name="connsiteY4" fmla="*/ -1654 h 7968"/>
                <a:gd name="connsiteX5" fmla="*/ -661 w 7540"/>
                <a:gd name="connsiteY5" fmla="*/ 5762 h 7968"/>
                <a:gd name="connsiteX6" fmla="*/ 3096 w 7540"/>
                <a:gd name="connsiteY6" fmla="*/ 1778 h 7968"/>
                <a:gd name="connsiteX7" fmla="*/ -661 w 7540"/>
                <a:gd name="connsiteY7" fmla="*/ -2207 h 7968"/>
                <a:gd name="connsiteX8" fmla="*/ -4445 w 7540"/>
                <a:gd name="connsiteY8" fmla="*/ 1778 h 7968"/>
                <a:gd name="connsiteX9" fmla="*/ -661 w 7540"/>
                <a:gd name="connsiteY9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40" h="7968">
                  <a:moveTo>
                    <a:pt x="-661" y="-1654"/>
                  </a:moveTo>
                  <a:cubicBezTo>
                    <a:pt x="1065" y="-1654"/>
                    <a:pt x="2522" y="-142"/>
                    <a:pt x="2536" y="1778"/>
                  </a:cubicBezTo>
                  <a:cubicBezTo>
                    <a:pt x="2522" y="3718"/>
                    <a:pt x="1065" y="5196"/>
                    <a:pt x="-661" y="5196"/>
                  </a:cubicBezTo>
                  <a:cubicBezTo>
                    <a:pt x="-2436" y="5196"/>
                    <a:pt x="-3900" y="3718"/>
                    <a:pt x="-3900" y="1778"/>
                  </a:cubicBezTo>
                  <a:cubicBezTo>
                    <a:pt x="-3900" y="-142"/>
                    <a:pt x="-2436" y="-1654"/>
                    <a:pt x="-661" y="-1654"/>
                  </a:cubicBezTo>
                  <a:close/>
                  <a:moveTo>
                    <a:pt x="-661" y="5762"/>
                  </a:moveTo>
                  <a:cubicBezTo>
                    <a:pt x="1438" y="5762"/>
                    <a:pt x="3082" y="3974"/>
                    <a:pt x="3096" y="1778"/>
                  </a:cubicBezTo>
                  <a:cubicBezTo>
                    <a:pt x="3082" y="-418"/>
                    <a:pt x="1438" y="-2207"/>
                    <a:pt x="-661" y="-2207"/>
                  </a:cubicBezTo>
                  <a:cubicBezTo>
                    <a:pt x="-2774" y="-2207"/>
                    <a:pt x="-4432" y="-418"/>
                    <a:pt x="-4445" y="1778"/>
                  </a:cubicBezTo>
                  <a:cubicBezTo>
                    <a:pt x="-4432" y="3974"/>
                    <a:pt x="-2774" y="5762"/>
                    <a:pt x="-661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B9026693-876D-61C2-9C33-AD58EAA15545}"/>
                </a:ext>
              </a:extLst>
            </p:cNvPr>
            <p:cNvSpPr/>
            <p:nvPr/>
          </p:nvSpPr>
          <p:spPr>
            <a:xfrm flipV="1">
              <a:off x="9963607" y="3069247"/>
              <a:ext cx="6615" cy="7782"/>
            </a:xfrm>
            <a:custGeom>
              <a:avLst/>
              <a:gdLst>
                <a:gd name="connsiteX0" fmla="*/ -1396 w 6615"/>
                <a:gd name="connsiteY0" fmla="*/ -2047 h 7782"/>
                <a:gd name="connsiteX1" fmla="*/ -1404 w 6615"/>
                <a:gd name="connsiteY1" fmla="*/ -2020 h 7782"/>
                <a:gd name="connsiteX2" fmla="*/ -1417 w 6615"/>
                <a:gd name="connsiteY2" fmla="*/ -2013 h 7782"/>
                <a:gd name="connsiteX3" fmla="*/ -4456 w 6615"/>
                <a:gd name="connsiteY3" fmla="*/ 5224 h 7782"/>
                <a:gd name="connsiteX4" fmla="*/ -4311 w 6615"/>
                <a:gd name="connsiteY4" fmla="*/ 5576 h 7782"/>
                <a:gd name="connsiteX5" fmla="*/ -3952 w 6615"/>
                <a:gd name="connsiteY5" fmla="*/ 5445 h 7782"/>
                <a:gd name="connsiteX6" fmla="*/ -1148 w 6615"/>
                <a:gd name="connsiteY6" fmla="*/ -1240 h 7782"/>
                <a:gd name="connsiteX7" fmla="*/ 1662 w 6615"/>
                <a:gd name="connsiteY7" fmla="*/ 5445 h 7782"/>
                <a:gd name="connsiteX8" fmla="*/ 2015 w 6615"/>
                <a:gd name="connsiteY8" fmla="*/ 5576 h 7782"/>
                <a:gd name="connsiteX9" fmla="*/ 2160 w 6615"/>
                <a:gd name="connsiteY9" fmla="*/ 5224 h 7782"/>
                <a:gd name="connsiteX10" fmla="*/ -886 w 6615"/>
                <a:gd name="connsiteY10" fmla="*/ -1958 h 7782"/>
                <a:gd name="connsiteX11" fmla="*/ -1037 w 6615"/>
                <a:gd name="connsiteY11" fmla="*/ -2179 h 7782"/>
                <a:gd name="connsiteX12" fmla="*/ -1051 w 6615"/>
                <a:gd name="connsiteY12" fmla="*/ -2179 h 7782"/>
                <a:gd name="connsiteX13" fmla="*/ -1148 w 6615"/>
                <a:gd name="connsiteY13" fmla="*/ -2206 h 7782"/>
                <a:gd name="connsiteX14" fmla="*/ -1251 w 6615"/>
                <a:gd name="connsiteY14" fmla="*/ -2193 h 7782"/>
                <a:gd name="connsiteX15" fmla="*/ -1265 w 6615"/>
                <a:gd name="connsiteY15" fmla="*/ -2179 h 7782"/>
                <a:gd name="connsiteX16" fmla="*/ -1396 w 6615"/>
                <a:gd name="connsiteY16" fmla="*/ -2047 h 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15" h="7782">
                  <a:moveTo>
                    <a:pt x="-1396" y="-2047"/>
                  </a:moveTo>
                  <a:lnTo>
                    <a:pt x="-1404" y="-2020"/>
                  </a:lnTo>
                  <a:lnTo>
                    <a:pt x="-1417" y="-2013"/>
                  </a:lnTo>
                  <a:lnTo>
                    <a:pt x="-4456" y="5224"/>
                  </a:lnTo>
                  <a:lnTo>
                    <a:pt x="-4311" y="5576"/>
                  </a:lnTo>
                  <a:lnTo>
                    <a:pt x="-3952" y="5445"/>
                  </a:lnTo>
                  <a:lnTo>
                    <a:pt x="-1148" y="-1240"/>
                  </a:lnTo>
                  <a:lnTo>
                    <a:pt x="1662" y="5445"/>
                  </a:lnTo>
                  <a:lnTo>
                    <a:pt x="2015" y="5576"/>
                  </a:lnTo>
                  <a:lnTo>
                    <a:pt x="2160" y="5224"/>
                  </a:lnTo>
                  <a:lnTo>
                    <a:pt x="-886" y="-1958"/>
                  </a:lnTo>
                  <a:lnTo>
                    <a:pt x="-1037" y="-2179"/>
                  </a:lnTo>
                  <a:lnTo>
                    <a:pt x="-1051" y="-2179"/>
                  </a:lnTo>
                  <a:lnTo>
                    <a:pt x="-1148" y="-2206"/>
                  </a:lnTo>
                  <a:lnTo>
                    <a:pt x="-1251" y="-2193"/>
                  </a:lnTo>
                  <a:lnTo>
                    <a:pt x="-1265" y="-2179"/>
                  </a:lnTo>
                  <a:lnTo>
                    <a:pt x="-1396" y="-2047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C1D65A40-3E57-DA77-933C-97C4446D05DA}"/>
                </a:ext>
              </a:extLst>
            </p:cNvPr>
            <p:cNvSpPr/>
            <p:nvPr/>
          </p:nvSpPr>
          <p:spPr>
            <a:xfrm flipV="1">
              <a:off x="9972142" y="3069178"/>
              <a:ext cx="4578" cy="7851"/>
            </a:xfrm>
            <a:custGeom>
              <a:avLst/>
              <a:gdLst>
                <a:gd name="connsiteX0" fmla="*/ -4465 w 4578"/>
                <a:gd name="connsiteY0" fmla="*/ 5383 h 7851"/>
                <a:gd name="connsiteX1" fmla="*/ -4196 w 4578"/>
                <a:gd name="connsiteY1" fmla="*/ 5645 h 7851"/>
                <a:gd name="connsiteX2" fmla="*/ -156 w 4578"/>
                <a:gd name="connsiteY2" fmla="*/ 5645 h 7851"/>
                <a:gd name="connsiteX3" fmla="*/ 113 w 4578"/>
                <a:gd name="connsiteY3" fmla="*/ 5383 h 7851"/>
                <a:gd name="connsiteX4" fmla="*/ -156 w 4578"/>
                <a:gd name="connsiteY4" fmla="*/ 5100 h 7851"/>
                <a:gd name="connsiteX5" fmla="*/ -3913 w 4578"/>
                <a:gd name="connsiteY5" fmla="*/ 5100 h 7851"/>
                <a:gd name="connsiteX6" fmla="*/ -3913 w 4578"/>
                <a:gd name="connsiteY6" fmla="*/ 1992 h 7851"/>
                <a:gd name="connsiteX7" fmla="*/ -626 w 4578"/>
                <a:gd name="connsiteY7" fmla="*/ 1992 h 7851"/>
                <a:gd name="connsiteX8" fmla="*/ -356 w 4578"/>
                <a:gd name="connsiteY8" fmla="*/ 1709 h 7851"/>
                <a:gd name="connsiteX9" fmla="*/ -626 w 4578"/>
                <a:gd name="connsiteY9" fmla="*/ 1440 h 7851"/>
                <a:gd name="connsiteX10" fmla="*/ -3913 w 4578"/>
                <a:gd name="connsiteY10" fmla="*/ 1440 h 7851"/>
                <a:gd name="connsiteX11" fmla="*/ -3913 w 4578"/>
                <a:gd name="connsiteY11" fmla="*/ -1654 h 7851"/>
                <a:gd name="connsiteX12" fmla="*/ -156 w 4578"/>
                <a:gd name="connsiteY12" fmla="*/ -1654 h 7851"/>
                <a:gd name="connsiteX13" fmla="*/ 113 w 4578"/>
                <a:gd name="connsiteY13" fmla="*/ -1937 h 7851"/>
                <a:gd name="connsiteX14" fmla="*/ -156 w 4578"/>
                <a:gd name="connsiteY14" fmla="*/ -2206 h 7851"/>
                <a:gd name="connsiteX15" fmla="*/ -4161 w 4578"/>
                <a:gd name="connsiteY15" fmla="*/ -2206 h 7851"/>
                <a:gd name="connsiteX16" fmla="*/ -4196 w 4578"/>
                <a:gd name="connsiteY16" fmla="*/ -2206 h 7851"/>
                <a:gd name="connsiteX17" fmla="*/ -4216 w 4578"/>
                <a:gd name="connsiteY17" fmla="*/ -2206 h 7851"/>
                <a:gd name="connsiteX18" fmla="*/ -4465 w 4578"/>
                <a:gd name="connsiteY18" fmla="*/ -1937 h 7851"/>
                <a:gd name="connsiteX19" fmla="*/ -4465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4465" y="5383"/>
                  </a:moveTo>
                  <a:lnTo>
                    <a:pt x="-4196" y="5645"/>
                  </a:lnTo>
                  <a:lnTo>
                    <a:pt x="-156" y="5645"/>
                  </a:lnTo>
                  <a:lnTo>
                    <a:pt x="113" y="5383"/>
                  </a:lnTo>
                  <a:lnTo>
                    <a:pt x="-156" y="5100"/>
                  </a:lnTo>
                  <a:lnTo>
                    <a:pt x="-3913" y="5100"/>
                  </a:lnTo>
                  <a:lnTo>
                    <a:pt x="-3913" y="1992"/>
                  </a:lnTo>
                  <a:lnTo>
                    <a:pt x="-626" y="1992"/>
                  </a:lnTo>
                  <a:lnTo>
                    <a:pt x="-356" y="1709"/>
                  </a:lnTo>
                  <a:lnTo>
                    <a:pt x="-626" y="1440"/>
                  </a:lnTo>
                  <a:lnTo>
                    <a:pt x="-3913" y="1440"/>
                  </a:lnTo>
                  <a:lnTo>
                    <a:pt x="-3913" y="-1654"/>
                  </a:lnTo>
                  <a:lnTo>
                    <a:pt x="-156" y="-1654"/>
                  </a:lnTo>
                  <a:lnTo>
                    <a:pt x="113" y="-1937"/>
                  </a:lnTo>
                  <a:lnTo>
                    <a:pt x="-156" y="-2206"/>
                  </a:lnTo>
                  <a:lnTo>
                    <a:pt x="-4161" y="-2206"/>
                  </a:lnTo>
                  <a:lnTo>
                    <a:pt x="-4196" y="-2206"/>
                  </a:lnTo>
                  <a:lnTo>
                    <a:pt x="-4216" y="-2206"/>
                  </a:lnTo>
                  <a:lnTo>
                    <a:pt x="-4465" y="-1937"/>
                  </a:lnTo>
                  <a:lnTo>
                    <a:pt x="-4465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ABA08914-9BBF-5EFB-7176-D6CB35B905DF}"/>
                </a:ext>
              </a:extLst>
            </p:cNvPr>
            <p:cNvSpPr/>
            <p:nvPr/>
          </p:nvSpPr>
          <p:spPr>
            <a:xfrm flipV="1">
              <a:off x="9978778" y="3069254"/>
              <a:ext cx="6594" cy="7775"/>
            </a:xfrm>
            <a:custGeom>
              <a:avLst/>
              <a:gdLst>
                <a:gd name="connsiteX0" fmla="*/ 1581 w 6594"/>
                <a:gd name="connsiteY0" fmla="*/ 4526 h 7775"/>
                <a:gd name="connsiteX1" fmla="*/ -932 w 6594"/>
                <a:gd name="connsiteY1" fmla="*/ 1039 h 7775"/>
                <a:gd name="connsiteX2" fmla="*/ -1153 w 6594"/>
                <a:gd name="connsiteY2" fmla="*/ 915 h 7775"/>
                <a:gd name="connsiteX3" fmla="*/ -1181 w 6594"/>
                <a:gd name="connsiteY3" fmla="*/ 915 h 7775"/>
                <a:gd name="connsiteX4" fmla="*/ -1416 w 6594"/>
                <a:gd name="connsiteY4" fmla="*/ 1039 h 7775"/>
                <a:gd name="connsiteX5" fmla="*/ -3922 w 6594"/>
                <a:gd name="connsiteY5" fmla="*/ 4520 h 7775"/>
                <a:gd name="connsiteX6" fmla="*/ -3922 w 6594"/>
                <a:gd name="connsiteY6" fmla="*/ -1937 h 7775"/>
                <a:gd name="connsiteX7" fmla="*/ -4192 w 6594"/>
                <a:gd name="connsiteY7" fmla="*/ -2206 h 7775"/>
                <a:gd name="connsiteX8" fmla="*/ -4475 w 6594"/>
                <a:gd name="connsiteY8" fmla="*/ -1937 h 7775"/>
                <a:gd name="connsiteX9" fmla="*/ -4475 w 6594"/>
                <a:gd name="connsiteY9" fmla="*/ 5334 h 7775"/>
                <a:gd name="connsiteX10" fmla="*/ -4364 w 6594"/>
                <a:gd name="connsiteY10" fmla="*/ 5542 h 7775"/>
                <a:gd name="connsiteX11" fmla="*/ -4344 w 6594"/>
                <a:gd name="connsiteY11" fmla="*/ 5569 h 7775"/>
                <a:gd name="connsiteX12" fmla="*/ -3964 w 6594"/>
                <a:gd name="connsiteY12" fmla="*/ 5500 h 7775"/>
                <a:gd name="connsiteX13" fmla="*/ -1167 w 6594"/>
                <a:gd name="connsiteY13" fmla="*/ 1633 h 7775"/>
                <a:gd name="connsiteX14" fmla="*/ 1616 w 6594"/>
                <a:gd name="connsiteY14" fmla="*/ 5500 h 7775"/>
                <a:gd name="connsiteX15" fmla="*/ 1995 w 6594"/>
                <a:gd name="connsiteY15" fmla="*/ 5569 h 7775"/>
                <a:gd name="connsiteX16" fmla="*/ 2078 w 6594"/>
                <a:gd name="connsiteY16" fmla="*/ 5479 h 7775"/>
                <a:gd name="connsiteX17" fmla="*/ 2120 w 6594"/>
                <a:gd name="connsiteY17" fmla="*/ 5334 h 7775"/>
                <a:gd name="connsiteX18" fmla="*/ 2120 w 6594"/>
                <a:gd name="connsiteY18" fmla="*/ -1937 h 7775"/>
                <a:gd name="connsiteX19" fmla="*/ 1850 w 6594"/>
                <a:gd name="connsiteY19" fmla="*/ -2206 h 7775"/>
                <a:gd name="connsiteX20" fmla="*/ 1581 w 6594"/>
                <a:gd name="connsiteY20" fmla="*/ -1937 h 7775"/>
                <a:gd name="connsiteX21" fmla="*/ 1581 w 6594"/>
                <a:gd name="connsiteY21" fmla="*/ 4526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94" h="7775">
                  <a:moveTo>
                    <a:pt x="1581" y="4526"/>
                  </a:moveTo>
                  <a:lnTo>
                    <a:pt x="-932" y="1039"/>
                  </a:lnTo>
                  <a:lnTo>
                    <a:pt x="-1153" y="915"/>
                  </a:lnTo>
                  <a:lnTo>
                    <a:pt x="-1181" y="915"/>
                  </a:lnTo>
                  <a:lnTo>
                    <a:pt x="-1416" y="1039"/>
                  </a:lnTo>
                  <a:lnTo>
                    <a:pt x="-3922" y="4520"/>
                  </a:lnTo>
                  <a:lnTo>
                    <a:pt x="-3922" y="-1937"/>
                  </a:lnTo>
                  <a:lnTo>
                    <a:pt x="-4192" y="-2206"/>
                  </a:lnTo>
                  <a:lnTo>
                    <a:pt x="-4475" y="-1937"/>
                  </a:lnTo>
                  <a:lnTo>
                    <a:pt x="-4475" y="5334"/>
                  </a:lnTo>
                  <a:lnTo>
                    <a:pt x="-4364" y="5542"/>
                  </a:lnTo>
                  <a:lnTo>
                    <a:pt x="-4344" y="5569"/>
                  </a:lnTo>
                  <a:lnTo>
                    <a:pt x="-3964" y="5500"/>
                  </a:lnTo>
                  <a:lnTo>
                    <a:pt x="-1167" y="1633"/>
                  </a:lnTo>
                  <a:lnTo>
                    <a:pt x="1616" y="5500"/>
                  </a:lnTo>
                  <a:lnTo>
                    <a:pt x="1995" y="5569"/>
                  </a:lnTo>
                  <a:lnTo>
                    <a:pt x="2078" y="5479"/>
                  </a:lnTo>
                  <a:lnTo>
                    <a:pt x="2120" y="5334"/>
                  </a:lnTo>
                  <a:lnTo>
                    <a:pt x="2120" y="-1937"/>
                  </a:lnTo>
                  <a:lnTo>
                    <a:pt x="1850" y="-2206"/>
                  </a:lnTo>
                  <a:lnTo>
                    <a:pt x="1581" y="-1937"/>
                  </a:lnTo>
                  <a:lnTo>
                    <a:pt x="1581" y="452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836EB618-9E21-B59A-1CFB-51DD6FD56C88}"/>
                </a:ext>
              </a:extLst>
            </p:cNvPr>
            <p:cNvSpPr/>
            <p:nvPr/>
          </p:nvSpPr>
          <p:spPr>
            <a:xfrm flipV="1">
              <a:off x="9988225" y="3069178"/>
              <a:ext cx="4751" cy="7851"/>
            </a:xfrm>
            <a:custGeom>
              <a:avLst/>
              <a:gdLst>
                <a:gd name="connsiteX0" fmla="*/ -1979 w 4751"/>
                <a:gd name="connsiteY0" fmla="*/ -1654 h 7851"/>
                <a:gd name="connsiteX1" fmla="*/ -280 w 4751"/>
                <a:gd name="connsiteY1" fmla="*/ 38 h 7851"/>
                <a:gd name="connsiteX2" fmla="*/ -1979 w 4751"/>
                <a:gd name="connsiteY2" fmla="*/ 1737 h 7851"/>
                <a:gd name="connsiteX3" fmla="*/ -3933 w 4751"/>
                <a:gd name="connsiteY3" fmla="*/ 1737 h 7851"/>
                <a:gd name="connsiteX4" fmla="*/ -3933 w 4751"/>
                <a:gd name="connsiteY4" fmla="*/ -1654 h 7851"/>
                <a:gd name="connsiteX5" fmla="*/ -2469 w 4751"/>
                <a:gd name="connsiteY5" fmla="*/ 2296 h 7851"/>
                <a:gd name="connsiteX6" fmla="*/ -1067 w 4751"/>
                <a:gd name="connsiteY6" fmla="*/ 3684 h 7851"/>
                <a:gd name="connsiteX7" fmla="*/ -2469 w 4751"/>
                <a:gd name="connsiteY7" fmla="*/ 5100 h 7851"/>
                <a:gd name="connsiteX8" fmla="*/ -3933 w 4751"/>
                <a:gd name="connsiteY8" fmla="*/ 5100 h 7851"/>
                <a:gd name="connsiteX9" fmla="*/ -3933 w 4751"/>
                <a:gd name="connsiteY9" fmla="*/ 2296 h 7851"/>
                <a:gd name="connsiteX10" fmla="*/ -4485 w 4751"/>
                <a:gd name="connsiteY10" fmla="*/ 5383 h 7851"/>
                <a:gd name="connsiteX11" fmla="*/ -4216 w 4751"/>
                <a:gd name="connsiteY11" fmla="*/ 5645 h 7851"/>
                <a:gd name="connsiteX12" fmla="*/ -2469 w 4751"/>
                <a:gd name="connsiteY12" fmla="*/ 5645 h 7851"/>
                <a:gd name="connsiteX13" fmla="*/ -515 w 4751"/>
                <a:gd name="connsiteY13" fmla="*/ 3684 h 7851"/>
                <a:gd name="connsiteX14" fmla="*/ -1267 w 4751"/>
                <a:gd name="connsiteY14" fmla="*/ 2158 h 7851"/>
                <a:gd name="connsiteX15" fmla="*/ 266 w 4751"/>
                <a:gd name="connsiteY15" fmla="*/ 38 h 7851"/>
                <a:gd name="connsiteX16" fmla="*/ -1979 w 4751"/>
                <a:gd name="connsiteY16" fmla="*/ -2206 h 7851"/>
                <a:gd name="connsiteX17" fmla="*/ -4182 w 4751"/>
                <a:gd name="connsiteY17" fmla="*/ -2206 h 7851"/>
                <a:gd name="connsiteX18" fmla="*/ -4216 w 4751"/>
                <a:gd name="connsiteY18" fmla="*/ -2206 h 7851"/>
                <a:gd name="connsiteX19" fmla="*/ -4230 w 4751"/>
                <a:gd name="connsiteY19" fmla="*/ -2206 h 7851"/>
                <a:gd name="connsiteX20" fmla="*/ -4485 w 4751"/>
                <a:gd name="connsiteY20" fmla="*/ -1937 h 7851"/>
                <a:gd name="connsiteX21" fmla="*/ -4485 w 4751"/>
                <a:gd name="connsiteY21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751" h="7851">
                  <a:moveTo>
                    <a:pt x="-1979" y="-1654"/>
                  </a:moveTo>
                  <a:cubicBezTo>
                    <a:pt x="-1039" y="-1654"/>
                    <a:pt x="-294" y="-901"/>
                    <a:pt x="-280" y="38"/>
                  </a:cubicBezTo>
                  <a:cubicBezTo>
                    <a:pt x="-294" y="970"/>
                    <a:pt x="-1039" y="1737"/>
                    <a:pt x="-1979" y="1737"/>
                  </a:cubicBezTo>
                  <a:lnTo>
                    <a:pt x="-3933" y="1737"/>
                  </a:lnTo>
                  <a:lnTo>
                    <a:pt x="-3933" y="-1654"/>
                  </a:lnTo>
                  <a:close/>
                  <a:moveTo>
                    <a:pt x="-2469" y="2296"/>
                  </a:moveTo>
                  <a:cubicBezTo>
                    <a:pt x="-1696" y="2296"/>
                    <a:pt x="-1067" y="2924"/>
                    <a:pt x="-1067" y="3684"/>
                  </a:cubicBezTo>
                  <a:cubicBezTo>
                    <a:pt x="-1067" y="4471"/>
                    <a:pt x="-1696" y="5100"/>
                    <a:pt x="-2469" y="5100"/>
                  </a:cubicBezTo>
                  <a:lnTo>
                    <a:pt x="-3933" y="5100"/>
                  </a:lnTo>
                  <a:lnTo>
                    <a:pt x="-3933" y="2296"/>
                  </a:lnTo>
                  <a:close/>
                  <a:moveTo>
                    <a:pt x="-4485" y="5383"/>
                  </a:moveTo>
                  <a:lnTo>
                    <a:pt x="-4216" y="5645"/>
                  </a:lnTo>
                  <a:lnTo>
                    <a:pt x="-2469" y="5645"/>
                  </a:lnTo>
                  <a:cubicBezTo>
                    <a:pt x="-1392" y="5645"/>
                    <a:pt x="-515" y="4775"/>
                    <a:pt x="-515" y="3684"/>
                  </a:cubicBezTo>
                  <a:lnTo>
                    <a:pt x="-1267" y="2158"/>
                  </a:lnTo>
                  <a:cubicBezTo>
                    <a:pt x="-384" y="1854"/>
                    <a:pt x="266" y="1025"/>
                    <a:pt x="266" y="38"/>
                  </a:cubicBezTo>
                  <a:cubicBezTo>
                    <a:pt x="266" y="-1205"/>
                    <a:pt x="-742" y="-2206"/>
                    <a:pt x="-1979" y="-2206"/>
                  </a:cubicBezTo>
                  <a:lnTo>
                    <a:pt x="-4182" y="-2206"/>
                  </a:lnTo>
                  <a:lnTo>
                    <a:pt x="-4216" y="-2206"/>
                  </a:lnTo>
                  <a:lnTo>
                    <a:pt x="-4230" y="-2206"/>
                  </a:lnTo>
                  <a:lnTo>
                    <a:pt x="-4485" y="-1937"/>
                  </a:lnTo>
                  <a:lnTo>
                    <a:pt x="-4485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1948366E-2704-4CE5-B621-627AF3A65EA6}"/>
                </a:ext>
              </a:extLst>
            </p:cNvPr>
            <p:cNvSpPr/>
            <p:nvPr/>
          </p:nvSpPr>
          <p:spPr>
            <a:xfrm flipV="1">
              <a:off x="9994875" y="3069178"/>
              <a:ext cx="4571" cy="7851"/>
            </a:xfrm>
            <a:custGeom>
              <a:avLst/>
              <a:gdLst>
                <a:gd name="connsiteX0" fmla="*/ -4494 w 4571"/>
                <a:gd name="connsiteY0" fmla="*/ 5383 h 7851"/>
                <a:gd name="connsiteX1" fmla="*/ -4225 w 4571"/>
                <a:gd name="connsiteY1" fmla="*/ 5645 h 7851"/>
                <a:gd name="connsiteX2" fmla="*/ -185 w 4571"/>
                <a:gd name="connsiteY2" fmla="*/ 5645 h 7851"/>
                <a:gd name="connsiteX3" fmla="*/ 77 w 4571"/>
                <a:gd name="connsiteY3" fmla="*/ 5383 h 7851"/>
                <a:gd name="connsiteX4" fmla="*/ -185 w 4571"/>
                <a:gd name="connsiteY4" fmla="*/ 5100 h 7851"/>
                <a:gd name="connsiteX5" fmla="*/ -3941 w 4571"/>
                <a:gd name="connsiteY5" fmla="*/ 5100 h 7851"/>
                <a:gd name="connsiteX6" fmla="*/ -3941 w 4571"/>
                <a:gd name="connsiteY6" fmla="*/ 1992 h 7851"/>
                <a:gd name="connsiteX7" fmla="*/ -655 w 4571"/>
                <a:gd name="connsiteY7" fmla="*/ 1992 h 7851"/>
                <a:gd name="connsiteX8" fmla="*/ -392 w 4571"/>
                <a:gd name="connsiteY8" fmla="*/ 1709 h 7851"/>
                <a:gd name="connsiteX9" fmla="*/ -655 w 4571"/>
                <a:gd name="connsiteY9" fmla="*/ 1440 h 7851"/>
                <a:gd name="connsiteX10" fmla="*/ -3941 w 4571"/>
                <a:gd name="connsiteY10" fmla="*/ 1440 h 7851"/>
                <a:gd name="connsiteX11" fmla="*/ -3941 w 4571"/>
                <a:gd name="connsiteY11" fmla="*/ -1654 h 7851"/>
                <a:gd name="connsiteX12" fmla="*/ -185 w 4571"/>
                <a:gd name="connsiteY12" fmla="*/ -1654 h 7851"/>
                <a:gd name="connsiteX13" fmla="*/ 77 w 4571"/>
                <a:gd name="connsiteY13" fmla="*/ -1937 h 7851"/>
                <a:gd name="connsiteX14" fmla="*/ -185 w 4571"/>
                <a:gd name="connsiteY14" fmla="*/ -2206 h 7851"/>
                <a:gd name="connsiteX15" fmla="*/ -4190 w 4571"/>
                <a:gd name="connsiteY15" fmla="*/ -2206 h 7851"/>
                <a:gd name="connsiteX16" fmla="*/ -4225 w 4571"/>
                <a:gd name="connsiteY16" fmla="*/ -2206 h 7851"/>
                <a:gd name="connsiteX17" fmla="*/ -4245 w 4571"/>
                <a:gd name="connsiteY17" fmla="*/ -2206 h 7851"/>
                <a:gd name="connsiteX18" fmla="*/ -4494 w 4571"/>
                <a:gd name="connsiteY18" fmla="*/ -1937 h 7851"/>
                <a:gd name="connsiteX19" fmla="*/ -4494 w 4571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1" h="7851">
                  <a:moveTo>
                    <a:pt x="-4494" y="5383"/>
                  </a:moveTo>
                  <a:lnTo>
                    <a:pt x="-4225" y="5645"/>
                  </a:lnTo>
                  <a:lnTo>
                    <a:pt x="-185" y="5645"/>
                  </a:lnTo>
                  <a:lnTo>
                    <a:pt x="77" y="5383"/>
                  </a:lnTo>
                  <a:lnTo>
                    <a:pt x="-185" y="5100"/>
                  </a:lnTo>
                  <a:lnTo>
                    <a:pt x="-3941" y="5100"/>
                  </a:lnTo>
                  <a:lnTo>
                    <a:pt x="-3941" y="1992"/>
                  </a:lnTo>
                  <a:lnTo>
                    <a:pt x="-655" y="1992"/>
                  </a:lnTo>
                  <a:lnTo>
                    <a:pt x="-392" y="1709"/>
                  </a:lnTo>
                  <a:lnTo>
                    <a:pt x="-655" y="1440"/>
                  </a:lnTo>
                  <a:lnTo>
                    <a:pt x="-3941" y="1440"/>
                  </a:lnTo>
                  <a:lnTo>
                    <a:pt x="-3941" y="-1654"/>
                  </a:lnTo>
                  <a:lnTo>
                    <a:pt x="-185" y="-1654"/>
                  </a:lnTo>
                  <a:lnTo>
                    <a:pt x="77" y="-1937"/>
                  </a:lnTo>
                  <a:lnTo>
                    <a:pt x="-185" y="-2206"/>
                  </a:lnTo>
                  <a:lnTo>
                    <a:pt x="-4190" y="-2206"/>
                  </a:lnTo>
                  <a:lnTo>
                    <a:pt x="-4225" y="-2206"/>
                  </a:lnTo>
                  <a:lnTo>
                    <a:pt x="-4245" y="-2206"/>
                  </a:lnTo>
                  <a:lnTo>
                    <a:pt x="-4494" y="-1937"/>
                  </a:lnTo>
                  <a:lnTo>
                    <a:pt x="-4494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CB659DB3-3F32-8C9D-231C-553379A08E22}"/>
                </a:ext>
              </a:extLst>
            </p:cNvPr>
            <p:cNvSpPr/>
            <p:nvPr/>
          </p:nvSpPr>
          <p:spPr>
            <a:xfrm flipV="1">
              <a:off x="10001580" y="3069178"/>
              <a:ext cx="5109" cy="7851"/>
            </a:xfrm>
            <a:custGeom>
              <a:avLst/>
              <a:gdLst>
                <a:gd name="connsiteX0" fmla="*/ -2017 w 5109"/>
                <a:gd name="connsiteY0" fmla="*/ 5100 h 7851"/>
                <a:gd name="connsiteX1" fmla="*/ -3950 w 5109"/>
                <a:gd name="connsiteY1" fmla="*/ 5100 h 7851"/>
                <a:gd name="connsiteX2" fmla="*/ -3950 w 5109"/>
                <a:gd name="connsiteY2" fmla="*/ 1709 h 7851"/>
                <a:gd name="connsiteX3" fmla="*/ -1975 w 5109"/>
                <a:gd name="connsiteY3" fmla="*/ 1709 h 7851"/>
                <a:gd name="connsiteX4" fmla="*/ -325 w 5109"/>
                <a:gd name="connsiteY4" fmla="*/ 3401 h 7851"/>
                <a:gd name="connsiteX5" fmla="*/ -2017 w 5109"/>
                <a:gd name="connsiteY5" fmla="*/ 5100 h 7851"/>
                <a:gd name="connsiteX6" fmla="*/ -449 w 5109"/>
                <a:gd name="connsiteY6" fmla="*/ -432 h 7851"/>
                <a:gd name="connsiteX7" fmla="*/ -1084 w 5109"/>
                <a:gd name="connsiteY7" fmla="*/ 756 h 7851"/>
                <a:gd name="connsiteX8" fmla="*/ -1996 w 5109"/>
                <a:gd name="connsiteY8" fmla="*/ 1150 h 7851"/>
                <a:gd name="connsiteX9" fmla="*/ -2051 w 5109"/>
                <a:gd name="connsiteY9" fmla="*/ 1170 h 7851"/>
                <a:gd name="connsiteX10" fmla="*/ -3950 w 5109"/>
                <a:gd name="connsiteY10" fmla="*/ 1170 h 7851"/>
                <a:gd name="connsiteX11" fmla="*/ -3950 w 5109"/>
                <a:gd name="connsiteY11" fmla="*/ -1937 h 7851"/>
                <a:gd name="connsiteX12" fmla="*/ -4233 w 5109"/>
                <a:gd name="connsiteY12" fmla="*/ -2206 h 7851"/>
                <a:gd name="connsiteX13" fmla="*/ -4502 w 5109"/>
                <a:gd name="connsiteY13" fmla="*/ -1937 h 7851"/>
                <a:gd name="connsiteX14" fmla="*/ -4502 w 5109"/>
                <a:gd name="connsiteY14" fmla="*/ 5383 h 7851"/>
                <a:gd name="connsiteX15" fmla="*/ -4254 w 5109"/>
                <a:gd name="connsiteY15" fmla="*/ 5645 h 7851"/>
                <a:gd name="connsiteX16" fmla="*/ -4233 w 5109"/>
                <a:gd name="connsiteY16" fmla="*/ 5645 h 7851"/>
                <a:gd name="connsiteX17" fmla="*/ -4199 w 5109"/>
                <a:gd name="connsiteY17" fmla="*/ 5645 h 7851"/>
                <a:gd name="connsiteX18" fmla="*/ -2017 w 5109"/>
                <a:gd name="connsiteY18" fmla="*/ 5645 h 7851"/>
                <a:gd name="connsiteX19" fmla="*/ 214 w 5109"/>
                <a:gd name="connsiteY19" fmla="*/ 3401 h 7851"/>
                <a:gd name="connsiteX20" fmla="*/ -1071 w 5109"/>
                <a:gd name="connsiteY20" fmla="*/ 1371 h 7851"/>
                <a:gd name="connsiteX21" fmla="*/ -967 w 5109"/>
                <a:gd name="connsiteY21" fmla="*/ 1322 h 7851"/>
                <a:gd name="connsiteX22" fmla="*/ 96 w 5109"/>
                <a:gd name="connsiteY22" fmla="*/ -432 h 7851"/>
                <a:gd name="connsiteX23" fmla="*/ 193 w 5109"/>
                <a:gd name="connsiteY23" fmla="*/ -1343 h 7851"/>
                <a:gd name="connsiteX24" fmla="*/ 304 w 5109"/>
                <a:gd name="connsiteY24" fmla="*/ -1530 h 7851"/>
                <a:gd name="connsiteX25" fmla="*/ 608 w 5109"/>
                <a:gd name="connsiteY25" fmla="*/ -1709 h 7851"/>
                <a:gd name="connsiteX26" fmla="*/ 421 w 5109"/>
                <a:gd name="connsiteY26" fmla="*/ -2068 h 7851"/>
                <a:gd name="connsiteX27" fmla="*/ 290 w 5109"/>
                <a:gd name="connsiteY27" fmla="*/ -2082 h 7851"/>
                <a:gd name="connsiteX28" fmla="*/ 269 w 5109"/>
                <a:gd name="connsiteY28" fmla="*/ -2082 h 7851"/>
                <a:gd name="connsiteX29" fmla="*/ -228 w 5109"/>
                <a:gd name="connsiteY29" fmla="*/ -1716 h 7851"/>
                <a:gd name="connsiteX30" fmla="*/ -449 w 5109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09" h="7851">
                  <a:moveTo>
                    <a:pt x="-2017" y="5100"/>
                  </a:moveTo>
                  <a:lnTo>
                    <a:pt x="-3950" y="5100"/>
                  </a:lnTo>
                  <a:lnTo>
                    <a:pt x="-3950" y="1709"/>
                  </a:lnTo>
                  <a:lnTo>
                    <a:pt x="-1975" y="1709"/>
                  </a:lnTo>
                  <a:cubicBezTo>
                    <a:pt x="-1064" y="1737"/>
                    <a:pt x="-325" y="2482"/>
                    <a:pt x="-325" y="3401"/>
                  </a:cubicBezTo>
                  <a:cubicBezTo>
                    <a:pt x="-325" y="4347"/>
                    <a:pt x="-1084" y="5100"/>
                    <a:pt x="-2017" y="5100"/>
                  </a:cubicBezTo>
                  <a:close/>
                  <a:moveTo>
                    <a:pt x="-449" y="-432"/>
                  </a:moveTo>
                  <a:lnTo>
                    <a:pt x="-1084" y="756"/>
                  </a:lnTo>
                  <a:lnTo>
                    <a:pt x="-1996" y="1150"/>
                  </a:lnTo>
                  <a:lnTo>
                    <a:pt x="-2051" y="1170"/>
                  </a:lnTo>
                  <a:lnTo>
                    <a:pt x="-3950" y="1170"/>
                  </a:lnTo>
                  <a:lnTo>
                    <a:pt x="-3950" y="-1937"/>
                  </a:lnTo>
                  <a:lnTo>
                    <a:pt x="-4233" y="-2206"/>
                  </a:lnTo>
                  <a:lnTo>
                    <a:pt x="-4502" y="-1937"/>
                  </a:lnTo>
                  <a:lnTo>
                    <a:pt x="-4502" y="5383"/>
                  </a:lnTo>
                  <a:lnTo>
                    <a:pt x="-4254" y="5645"/>
                  </a:lnTo>
                  <a:lnTo>
                    <a:pt x="-4233" y="5645"/>
                  </a:lnTo>
                  <a:lnTo>
                    <a:pt x="-4199" y="5645"/>
                  </a:lnTo>
                  <a:lnTo>
                    <a:pt x="-2017" y="5645"/>
                  </a:lnTo>
                  <a:cubicBezTo>
                    <a:pt x="-781" y="5645"/>
                    <a:pt x="214" y="4651"/>
                    <a:pt x="214" y="3401"/>
                  </a:cubicBezTo>
                  <a:cubicBezTo>
                    <a:pt x="214" y="2510"/>
                    <a:pt x="-311" y="1737"/>
                    <a:pt x="-1071" y="1371"/>
                  </a:cubicBezTo>
                  <a:lnTo>
                    <a:pt x="-967" y="1322"/>
                  </a:lnTo>
                  <a:cubicBezTo>
                    <a:pt x="-449" y="1025"/>
                    <a:pt x="96" y="459"/>
                    <a:pt x="96" y="-432"/>
                  </a:cubicBezTo>
                  <a:lnTo>
                    <a:pt x="193" y="-1343"/>
                  </a:lnTo>
                  <a:lnTo>
                    <a:pt x="304" y="-1530"/>
                  </a:lnTo>
                  <a:lnTo>
                    <a:pt x="608" y="-1709"/>
                  </a:lnTo>
                  <a:lnTo>
                    <a:pt x="421" y="-2068"/>
                  </a:lnTo>
                  <a:lnTo>
                    <a:pt x="290" y="-2082"/>
                  </a:lnTo>
                  <a:lnTo>
                    <a:pt x="269" y="-2082"/>
                  </a:lnTo>
                  <a:lnTo>
                    <a:pt x="-228" y="-1716"/>
                  </a:lnTo>
                  <a:cubicBezTo>
                    <a:pt x="-366" y="-1461"/>
                    <a:pt x="-449" y="-1095"/>
                    <a:pt x="-449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3E8FBC91-052D-E514-897E-8ECD96BB9589}"/>
                </a:ext>
              </a:extLst>
            </p:cNvPr>
            <p:cNvSpPr/>
            <p:nvPr/>
          </p:nvSpPr>
          <p:spPr>
            <a:xfrm flipV="1">
              <a:off x="10048786" y="3069178"/>
              <a:ext cx="5669" cy="7851"/>
            </a:xfrm>
            <a:custGeom>
              <a:avLst/>
              <a:gdLst>
                <a:gd name="connsiteX0" fmla="*/ -2822 w 5669"/>
                <a:gd name="connsiteY0" fmla="*/ -1654 h 7851"/>
                <a:gd name="connsiteX1" fmla="*/ 555 w 5669"/>
                <a:gd name="connsiteY1" fmla="*/ 1709 h 7851"/>
                <a:gd name="connsiteX2" fmla="*/ -2822 w 5669"/>
                <a:gd name="connsiteY2" fmla="*/ 5100 h 7851"/>
                <a:gd name="connsiteX3" fmla="*/ -4003 w 5669"/>
                <a:gd name="connsiteY3" fmla="*/ 5100 h 7851"/>
                <a:gd name="connsiteX4" fmla="*/ -4003 w 5669"/>
                <a:gd name="connsiteY4" fmla="*/ -1654 h 7851"/>
                <a:gd name="connsiteX5" fmla="*/ -4272 w 5669"/>
                <a:gd name="connsiteY5" fmla="*/ -2206 h 7851"/>
                <a:gd name="connsiteX6" fmla="*/ -4306 w 5669"/>
                <a:gd name="connsiteY6" fmla="*/ -2206 h 7851"/>
                <a:gd name="connsiteX7" fmla="*/ -4562 w 5669"/>
                <a:gd name="connsiteY7" fmla="*/ -1937 h 7851"/>
                <a:gd name="connsiteX8" fmla="*/ -4562 w 5669"/>
                <a:gd name="connsiteY8" fmla="*/ 5383 h 7851"/>
                <a:gd name="connsiteX9" fmla="*/ -4286 w 5669"/>
                <a:gd name="connsiteY9" fmla="*/ 5645 h 7851"/>
                <a:gd name="connsiteX10" fmla="*/ -4258 w 5669"/>
                <a:gd name="connsiteY10" fmla="*/ 5645 h 7851"/>
                <a:gd name="connsiteX11" fmla="*/ -2822 w 5669"/>
                <a:gd name="connsiteY11" fmla="*/ 5645 h 7851"/>
                <a:gd name="connsiteX12" fmla="*/ 1107 w 5669"/>
                <a:gd name="connsiteY12" fmla="*/ 1709 h 7851"/>
                <a:gd name="connsiteX13" fmla="*/ -2822 w 5669"/>
                <a:gd name="connsiteY13" fmla="*/ -2206 h 7851"/>
                <a:gd name="connsiteX14" fmla="*/ -4272 w 5669"/>
                <a:gd name="connsiteY14" fmla="*/ -2206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69" h="7851">
                  <a:moveTo>
                    <a:pt x="-2822" y="-1654"/>
                  </a:moveTo>
                  <a:cubicBezTo>
                    <a:pt x="-957" y="-1654"/>
                    <a:pt x="555" y="-148"/>
                    <a:pt x="555" y="1709"/>
                  </a:cubicBezTo>
                  <a:cubicBezTo>
                    <a:pt x="555" y="3587"/>
                    <a:pt x="-957" y="5086"/>
                    <a:pt x="-2822" y="5100"/>
                  </a:cubicBezTo>
                  <a:lnTo>
                    <a:pt x="-4003" y="5100"/>
                  </a:lnTo>
                  <a:lnTo>
                    <a:pt x="-4003" y="-1654"/>
                  </a:lnTo>
                  <a:close/>
                  <a:moveTo>
                    <a:pt x="-4272" y="-2206"/>
                  </a:moveTo>
                  <a:lnTo>
                    <a:pt x="-4306" y="-2206"/>
                  </a:lnTo>
                  <a:lnTo>
                    <a:pt x="-4562" y="-1937"/>
                  </a:lnTo>
                  <a:lnTo>
                    <a:pt x="-4562" y="5383"/>
                  </a:lnTo>
                  <a:lnTo>
                    <a:pt x="-4286" y="5645"/>
                  </a:lnTo>
                  <a:lnTo>
                    <a:pt x="-4258" y="5645"/>
                  </a:lnTo>
                  <a:lnTo>
                    <a:pt x="-2822" y="5645"/>
                  </a:lnTo>
                  <a:cubicBezTo>
                    <a:pt x="-653" y="5645"/>
                    <a:pt x="1107" y="3877"/>
                    <a:pt x="1107" y="1709"/>
                  </a:cubicBezTo>
                  <a:cubicBezTo>
                    <a:pt x="1107" y="-452"/>
                    <a:pt x="-653" y="-2206"/>
                    <a:pt x="-2822" y="-2206"/>
                  </a:cubicBezTo>
                  <a:lnTo>
                    <a:pt x="-4272" y="-220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E8635A06-7CF1-759F-AC16-6CE96B337351}"/>
                </a:ext>
              </a:extLst>
            </p:cNvPr>
            <p:cNvSpPr/>
            <p:nvPr/>
          </p:nvSpPr>
          <p:spPr>
            <a:xfrm flipV="1">
              <a:off x="10056271" y="3069178"/>
              <a:ext cx="4585" cy="7851"/>
            </a:xfrm>
            <a:custGeom>
              <a:avLst/>
              <a:gdLst>
                <a:gd name="connsiteX0" fmla="*/ -4571 w 4585"/>
                <a:gd name="connsiteY0" fmla="*/ 5383 h 7851"/>
                <a:gd name="connsiteX1" fmla="*/ -4295 w 4585"/>
                <a:gd name="connsiteY1" fmla="*/ 5645 h 7851"/>
                <a:gd name="connsiteX2" fmla="*/ -262 w 4585"/>
                <a:gd name="connsiteY2" fmla="*/ 5645 h 7851"/>
                <a:gd name="connsiteX3" fmla="*/ 15 w 4585"/>
                <a:gd name="connsiteY3" fmla="*/ 5383 h 7851"/>
                <a:gd name="connsiteX4" fmla="*/ -262 w 4585"/>
                <a:gd name="connsiteY4" fmla="*/ 5100 h 7851"/>
                <a:gd name="connsiteX5" fmla="*/ -4011 w 4585"/>
                <a:gd name="connsiteY5" fmla="*/ 5100 h 7851"/>
                <a:gd name="connsiteX6" fmla="*/ -4011 w 4585"/>
                <a:gd name="connsiteY6" fmla="*/ 1992 h 7851"/>
                <a:gd name="connsiteX7" fmla="*/ -731 w 4585"/>
                <a:gd name="connsiteY7" fmla="*/ 1992 h 7851"/>
                <a:gd name="connsiteX8" fmla="*/ -469 w 4585"/>
                <a:gd name="connsiteY8" fmla="*/ 1709 h 7851"/>
                <a:gd name="connsiteX9" fmla="*/ -731 w 4585"/>
                <a:gd name="connsiteY9" fmla="*/ 1440 h 7851"/>
                <a:gd name="connsiteX10" fmla="*/ -4011 w 4585"/>
                <a:gd name="connsiteY10" fmla="*/ 1440 h 7851"/>
                <a:gd name="connsiteX11" fmla="*/ -4011 w 4585"/>
                <a:gd name="connsiteY11" fmla="*/ -1654 h 7851"/>
                <a:gd name="connsiteX12" fmla="*/ -262 w 4585"/>
                <a:gd name="connsiteY12" fmla="*/ -1654 h 7851"/>
                <a:gd name="connsiteX13" fmla="*/ 15 w 4585"/>
                <a:gd name="connsiteY13" fmla="*/ -1937 h 7851"/>
                <a:gd name="connsiteX14" fmla="*/ -262 w 4585"/>
                <a:gd name="connsiteY14" fmla="*/ -2206 h 7851"/>
                <a:gd name="connsiteX15" fmla="*/ -4267 w 4585"/>
                <a:gd name="connsiteY15" fmla="*/ -2206 h 7851"/>
                <a:gd name="connsiteX16" fmla="*/ -4295 w 4585"/>
                <a:gd name="connsiteY16" fmla="*/ -2206 h 7851"/>
                <a:gd name="connsiteX17" fmla="*/ -4315 w 4585"/>
                <a:gd name="connsiteY17" fmla="*/ -2206 h 7851"/>
                <a:gd name="connsiteX18" fmla="*/ -4571 w 4585"/>
                <a:gd name="connsiteY18" fmla="*/ -1937 h 7851"/>
                <a:gd name="connsiteX19" fmla="*/ -4571 w 4585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85" h="7851">
                  <a:moveTo>
                    <a:pt x="-4571" y="5383"/>
                  </a:moveTo>
                  <a:lnTo>
                    <a:pt x="-4295" y="5645"/>
                  </a:lnTo>
                  <a:lnTo>
                    <a:pt x="-262" y="5645"/>
                  </a:lnTo>
                  <a:lnTo>
                    <a:pt x="15" y="5383"/>
                  </a:lnTo>
                  <a:lnTo>
                    <a:pt x="-262" y="5100"/>
                  </a:lnTo>
                  <a:lnTo>
                    <a:pt x="-4011" y="5100"/>
                  </a:lnTo>
                  <a:lnTo>
                    <a:pt x="-4011" y="1992"/>
                  </a:lnTo>
                  <a:lnTo>
                    <a:pt x="-731" y="1992"/>
                  </a:lnTo>
                  <a:lnTo>
                    <a:pt x="-469" y="1709"/>
                  </a:lnTo>
                  <a:lnTo>
                    <a:pt x="-731" y="1440"/>
                  </a:lnTo>
                  <a:lnTo>
                    <a:pt x="-4011" y="1440"/>
                  </a:lnTo>
                  <a:lnTo>
                    <a:pt x="-4011" y="-1654"/>
                  </a:lnTo>
                  <a:lnTo>
                    <a:pt x="-262" y="-1654"/>
                  </a:lnTo>
                  <a:lnTo>
                    <a:pt x="15" y="-1937"/>
                  </a:lnTo>
                  <a:lnTo>
                    <a:pt x="-262" y="-2206"/>
                  </a:lnTo>
                  <a:lnTo>
                    <a:pt x="-4267" y="-2206"/>
                  </a:lnTo>
                  <a:lnTo>
                    <a:pt x="-4295" y="-2206"/>
                  </a:lnTo>
                  <a:lnTo>
                    <a:pt x="-4315" y="-2206"/>
                  </a:lnTo>
                  <a:lnTo>
                    <a:pt x="-4571" y="-1937"/>
                  </a:lnTo>
                  <a:lnTo>
                    <a:pt x="-4571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C3CAE531-158D-C318-3C3B-85F71A335D2E}"/>
                </a:ext>
              </a:extLst>
            </p:cNvPr>
            <p:cNvSpPr/>
            <p:nvPr/>
          </p:nvSpPr>
          <p:spPr>
            <a:xfrm flipV="1">
              <a:off x="10062569" y="3069061"/>
              <a:ext cx="6656" cy="7968"/>
            </a:xfrm>
            <a:custGeom>
              <a:avLst/>
              <a:gdLst>
                <a:gd name="connsiteX0" fmla="*/ -506 w 6656"/>
                <a:gd name="connsiteY0" fmla="*/ 5762 h 7968"/>
                <a:gd name="connsiteX1" fmla="*/ 2036 w 6656"/>
                <a:gd name="connsiteY1" fmla="*/ 4899 h 7968"/>
                <a:gd name="connsiteX2" fmla="*/ 2077 w 6656"/>
                <a:gd name="connsiteY2" fmla="*/ 4506 h 7968"/>
                <a:gd name="connsiteX3" fmla="*/ 1697 w 6656"/>
                <a:gd name="connsiteY3" fmla="*/ 4450 h 7968"/>
                <a:gd name="connsiteX4" fmla="*/ -506 w 6656"/>
                <a:gd name="connsiteY4" fmla="*/ 5210 h 7968"/>
                <a:gd name="connsiteX5" fmla="*/ -4034 w 6656"/>
                <a:gd name="connsiteY5" fmla="*/ 1757 h 7968"/>
                <a:gd name="connsiteX6" fmla="*/ -506 w 6656"/>
                <a:gd name="connsiteY6" fmla="*/ -1654 h 7968"/>
                <a:gd name="connsiteX7" fmla="*/ 1676 w 6656"/>
                <a:gd name="connsiteY7" fmla="*/ -894 h 7968"/>
                <a:gd name="connsiteX8" fmla="*/ 2063 w 6656"/>
                <a:gd name="connsiteY8" fmla="*/ -957 h 7968"/>
                <a:gd name="connsiteX9" fmla="*/ 2036 w 6656"/>
                <a:gd name="connsiteY9" fmla="*/ -1350 h 7968"/>
                <a:gd name="connsiteX10" fmla="*/ -506 w 6656"/>
                <a:gd name="connsiteY10" fmla="*/ -2207 h 7968"/>
                <a:gd name="connsiteX11" fmla="*/ -4580 w 6656"/>
                <a:gd name="connsiteY11" fmla="*/ 1757 h 7968"/>
                <a:gd name="connsiteX12" fmla="*/ -506 w 6656"/>
                <a:gd name="connsiteY12" fmla="*/ 5762 h 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56" h="7968">
                  <a:moveTo>
                    <a:pt x="-506" y="5762"/>
                  </a:moveTo>
                  <a:cubicBezTo>
                    <a:pt x="461" y="5762"/>
                    <a:pt x="1352" y="5424"/>
                    <a:pt x="2036" y="4899"/>
                  </a:cubicBezTo>
                  <a:lnTo>
                    <a:pt x="2077" y="4506"/>
                  </a:lnTo>
                  <a:lnTo>
                    <a:pt x="1697" y="4450"/>
                  </a:lnTo>
                  <a:cubicBezTo>
                    <a:pt x="1089" y="4920"/>
                    <a:pt x="330" y="5210"/>
                    <a:pt x="-506" y="5210"/>
                  </a:cubicBezTo>
                  <a:cubicBezTo>
                    <a:pt x="-2467" y="5210"/>
                    <a:pt x="-4034" y="3670"/>
                    <a:pt x="-4034" y="1757"/>
                  </a:cubicBezTo>
                  <a:cubicBezTo>
                    <a:pt x="-4034" y="-114"/>
                    <a:pt x="-2467" y="-1654"/>
                    <a:pt x="-506" y="-1654"/>
                  </a:cubicBezTo>
                  <a:cubicBezTo>
                    <a:pt x="330" y="-1654"/>
                    <a:pt x="1089" y="-1385"/>
                    <a:pt x="1676" y="-894"/>
                  </a:cubicBezTo>
                  <a:lnTo>
                    <a:pt x="2063" y="-957"/>
                  </a:lnTo>
                  <a:lnTo>
                    <a:pt x="2036" y="-1350"/>
                  </a:lnTo>
                  <a:cubicBezTo>
                    <a:pt x="1352" y="-1875"/>
                    <a:pt x="461" y="-2207"/>
                    <a:pt x="-506" y="-2207"/>
                  </a:cubicBezTo>
                  <a:cubicBezTo>
                    <a:pt x="-2757" y="-2207"/>
                    <a:pt x="-4580" y="-432"/>
                    <a:pt x="-4580" y="1757"/>
                  </a:cubicBezTo>
                  <a:cubicBezTo>
                    <a:pt x="-4580" y="3988"/>
                    <a:pt x="-2757" y="5749"/>
                    <a:pt x="-506" y="576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0FEEA8B8-FA1D-E229-1CE2-8319BC9EA4C2}"/>
                </a:ext>
              </a:extLst>
            </p:cNvPr>
            <p:cNvSpPr/>
            <p:nvPr/>
          </p:nvSpPr>
          <p:spPr>
            <a:xfrm flipV="1">
              <a:off x="10071539" y="3069178"/>
              <a:ext cx="4578" cy="7851"/>
            </a:xfrm>
            <a:custGeom>
              <a:avLst/>
              <a:gdLst>
                <a:gd name="connsiteX0" fmla="*/ -4590 w 4578"/>
                <a:gd name="connsiteY0" fmla="*/ 5383 h 7851"/>
                <a:gd name="connsiteX1" fmla="*/ -4321 w 4578"/>
                <a:gd name="connsiteY1" fmla="*/ 5645 h 7851"/>
                <a:gd name="connsiteX2" fmla="*/ -288 w 4578"/>
                <a:gd name="connsiteY2" fmla="*/ 5645 h 7851"/>
                <a:gd name="connsiteX3" fmla="*/ -12 w 4578"/>
                <a:gd name="connsiteY3" fmla="*/ 5383 h 7851"/>
                <a:gd name="connsiteX4" fmla="*/ -288 w 4578"/>
                <a:gd name="connsiteY4" fmla="*/ 5100 h 7851"/>
                <a:gd name="connsiteX5" fmla="*/ -4038 w 4578"/>
                <a:gd name="connsiteY5" fmla="*/ 5100 h 7851"/>
                <a:gd name="connsiteX6" fmla="*/ -4038 w 4578"/>
                <a:gd name="connsiteY6" fmla="*/ 1992 h 7851"/>
                <a:gd name="connsiteX7" fmla="*/ -758 w 4578"/>
                <a:gd name="connsiteY7" fmla="*/ 1992 h 7851"/>
                <a:gd name="connsiteX8" fmla="*/ -488 w 4578"/>
                <a:gd name="connsiteY8" fmla="*/ 1709 h 7851"/>
                <a:gd name="connsiteX9" fmla="*/ -758 w 4578"/>
                <a:gd name="connsiteY9" fmla="*/ 1440 h 7851"/>
                <a:gd name="connsiteX10" fmla="*/ -4038 w 4578"/>
                <a:gd name="connsiteY10" fmla="*/ 1440 h 7851"/>
                <a:gd name="connsiteX11" fmla="*/ -4038 w 4578"/>
                <a:gd name="connsiteY11" fmla="*/ -1654 h 7851"/>
                <a:gd name="connsiteX12" fmla="*/ -288 w 4578"/>
                <a:gd name="connsiteY12" fmla="*/ -1654 h 7851"/>
                <a:gd name="connsiteX13" fmla="*/ -12 w 4578"/>
                <a:gd name="connsiteY13" fmla="*/ -1937 h 7851"/>
                <a:gd name="connsiteX14" fmla="*/ -288 w 4578"/>
                <a:gd name="connsiteY14" fmla="*/ -2206 h 7851"/>
                <a:gd name="connsiteX15" fmla="*/ -4293 w 4578"/>
                <a:gd name="connsiteY15" fmla="*/ -2206 h 7851"/>
                <a:gd name="connsiteX16" fmla="*/ -4321 w 4578"/>
                <a:gd name="connsiteY16" fmla="*/ -2206 h 7851"/>
                <a:gd name="connsiteX17" fmla="*/ -4341 w 4578"/>
                <a:gd name="connsiteY17" fmla="*/ -2206 h 7851"/>
                <a:gd name="connsiteX18" fmla="*/ -4590 w 4578"/>
                <a:gd name="connsiteY18" fmla="*/ -1937 h 7851"/>
                <a:gd name="connsiteX19" fmla="*/ -4590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4590" y="5383"/>
                  </a:moveTo>
                  <a:lnTo>
                    <a:pt x="-4321" y="5645"/>
                  </a:lnTo>
                  <a:lnTo>
                    <a:pt x="-288" y="5645"/>
                  </a:lnTo>
                  <a:lnTo>
                    <a:pt x="-12" y="5383"/>
                  </a:lnTo>
                  <a:lnTo>
                    <a:pt x="-288" y="5100"/>
                  </a:lnTo>
                  <a:lnTo>
                    <a:pt x="-4038" y="5100"/>
                  </a:lnTo>
                  <a:lnTo>
                    <a:pt x="-4038" y="1992"/>
                  </a:lnTo>
                  <a:lnTo>
                    <a:pt x="-758" y="1992"/>
                  </a:lnTo>
                  <a:lnTo>
                    <a:pt x="-488" y="1709"/>
                  </a:lnTo>
                  <a:lnTo>
                    <a:pt x="-758" y="1440"/>
                  </a:lnTo>
                  <a:lnTo>
                    <a:pt x="-4038" y="1440"/>
                  </a:lnTo>
                  <a:lnTo>
                    <a:pt x="-4038" y="-1654"/>
                  </a:lnTo>
                  <a:lnTo>
                    <a:pt x="-288" y="-1654"/>
                  </a:lnTo>
                  <a:lnTo>
                    <a:pt x="-12" y="-1937"/>
                  </a:lnTo>
                  <a:lnTo>
                    <a:pt x="-288" y="-2206"/>
                  </a:lnTo>
                  <a:lnTo>
                    <a:pt x="-4293" y="-2206"/>
                  </a:lnTo>
                  <a:lnTo>
                    <a:pt x="-4321" y="-2206"/>
                  </a:lnTo>
                  <a:lnTo>
                    <a:pt x="-4341" y="-2206"/>
                  </a:lnTo>
                  <a:lnTo>
                    <a:pt x="-4590" y="-1937"/>
                  </a:lnTo>
                  <a:lnTo>
                    <a:pt x="-4590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945ECACF-8557-7BE2-2FA0-1E841F2BB8E2}"/>
                </a:ext>
              </a:extLst>
            </p:cNvPr>
            <p:cNvSpPr/>
            <p:nvPr/>
          </p:nvSpPr>
          <p:spPr>
            <a:xfrm flipV="1">
              <a:off x="10078175" y="3069254"/>
              <a:ext cx="6594" cy="7775"/>
            </a:xfrm>
            <a:custGeom>
              <a:avLst/>
              <a:gdLst>
                <a:gd name="connsiteX0" fmla="*/ 1457 w 6594"/>
                <a:gd name="connsiteY0" fmla="*/ 4526 h 7775"/>
                <a:gd name="connsiteX1" fmla="*/ -1057 w 6594"/>
                <a:gd name="connsiteY1" fmla="*/ 1039 h 7775"/>
                <a:gd name="connsiteX2" fmla="*/ -1278 w 6594"/>
                <a:gd name="connsiteY2" fmla="*/ 915 h 7775"/>
                <a:gd name="connsiteX3" fmla="*/ -1299 w 6594"/>
                <a:gd name="connsiteY3" fmla="*/ 915 h 7775"/>
                <a:gd name="connsiteX4" fmla="*/ -1534 w 6594"/>
                <a:gd name="connsiteY4" fmla="*/ 1039 h 7775"/>
                <a:gd name="connsiteX5" fmla="*/ -4054 w 6594"/>
                <a:gd name="connsiteY5" fmla="*/ 4520 h 7775"/>
                <a:gd name="connsiteX6" fmla="*/ -4054 w 6594"/>
                <a:gd name="connsiteY6" fmla="*/ -1937 h 7775"/>
                <a:gd name="connsiteX7" fmla="*/ -4316 w 6594"/>
                <a:gd name="connsiteY7" fmla="*/ -2206 h 7775"/>
                <a:gd name="connsiteX8" fmla="*/ -4599 w 6594"/>
                <a:gd name="connsiteY8" fmla="*/ -1937 h 7775"/>
                <a:gd name="connsiteX9" fmla="*/ -4599 w 6594"/>
                <a:gd name="connsiteY9" fmla="*/ 5334 h 7775"/>
                <a:gd name="connsiteX10" fmla="*/ -4482 w 6594"/>
                <a:gd name="connsiteY10" fmla="*/ 5542 h 7775"/>
                <a:gd name="connsiteX11" fmla="*/ -4462 w 6594"/>
                <a:gd name="connsiteY11" fmla="*/ 5569 h 7775"/>
                <a:gd name="connsiteX12" fmla="*/ -4082 w 6594"/>
                <a:gd name="connsiteY12" fmla="*/ 5500 h 7775"/>
                <a:gd name="connsiteX13" fmla="*/ -1292 w 6594"/>
                <a:gd name="connsiteY13" fmla="*/ 1633 h 7775"/>
                <a:gd name="connsiteX14" fmla="*/ 1491 w 6594"/>
                <a:gd name="connsiteY14" fmla="*/ 5500 h 7775"/>
                <a:gd name="connsiteX15" fmla="*/ 1871 w 6594"/>
                <a:gd name="connsiteY15" fmla="*/ 5569 h 7775"/>
                <a:gd name="connsiteX16" fmla="*/ 1954 w 6594"/>
                <a:gd name="connsiteY16" fmla="*/ 5479 h 7775"/>
                <a:gd name="connsiteX17" fmla="*/ 1995 w 6594"/>
                <a:gd name="connsiteY17" fmla="*/ 5334 h 7775"/>
                <a:gd name="connsiteX18" fmla="*/ 1995 w 6594"/>
                <a:gd name="connsiteY18" fmla="*/ -1937 h 7775"/>
                <a:gd name="connsiteX19" fmla="*/ 1726 w 6594"/>
                <a:gd name="connsiteY19" fmla="*/ -2206 h 7775"/>
                <a:gd name="connsiteX20" fmla="*/ 1457 w 6594"/>
                <a:gd name="connsiteY20" fmla="*/ -1937 h 7775"/>
                <a:gd name="connsiteX21" fmla="*/ 1457 w 6594"/>
                <a:gd name="connsiteY21" fmla="*/ 4526 h 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94" h="7775">
                  <a:moveTo>
                    <a:pt x="1457" y="4526"/>
                  </a:moveTo>
                  <a:lnTo>
                    <a:pt x="-1057" y="1039"/>
                  </a:lnTo>
                  <a:lnTo>
                    <a:pt x="-1278" y="915"/>
                  </a:lnTo>
                  <a:lnTo>
                    <a:pt x="-1299" y="915"/>
                  </a:lnTo>
                  <a:lnTo>
                    <a:pt x="-1534" y="1039"/>
                  </a:lnTo>
                  <a:lnTo>
                    <a:pt x="-4054" y="4520"/>
                  </a:lnTo>
                  <a:lnTo>
                    <a:pt x="-4054" y="-1937"/>
                  </a:lnTo>
                  <a:lnTo>
                    <a:pt x="-4316" y="-2206"/>
                  </a:lnTo>
                  <a:lnTo>
                    <a:pt x="-4599" y="-1937"/>
                  </a:lnTo>
                  <a:lnTo>
                    <a:pt x="-4599" y="5334"/>
                  </a:lnTo>
                  <a:lnTo>
                    <a:pt x="-4482" y="5542"/>
                  </a:lnTo>
                  <a:lnTo>
                    <a:pt x="-4462" y="5569"/>
                  </a:lnTo>
                  <a:lnTo>
                    <a:pt x="-4082" y="5500"/>
                  </a:lnTo>
                  <a:lnTo>
                    <a:pt x="-1292" y="1633"/>
                  </a:lnTo>
                  <a:lnTo>
                    <a:pt x="1491" y="5500"/>
                  </a:lnTo>
                  <a:lnTo>
                    <a:pt x="1871" y="5569"/>
                  </a:lnTo>
                  <a:lnTo>
                    <a:pt x="1954" y="5479"/>
                  </a:lnTo>
                  <a:lnTo>
                    <a:pt x="1995" y="5334"/>
                  </a:lnTo>
                  <a:lnTo>
                    <a:pt x="1995" y="-1937"/>
                  </a:lnTo>
                  <a:lnTo>
                    <a:pt x="1726" y="-2206"/>
                  </a:lnTo>
                  <a:lnTo>
                    <a:pt x="1457" y="-1937"/>
                  </a:lnTo>
                  <a:lnTo>
                    <a:pt x="1457" y="4526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40E417FA-48F6-1829-C293-C035EC053757}"/>
                </a:ext>
              </a:extLst>
            </p:cNvPr>
            <p:cNvSpPr/>
            <p:nvPr/>
          </p:nvSpPr>
          <p:spPr>
            <a:xfrm flipV="1">
              <a:off x="10087629" y="3069178"/>
              <a:ext cx="4750" cy="7851"/>
            </a:xfrm>
            <a:custGeom>
              <a:avLst/>
              <a:gdLst>
                <a:gd name="connsiteX0" fmla="*/ -2104 w 4750"/>
                <a:gd name="connsiteY0" fmla="*/ -1654 h 7851"/>
                <a:gd name="connsiteX1" fmla="*/ -412 w 4750"/>
                <a:gd name="connsiteY1" fmla="*/ 38 h 7851"/>
                <a:gd name="connsiteX2" fmla="*/ -2104 w 4750"/>
                <a:gd name="connsiteY2" fmla="*/ 1737 h 7851"/>
                <a:gd name="connsiteX3" fmla="*/ -4065 w 4750"/>
                <a:gd name="connsiteY3" fmla="*/ 1737 h 7851"/>
                <a:gd name="connsiteX4" fmla="*/ -4065 w 4750"/>
                <a:gd name="connsiteY4" fmla="*/ -1654 h 7851"/>
                <a:gd name="connsiteX5" fmla="*/ -2601 w 4750"/>
                <a:gd name="connsiteY5" fmla="*/ 2296 h 7851"/>
                <a:gd name="connsiteX6" fmla="*/ -1192 w 4750"/>
                <a:gd name="connsiteY6" fmla="*/ 3684 h 7851"/>
                <a:gd name="connsiteX7" fmla="*/ -2601 w 4750"/>
                <a:gd name="connsiteY7" fmla="*/ 5100 h 7851"/>
                <a:gd name="connsiteX8" fmla="*/ -4065 w 4750"/>
                <a:gd name="connsiteY8" fmla="*/ 5100 h 7851"/>
                <a:gd name="connsiteX9" fmla="*/ -4065 w 4750"/>
                <a:gd name="connsiteY9" fmla="*/ 2296 h 7851"/>
                <a:gd name="connsiteX10" fmla="*/ -4610 w 4750"/>
                <a:gd name="connsiteY10" fmla="*/ 5383 h 7851"/>
                <a:gd name="connsiteX11" fmla="*/ -4341 w 4750"/>
                <a:gd name="connsiteY11" fmla="*/ 5645 h 7851"/>
                <a:gd name="connsiteX12" fmla="*/ -2601 w 4750"/>
                <a:gd name="connsiteY12" fmla="*/ 5645 h 7851"/>
                <a:gd name="connsiteX13" fmla="*/ -647 w 4750"/>
                <a:gd name="connsiteY13" fmla="*/ 3684 h 7851"/>
                <a:gd name="connsiteX14" fmla="*/ -1399 w 4750"/>
                <a:gd name="connsiteY14" fmla="*/ 2158 h 7851"/>
                <a:gd name="connsiteX15" fmla="*/ 141 w 4750"/>
                <a:gd name="connsiteY15" fmla="*/ 38 h 7851"/>
                <a:gd name="connsiteX16" fmla="*/ -2104 w 4750"/>
                <a:gd name="connsiteY16" fmla="*/ -2206 h 7851"/>
                <a:gd name="connsiteX17" fmla="*/ -4320 w 4750"/>
                <a:gd name="connsiteY17" fmla="*/ -2206 h 7851"/>
                <a:gd name="connsiteX18" fmla="*/ -4341 w 4750"/>
                <a:gd name="connsiteY18" fmla="*/ -2206 h 7851"/>
                <a:gd name="connsiteX19" fmla="*/ -4355 w 4750"/>
                <a:gd name="connsiteY19" fmla="*/ -2206 h 7851"/>
                <a:gd name="connsiteX20" fmla="*/ -4610 w 4750"/>
                <a:gd name="connsiteY20" fmla="*/ -1937 h 7851"/>
                <a:gd name="connsiteX21" fmla="*/ -4610 w 4750"/>
                <a:gd name="connsiteY21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750" h="7851">
                  <a:moveTo>
                    <a:pt x="-2104" y="-1654"/>
                  </a:moveTo>
                  <a:cubicBezTo>
                    <a:pt x="-1171" y="-1654"/>
                    <a:pt x="-425" y="-901"/>
                    <a:pt x="-412" y="38"/>
                  </a:cubicBezTo>
                  <a:cubicBezTo>
                    <a:pt x="-425" y="970"/>
                    <a:pt x="-1171" y="1737"/>
                    <a:pt x="-2104" y="1737"/>
                  </a:cubicBezTo>
                  <a:lnTo>
                    <a:pt x="-4065" y="1737"/>
                  </a:lnTo>
                  <a:lnTo>
                    <a:pt x="-4065" y="-1654"/>
                  </a:lnTo>
                  <a:close/>
                  <a:moveTo>
                    <a:pt x="-2601" y="2296"/>
                  </a:moveTo>
                  <a:cubicBezTo>
                    <a:pt x="-1827" y="2296"/>
                    <a:pt x="-1192" y="2924"/>
                    <a:pt x="-1192" y="3684"/>
                  </a:cubicBezTo>
                  <a:cubicBezTo>
                    <a:pt x="-1192" y="4471"/>
                    <a:pt x="-1827" y="5100"/>
                    <a:pt x="-2601" y="5100"/>
                  </a:cubicBezTo>
                  <a:lnTo>
                    <a:pt x="-4065" y="5100"/>
                  </a:lnTo>
                  <a:lnTo>
                    <a:pt x="-4065" y="2296"/>
                  </a:lnTo>
                  <a:close/>
                  <a:moveTo>
                    <a:pt x="-4610" y="5383"/>
                  </a:moveTo>
                  <a:lnTo>
                    <a:pt x="-4341" y="5645"/>
                  </a:lnTo>
                  <a:lnTo>
                    <a:pt x="-2601" y="5645"/>
                  </a:lnTo>
                  <a:cubicBezTo>
                    <a:pt x="-1523" y="5645"/>
                    <a:pt x="-647" y="4775"/>
                    <a:pt x="-647" y="3684"/>
                  </a:cubicBezTo>
                  <a:lnTo>
                    <a:pt x="-1399" y="2158"/>
                  </a:lnTo>
                  <a:cubicBezTo>
                    <a:pt x="-515" y="1854"/>
                    <a:pt x="141" y="1025"/>
                    <a:pt x="141" y="38"/>
                  </a:cubicBezTo>
                  <a:cubicBezTo>
                    <a:pt x="141" y="-1205"/>
                    <a:pt x="-874" y="-2206"/>
                    <a:pt x="-2104" y="-2206"/>
                  </a:cubicBezTo>
                  <a:lnTo>
                    <a:pt x="-4320" y="-2206"/>
                  </a:lnTo>
                  <a:lnTo>
                    <a:pt x="-4341" y="-2206"/>
                  </a:lnTo>
                  <a:lnTo>
                    <a:pt x="-4355" y="-2206"/>
                  </a:lnTo>
                  <a:lnTo>
                    <a:pt x="-4610" y="-1937"/>
                  </a:lnTo>
                  <a:lnTo>
                    <a:pt x="-4610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CBA5732E-D37E-E83C-CB0F-DABF3963DD7F}"/>
                </a:ext>
              </a:extLst>
            </p:cNvPr>
            <p:cNvSpPr/>
            <p:nvPr/>
          </p:nvSpPr>
          <p:spPr>
            <a:xfrm flipV="1">
              <a:off x="10094265" y="3069178"/>
              <a:ext cx="4578" cy="7851"/>
            </a:xfrm>
            <a:custGeom>
              <a:avLst/>
              <a:gdLst>
                <a:gd name="connsiteX0" fmla="*/ -4618 w 4578"/>
                <a:gd name="connsiteY0" fmla="*/ 5383 h 7851"/>
                <a:gd name="connsiteX1" fmla="*/ -4349 w 4578"/>
                <a:gd name="connsiteY1" fmla="*/ 5645 h 7851"/>
                <a:gd name="connsiteX2" fmla="*/ -316 w 4578"/>
                <a:gd name="connsiteY2" fmla="*/ 5645 h 7851"/>
                <a:gd name="connsiteX3" fmla="*/ -40 w 4578"/>
                <a:gd name="connsiteY3" fmla="*/ 5383 h 7851"/>
                <a:gd name="connsiteX4" fmla="*/ -316 w 4578"/>
                <a:gd name="connsiteY4" fmla="*/ 5100 h 7851"/>
                <a:gd name="connsiteX5" fmla="*/ -4066 w 4578"/>
                <a:gd name="connsiteY5" fmla="*/ 5100 h 7851"/>
                <a:gd name="connsiteX6" fmla="*/ -4066 w 4578"/>
                <a:gd name="connsiteY6" fmla="*/ 1992 h 7851"/>
                <a:gd name="connsiteX7" fmla="*/ -779 w 4578"/>
                <a:gd name="connsiteY7" fmla="*/ 1992 h 7851"/>
                <a:gd name="connsiteX8" fmla="*/ -510 w 4578"/>
                <a:gd name="connsiteY8" fmla="*/ 1709 h 7851"/>
                <a:gd name="connsiteX9" fmla="*/ -779 w 4578"/>
                <a:gd name="connsiteY9" fmla="*/ 1440 h 7851"/>
                <a:gd name="connsiteX10" fmla="*/ -4066 w 4578"/>
                <a:gd name="connsiteY10" fmla="*/ 1440 h 7851"/>
                <a:gd name="connsiteX11" fmla="*/ -4066 w 4578"/>
                <a:gd name="connsiteY11" fmla="*/ -1654 h 7851"/>
                <a:gd name="connsiteX12" fmla="*/ -316 w 4578"/>
                <a:gd name="connsiteY12" fmla="*/ -1654 h 7851"/>
                <a:gd name="connsiteX13" fmla="*/ -40 w 4578"/>
                <a:gd name="connsiteY13" fmla="*/ -1937 h 7851"/>
                <a:gd name="connsiteX14" fmla="*/ -316 w 4578"/>
                <a:gd name="connsiteY14" fmla="*/ -2206 h 7851"/>
                <a:gd name="connsiteX15" fmla="*/ -4315 w 4578"/>
                <a:gd name="connsiteY15" fmla="*/ -2206 h 7851"/>
                <a:gd name="connsiteX16" fmla="*/ -4349 w 4578"/>
                <a:gd name="connsiteY16" fmla="*/ -2206 h 7851"/>
                <a:gd name="connsiteX17" fmla="*/ -4363 w 4578"/>
                <a:gd name="connsiteY17" fmla="*/ -2206 h 7851"/>
                <a:gd name="connsiteX18" fmla="*/ -4618 w 4578"/>
                <a:gd name="connsiteY18" fmla="*/ -1937 h 7851"/>
                <a:gd name="connsiteX19" fmla="*/ -4618 w 4578"/>
                <a:gd name="connsiteY19" fmla="*/ 5383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78" h="7851">
                  <a:moveTo>
                    <a:pt x="-4618" y="5383"/>
                  </a:moveTo>
                  <a:lnTo>
                    <a:pt x="-4349" y="5645"/>
                  </a:lnTo>
                  <a:lnTo>
                    <a:pt x="-316" y="5645"/>
                  </a:lnTo>
                  <a:lnTo>
                    <a:pt x="-40" y="5383"/>
                  </a:lnTo>
                  <a:lnTo>
                    <a:pt x="-316" y="5100"/>
                  </a:lnTo>
                  <a:lnTo>
                    <a:pt x="-4066" y="5100"/>
                  </a:lnTo>
                  <a:lnTo>
                    <a:pt x="-4066" y="1992"/>
                  </a:lnTo>
                  <a:lnTo>
                    <a:pt x="-779" y="1992"/>
                  </a:lnTo>
                  <a:lnTo>
                    <a:pt x="-510" y="1709"/>
                  </a:lnTo>
                  <a:lnTo>
                    <a:pt x="-779" y="1440"/>
                  </a:lnTo>
                  <a:lnTo>
                    <a:pt x="-4066" y="1440"/>
                  </a:lnTo>
                  <a:lnTo>
                    <a:pt x="-4066" y="-1654"/>
                  </a:lnTo>
                  <a:lnTo>
                    <a:pt x="-316" y="-1654"/>
                  </a:lnTo>
                  <a:lnTo>
                    <a:pt x="-40" y="-1937"/>
                  </a:lnTo>
                  <a:lnTo>
                    <a:pt x="-316" y="-2206"/>
                  </a:lnTo>
                  <a:lnTo>
                    <a:pt x="-4315" y="-2206"/>
                  </a:lnTo>
                  <a:lnTo>
                    <a:pt x="-4349" y="-2206"/>
                  </a:lnTo>
                  <a:lnTo>
                    <a:pt x="-4363" y="-2206"/>
                  </a:lnTo>
                  <a:lnTo>
                    <a:pt x="-4618" y="-1937"/>
                  </a:lnTo>
                  <a:lnTo>
                    <a:pt x="-4618" y="538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B357A594-2EB4-A4A2-944F-834C13C1BDD3}"/>
                </a:ext>
              </a:extLst>
            </p:cNvPr>
            <p:cNvSpPr/>
            <p:nvPr/>
          </p:nvSpPr>
          <p:spPr>
            <a:xfrm flipV="1">
              <a:off x="10100970" y="3069178"/>
              <a:ext cx="5110" cy="7851"/>
            </a:xfrm>
            <a:custGeom>
              <a:avLst/>
              <a:gdLst>
                <a:gd name="connsiteX0" fmla="*/ -2141 w 5110"/>
                <a:gd name="connsiteY0" fmla="*/ 5100 h 7851"/>
                <a:gd name="connsiteX1" fmla="*/ -4082 w 5110"/>
                <a:gd name="connsiteY1" fmla="*/ 5100 h 7851"/>
                <a:gd name="connsiteX2" fmla="*/ -4082 w 5110"/>
                <a:gd name="connsiteY2" fmla="*/ 1709 h 7851"/>
                <a:gd name="connsiteX3" fmla="*/ -2093 w 5110"/>
                <a:gd name="connsiteY3" fmla="*/ 1709 h 7851"/>
                <a:gd name="connsiteX4" fmla="*/ -442 w 5110"/>
                <a:gd name="connsiteY4" fmla="*/ 3401 h 7851"/>
                <a:gd name="connsiteX5" fmla="*/ -2141 w 5110"/>
                <a:gd name="connsiteY5" fmla="*/ 5100 h 7851"/>
                <a:gd name="connsiteX6" fmla="*/ -567 w 5110"/>
                <a:gd name="connsiteY6" fmla="*/ -432 h 7851"/>
                <a:gd name="connsiteX7" fmla="*/ -1209 w 5110"/>
                <a:gd name="connsiteY7" fmla="*/ 756 h 7851"/>
                <a:gd name="connsiteX8" fmla="*/ -2113 w 5110"/>
                <a:gd name="connsiteY8" fmla="*/ 1150 h 7851"/>
                <a:gd name="connsiteX9" fmla="*/ -2169 w 5110"/>
                <a:gd name="connsiteY9" fmla="*/ 1170 h 7851"/>
                <a:gd name="connsiteX10" fmla="*/ -4082 w 5110"/>
                <a:gd name="connsiteY10" fmla="*/ 1170 h 7851"/>
                <a:gd name="connsiteX11" fmla="*/ -4082 w 5110"/>
                <a:gd name="connsiteY11" fmla="*/ -1937 h 7851"/>
                <a:gd name="connsiteX12" fmla="*/ -4358 w 5110"/>
                <a:gd name="connsiteY12" fmla="*/ -2206 h 7851"/>
                <a:gd name="connsiteX13" fmla="*/ -4627 w 5110"/>
                <a:gd name="connsiteY13" fmla="*/ -1937 h 7851"/>
                <a:gd name="connsiteX14" fmla="*/ -4627 w 5110"/>
                <a:gd name="connsiteY14" fmla="*/ 5383 h 7851"/>
                <a:gd name="connsiteX15" fmla="*/ -4378 w 5110"/>
                <a:gd name="connsiteY15" fmla="*/ 5645 h 7851"/>
                <a:gd name="connsiteX16" fmla="*/ -4358 w 5110"/>
                <a:gd name="connsiteY16" fmla="*/ 5645 h 7851"/>
                <a:gd name="connsiteX17" fmla="*/ -4323 w 5110"/>
                <a:gd name="connsiteY17" fmla="*/ 5645 h 7851"/>
                <a:gd name="connsiteX18" fmla="*/ -2141 w 5110"/>
                <a:gd name="connsiteY18" fmla="*/ 5645 h 7851"/>
                <a:gd name="connsiteX19" fmla="*/ 96 w 5110"/>
                <a:gd name="connsiteY19" fmla="*/ 3401 h 7851"/>
                <a:gd name="connsiteX20" fmla="*/ -1195 w 5110"/>
                <a:gd name="connsiteY20" fmla="*/ 1371 h 7851"/>
                <a:gd name="connsiteX21" fmla="*/ -1078 w 5110"/>
                <a:gd name="connsiteY21" fmla="*/ 1322 h 7851"/>
                <a:gd name="connsiteX22" fmla="*/ -28 w 5110"/>
                <a:gd name="connsiteY22" fmla="*/ -432 h 7851"/>
                <a:gd name="connsiteX23" fmla="*/ 75 w 5110"/>
                <a:gd name="connsiteY23" fmla="*/ -1343 h 7851"/>
                <a:gd name="connsiteX24" fmla="*/ 179 w 5110"/>
                <a:gd name="connsiteY24" fmla="*/ -1530 h 7851"/>
                <a:gd name="connsiteX25" fmla="*/ 483 w 5110"/>
                <a:gd name="connsiteY25" fmla="*/ -1709 h 7851"/>
                <a:gd name="connsiteX26" fmla="*/ 311 w 5110"/>
                <a:gd name="connsiteY26" fmla="*/ -2068 h 7851"/>
                <a:gd name="connsiteX27" fmla="*/ 172 w 5110"/>
                <a:gd name="connsiteY27" fmla="*/ -2082 h 7851"/>
                <a:gd name="connsiteX28" fmla="*/ 158 w 5110"/>
                <a:gd name="connsiteY28" fmla="*/ -2082 h 7851"/>
                <a:gd name="connsiteX29" fmla="*/ -353 w 5110"/>
                <a:gd name="connsiteY29" fmla="*/ -1716 h 7851"/>
                <a:gd name="connsiteX30" fmla="*/ -567 w 5110"/>
                <a:gd name="connsiteY30" fmla="*/ -432 h 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10" h="7851">
                  <a:moveTo>
                    <a:pt x="-2141" y="5100"/>
                  </a:moveTo>
                  <a:lnTo>
                    <a:pt x="-4082" y="5100"/>
                  </a:lnTo>
                  <a:lnTo>
                    <a:pt x="-4082" y="1709"/>
                  </a:lnTo>
                  <a:lnTo>
                    <a:pt x="-2093" y="1709"/>
                  </a:lnTo>
                  <a:cubicBezTo>
                    <a:pt x="-1188" y="1737"/>
                    <a:pt x="-442" y="2482"/>
                    <a:pt x="-442" y="3401"/>
                  </a:cubicBezTo>
                  <a:cubicBezTo>
                    <a:pt x="-442" y="4347"/>
                    <a:pt x="-1209" y="5100"/>
                    <a:pt x="-2141" y="5100"/>
                  </a:cubicBezTo>
                  <a:close/>
                  <a:moveTo>
                    <a:pt x="-567" y="-432"/>
                  </a:moveTo>
                  <a:lnTo>
                    <a:pt x="-1209" y="756"/>
                  </a:lnTo>
                  <a:lnTo>
                    <a:pt x="-2113" y="1150"/>
                  </a:lnTo>
                  <a:lnTo>
                    <a:pt x="-2169" y="1170"/>
                  </a:lnTo>
                  <a:lnTo>
                    <a:pt x="-4082" y="1170"/>
                  </a:lnTo>
                  <a:lnTo>
                    <a:pt x="-4082" y="-1937"/>
                  </a:lnTo>
                  <a:lnTo>
                    <a:pt x="-4358" y="-2206"/>
                  </a:lnTo>
                  <a:lnTo>
                    <a:pt x="-4627" y="-1937"/>
                  </a:lnTo>
                  <a:lnTo>
                    <a:pt x="-4627" y="5383"/>
                  </a:lnTo>
                  <a:lnTo>
                    <a:pt x="-4378" y="5645"/>
                  </a:lnTo>
                  <a:lnTo>
                    <a:pt x="-4358" y="5645"/>
                  </a:lnTo>
                  <a:lnTo>
                    <a:pt x="-4323" y="5645"/>
                  </a:lnTo>
                  <a:lnTo>
                    <a:pt x="-2141" y="5645"/>
                  </a:lnTo>
                  <a:cubicBezTo>
                    <a:pt x="-905" y="5645"/>
                    <a:pt x="96" y="4651"/>
                    <a:pt x="96" y="3401"/>
                  </a:cubicBezTo>
                  <a:cubicBezTo>
                    <a:pt x="96" y="2510"/>
                    <a:pt x="-429" y="1737"/>
                    <a:pt x="-1195" y="1371"/>
                  </a:cubicBezTo>
                  <a:lnTo>
                    <a:pt x="-1078" y="1322"/>
                  </a:lnTo>
                  <a:cubicBezTo>
                    <a:pt x="-567" y="1025"/>
                    <a:pt x="-28" y="459"/>
                    <a:pt x="-28" y="-432"/>
                  </a:cubicBezTo>
                  <a:lnTo>
                    <a:pt x="75" y="-1343"/>
                  </a:lnTo>
                  <a:lnTo>
                    <a:pt x="179" y="-1530"/>
                  </a:lnTo>
                  <a:lnTo>
                    <a:pt x="483" y="-1709"/>
                  </a:lnTo>
                  <a:lnTo>
                    <a:pt x="311" y="-2068"/>
                  </a:lnTo>
                  <a:lnTo>
                    <a:pt x="172" y="-2082"/>
                  </a:lnTo>
                  <a:lnTo>
                    <a:pt x="158" y="-2082"/>
                  </a:lnTo>
                  <a:lnTo>
                    <a:pt x="-353" y="-1716"/>
                  </a:lnTo>
                  <a:cubicBezTo>
                    <a:pt x="-484" y="-1461"/>
                    <a:pt x="-567" y="-1095"/>
                    <a:pt x="-567" y="-43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6DEDA1E8-B869-4AB2-C27C-2D438AD852D6}"/>
                </a:ext>
              </a:extLst>
            </p:cNvPr>
            <p:cNvSpPr/>
            <p:nvPr/>
          </p:nvSpPr>
          <p:spPr>
            <a:xfrm flipV="1">
              <a:off x="8944382" y="2633285"/>
              <a:ext cx="52219" cy="412124"/>
            </a:xfrm>
            <a:custGeom>
              <a:avLst/>
              <a:gdLst>
                <a:gd name="connsiteX0" fmla="*/ 49014 w 52219"/>
                <a:gd name="connsiteY0" fmla="*/ 409534 h 412124"/>
                <a:gd name="connsiteX1" fmla="*/ -3205 w 52219"/>
                <a:gd name="connsiteY1" fmla="*/ 409534 h 412124"/>
                <a:gd name="connsiteX2" fmla="*/ -3205 w 52219"/>
                <a:gd name="connsiteY2" fmla="*/ -2590 h 412124"/>
                <a:gd name="connsiteX3" fmla="*/ 49014 w 52219"/>
                <a:gd name="connsiteY3" fmla="*/ -2590 h 412124"/>
                <a:gd name="connsiteX4" fmla="*/ 49014 w 52219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9" h="412124">
                  <a:moveTo>
                    <a:pt x="49014" y="409534"/>
                  </a:moveTo>
                  <a:lnTo>
                    <a:pt x="-3205" y="409534"/>
                  </a:lnTo>
                  <a:lnTo>
                    <a:pt x="-3205" y="-2590"/>
                  </a:lnTo>
                  <a:lnTo>
                    <a:pt x="49014" y="-2590"/>
                  </a:lnTo>
                  <a:lnTo>
                    <a:pt x="49014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E0EFBD80-67B7-5BB0-1ECC-C5C5A54EAF93}"/>
                </a:ext>
              </a:extLst>
            </p:cNvPr>
            <p:cNvSpPr/>
            <p:nvPr/>
          </p:nvSpPr>
          <p:spPr>
            <a:xfrm flipV="1">
              <a:off x="8944382" y="2895941"/>
              <a:ext cx="52219" cy="149468"/>
            </a:xfrm>
            <a:custGeom>
              <a:avLst/>
              <a:gdLst>
                <a:gd name="connsiteX0" fmla="*/ 49014 w 52219"/>
                <a:gd name="connsiteY0" fmla="*/ 147094 h 149468"/>
                <a:gd name="connsiteX1" fmla="*/ -3205 w 52219"/>
                <a:gd name="connsiteY1" fmla="*/ 147094 h 149468"/>
                <a:gd name="connsiteX2" fmla="*/ -3205 w 52219"/>
                <a:gd name="connsiteY2" fmla="*/ -2375 h 149468"/>
                <a:gd name="connsiteX3" fmla="*/ 49014 w 52219"/>
                <a:gd name="connsiteY3" fmla="*/ -2375 h 149468"/>
                <a:gd name="connsiteX4" fmla="*/ 49014 w 52219"/>
                <a:gd name="connsiteY4" fmla="*/ 147094 h 149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9" h="149468">
                  <a:moveTo>
                    <a:pt x="49014" y="147094"/>
                  </a:moveTo>
                  <a:lnTo>
                    <a:pt x="-3205" y="147094"/>
                  </a:lnTo>
                  <a:lnTo>
                    <a:pt x="-3205" y="-2375"/>
                  </a:lnTo>
                  <a:lnTo>
                    <a:pt x="49014" y="-2375"/>
                  </a:lnTo>
                  <a:lnTo>
                    <a:pt x="49014" y="147094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8FEDC361-D982-0527-BED5-AFDEFE0B645D}"/>
                </a:ext>
              </a:extLst>
            </p:cNvPr>
            <p:cNvSpPr/>
            <p:nvPr/>
          </p:nvSpPr>
          <p:spPr>
            <a:xfrm flipV="1">
              <a:off x="8944382" y="2895941"/>
              <a:ext cx="52219" cy="149468"/>
            </a:xfrm>
            <a:custGeom>
              <a:avLst/>
              <a:gdLst>
                <a:gd name="connsiteX0" fmla="*/ 49014 w 52219"/>
                <a:gd name="connsiteY0" fmla="*/ 147094 h 149468"/>
                <a:gd name="connsiteX1" fmla="*/ -3205 w 52219"/>
                <a:gd name="connsiteY1" fmla="*/ 147094 h 149468"/>
                <a:gd name="connsiteX2" fmla="*/ -3205 w 52219"/>
                <a:gd name="connsiteY2" fmla="*/ -2375 h 149468"/>
                <a:gd name="connsiteX3" fmla="*/ 49014 w 52219"/>
                <a:gd name="connsiteY3" fmla="*/ -2375 h 149468"/>
                <a:gd name="connsiteX4" fmla="*/ 49014 w 52219"/>
                <a:gd name="connsiteY4" fmla="*/ 147094 h 149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9" h="149468">
                  <a:moveTo>
                    <a:pt x="49014" y="147094"/>
                  </a:moveTo>
                  <a:lnTo>
                    <a:pt x="-3205" y="147094"/>
                  </a:lnTo>
                  <a:lnTo>
                    <a:pt x="-3205" y="-2375"/>
                  </a:lnTo>
                  <a:lnTo>
                    <a:pt x="49014" y="-2375"/>
                  </a:lnTo>
                  <a:lnTo>
                    <a:pt x="49014" y="147094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D7812A60-5582-E0BF-28B7-9B92CA32690E}"/>
                </a:ext>
              </a:extLst>
            </p:cNvPr>
            <p:cNvSpPr/>
            <p:nvPr/>
          </p:nvSpPr>
          <p:spPr>
            <a:xfrm flipV="1">
              <a:off x="9045002" y="2633285"/>
              <a:ext cx="52219" cy="412124"/>
            </a:xfrm>
            <a:custGeom>
              <a:avLst/>
              <a:gdLst>
                <a:gd name="connsiteX0" fmla="*/ 48888 w 52219"/>
                <a:gd name="connsiteY0" fmla="*/ 409534 h 412124"/>
                <a:gd name="connsiteX1" fmla="*/ -3331 w 52219"/>
                <a:gd name="connsiteY1" fmla="*/ 409534 h 412124"/>
                <a:gd name="connsiteX2" fmla="*/ -3331 w 52219"/>
                <a:gd name="connsiteY2" fmla="*/ -2590 h 412124"/>
                <a:gd name="connsiteX3" fmla="*/ 48888 w 52219"/>
                <a:gd name="connsiteY3" fmla="*/ -2590 h 412124"/>
                <a:gd name="connsiteX4" fmla="*/ 48888 w 52219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9" h="412124">
                  <a:moveTo>
                    <a:pt x="48888" y="409534"/>
                  </a:moveTo>
                  <a:lnTo>
                    <a:pt x="-3331" y="409534"/>
                  </a:lnTo>
                  <a:lnTo>
                    <a:pt x="-3331" y="-2590"/>
                  </a:lnTo>
                  <a:lnTo>
                    <a:pt x="48888" y="-2590"/>
                  </a:lnTo>
                  <a:lnTo>
                    <a:pt x="48888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761DABAA-B6E0-71AC-C540-43E4535132D6}"/>
                </a:ext>
              </a:extLst>
            </p:cNvPr>
            <p:cNvSpPr/>
            <p:nvPr/>
          </p:nvSpPr>
          <p:spPr>
            <a:xfrm flipV="1">
              <a:off x="9045002" y="2926884"/>
              <a:ext cx="52219" cy="118525"/>
            </a:xfrm>
            <a:custGeom>
              <a:avLst/>
              <a:gdLst>
                <a:gd name="connsiteX0" fmla="*/ 48888 w 52219"/>
                <a:gd name="connsiteY0" fmla="*/ 116176 h 118525"/>
                <a:gd name="connsiteX1" fmla="*/ -3331 w 52219"/>
                <a:gd name="connsiteY1" fmla="*/ 116176 h 118525"/>
                <a:gd name="connsiteX2" fmla="*/ -3331 w 52219"/>
                <a:gd name="connsiteY2" fmla="*/ -2349 h 118525"/>
                <a:gd name="connsiteX3" fmla="*/ 48888 w 52219"/>
                <a:gd name="connsiteY3" fmla="*/ -2349 h 118525"/>
                <a:gd name="connsiteX4" fmla="*/ 48888 w 52219"/>
                <a:gd name="connsiteY4" fmla="*/ 116176 h 11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9" h="118525">
                  <a:moveTo>
                    <a:pt x="48888" y="116176"/>
                  </a:moveTo>
                  <a:lnTo>
                    <a:pt x="-3331" y="116176"/>
                  </a:lnTo>
                  <a:lnTo>
                    <a:pt x="-3331" y="-2349"/>
                  </a:lnTo>
                  <a:lnTo>
                    <a:pt x="48888" y="-2349"/>
                  </a:lnTo>
                  <a:lnTo>
                    <a:pt x="48888" y="11617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760973C7-DF06-01C5-CABE-F5D3795ADFD0}"/>
                </a:ext>
              </a:extLst>
            </p:cNvPr>
            <p:cNvSpPr/>
            <p:nvPr/>
          </p:nvSpPr>
          <p:spPr>
            <a:xfrm flipV="1">
              <a:off x="9145614" y="2633285"/>
              <a:ext cx="52225" cy="412124"/>
            </a:xfrm>
            <a:custGeom>
              <a:avLst/>
              <a:gdLst>
                <a:gd name="connsiteX0" fmla="*/ 48768 w 52225"/>
                <a:gd name="connsiteY0" fmla="*/ 409534 h 412124"/>
                <a:gd name="connsiteX1" fmla="*/ -3458 w 52225"/>
                <a:gd name="connsiteY1" fmla="*/ 409534 h 412124"/>
                <a:gd name="connsiteX2" fmla="*/ -3458 w 52225"/>
                <a:gd name="connsiteY2" fmla="*/ -2590 h 412124"/>
                <a:gd name="connsiteX3" fmla="*/ 48768 w 52225"/>
                <a:gd name="connsiteY3" fmla="*/ -2590 h 412124"/>
                <a:gd name="connsiteX4" fmla="*/ 48768 w 52225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5" h="412124">
                  <a:moveTo>
                    <a:pt x="48768" y="409534"/>
                  </a:moveTo>
                  <a:lnTo>
                    <a:pt x="-3458" y="409534"/>
                  </a:lnTo>
                  <a:lnTo>
                    <a:pt x="-3458" y="-2590"/>
                  </a:lnTo>
                  <a:lnTo>
                    <a:pt x="48768" y="-2590"/>
                  </a:lnTo>
                  <a:lnTo>
                    <a:pt x="48768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50830F4D-E3BA-CDE9-97EA-E68C509B6DBB}"/>
                </a:ext>
              </a:extLst>
            </p:cNvPr>
            <p:cNvSpPr/>
            <p:nvPr/>
          </p:nvSpPr>
          <p:spPr>
            <a:xfrm flipV="1">
              <a:off x="9145614" y="2858445"/>
              <a:ext cx="52225" cy="186965"/>
            </a:xfrm>
            <a:custGeom>
              <a:avLst/>
              <a:gdLst>
                <a:gd name="connsiteX0" fmla="*/ 48768 w 52225"/>
                <a:gd name="connsiteY0" fmla="*/ 184560 h 186965"/>
                <a:gd name="connsiteX1" fmla="*/ -3458 w 52225"/>
                <a:gd name="connsiteY1" fmla="*/ 184560 h 186965"/>
                <a:gd name="connsiteX2" fmla="*/ -3458 w 52225"/>
                <a:gd name="connsiteY2" fmla="*/ -2405 h 186965"/>
                <a:gd name="connsiteX3" fmla="*/ 48768 w 52225"/>
                <a:gd name="connsiteY3" fmla="*/ -2405 h 186965"/>
                <a:gd name="connsiteX4" fmla="*/ 48768 w 52225"/>
                <a:gd name="connsiteY4" fmla="*/ 184560 h 18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5" h="186965">
                  <a:moveTo>
                    <a:pt x="48768" y="184560"/>
                  </a:moveTo>
                  <a:lnTo>
                    <a:pt x="-3458" y="184560"/>
                  </a:lnTo>
                  <a:lnTo>
                    <a:pt x="-3458" y="-2405"/>
                  </a:lnTo>
                  <a:lnTo>
                    <a:pt x="48768" y="-2405"/>
                  </a:lnTo>
                  <a:lnTo>
                    <a:pt x="48768" y="184560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AAA00EAB-C176-EA18-8E87-EA6D9FAD98AC}"/>
                </a:ext>
              </a:extLst>
            </p:cNvPr>
            <p:cNvSpPr/>
            <p:nvPr/>
          </p:nvSpPr>
          <p:spPr>
            <a:xfrm flipV="1">
              <a:off x="9246241" y="2633285"/>
              <a:ext cx="52212" cy="412124"/>
            </a:xfrm>
            <a:custGeom>
              <a:avLst/>
              <a:gdLst>
                <a:gd name="connsiteX0" fmla="*/ 48628 w 52212"/>
                <a:gd name="connsiteY0" fmla="*/ 409534 h 412124"/>
                <a:gd name="connsiteX1" fmla="*/ -3584 w 52212"/>
                <a:gd name="connsiteY1" fmla="*/ 409534 h 412124"/>
                <a:gd name="connsiteX2" fmla="*/ -3584 w 52212"/>
                <a:gd name="connsiteY2" fmla="*/ -2590 h 412124"/>
                <a:gd name="connsiteX3" fmla="*/ 48628 w 52212"/>
                <a:gd name="connsiteY3" fmla="*/ -2590 h 412124"/>
                <a:gd name="connsiteX4" fmla="*/ 48628 w 52212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2" h="412124">
                  <a:moveTo>
                    <a:pt x="48628" y="409534"/>
                  </a:moveTo>
                  <a:lnTo>
                    <a:pt x="-3584" y="409534"/>
                  </a:lnTo>
                  <a:lnTo>
                    <a:pt x="-3584" y="-2590"/>
                  </a:lnTo>
                  <a:lnTo>
                    <a:pt x="48628" y="-2590"/>
                  </a:lnTo>
                  <a:lnTo>
                    <a:pt x="48628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3AFB3F1F-AA35-A02E-EF33-F2F466088F66}"/>
                </a:ext>
              </a:extLst>
            </p:cNvPr>
            <p:cNvSpPr/>
            <p:nvPr/>
          </p:nvSpPr>
          <p:spPr>
            <a:xfrm flipV="1">
              <a:off x="9246241" y="2824629"/>
              <a:ext cx="52212" cy="220781"/>
            </a:xfrm>
            <a:custGeom>
              <a:avLst/>
              <a:gdLst>
                <a:gd name="connsiteX0" fmla="*/ 48628 w 52212"/>
                <a:gd name="connsiteY0" fmla="*/ 218348 h 220781"/>
                <a:gd name="connsiteX1" fmla="*/ -3584 w 52212"/>
                <a:gd name="connsiteY1" fmla="*/ 218348 h 220781"/>
                <a:gd name="connsiteX2" fmla="*/ -3584 w 52212"/>
                <a:gd name="connsiteY2" fmla="*/ -2433 h 220781"/>
                <a:gd name="connsiteX3" fmla="*/ 48628 w 52212"/>
                <a:gd name="connsiteY3" fmla="*/ -2433 h 220781"/>
                <a:gd name="connsiteX4" fmla="*/ 48628 w 52212"/>
                <a:gd name="connsiteY4" fmla="*/ 218348 h 220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2" h="220781">
                  <a:moveTo>
                    <a:pt x="48628" y="218348"/>
                  </a:moveTo>
                  <a:lnTo>
                    <a:pt x="-3584" y="218348"/>
                  </a:lnTo>
                  <a:lnTo>
                    <a:pt x="-3584" y="-2433"/>
                  </a:lnTo>
                  <a:lnTo>
                    <a:pt x="48628" y="-2433"/>
                  </a:lnTo>
                  <a:lnTo>
                    <a:pt x="48628" y="21834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D8A7464D-4E06-075D-AF4A-636C3E13A122}"/>
                </a:ext>
              </a:extLst>
            </p:cNvPr>
            <p:cNvSpPr/>
            <p:nvPr/>
          </p:nvSpPr>
          <p:spPr>
            <a:xfrm flipV="1">
              <a:off x="9346853" y="2633285"/>
              <a:ext cx="52226" cy="412124"/>
            </a:xfrm>
            <a:custGeom>
              <a:avLst/>
              <a:gdLst>
                <a:gd name="connsiteX0" fmla="*/ 48516 w 52226"/>
                <a:gd name="connsiteY0" fmla="*/ 409534 h 412124"/>
                <a:gd name="connsiteX1" fmla="*/ -3710 w 52226"/>
                <a:gd name="connsiteY1" fmla="*/ 409534 h 412124"/>
                <a:gd name="connsiteX2" fmla="*/ -3710 w 52226"/>
                <a:gd name="connsiteY2" fmla="*/ -2590 h 412124"/>
                <a:gd name="connsiteX3" fmla="*/ 48516 w 52226"/>
                <a:gd name="connsiteY3" fmla="*/ -2590 h 412124"/>
                <a:gd name="connsiteX4" fmla="*/ 48516 w 52226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412124">
                  <a:moveTo>
                    <a:pt x="48516" y="409534"/>
                  </a:moveTo>
                  <a:lnTo>
                    <a:pt x="-3710" y="409534"/>
                  </a:lnTo>
                  <a:lnTo>
                    <a:pt x="-3710" y="-2590"/>
                  </a:lnTo>
                  <a:lnTo>
                    <a:pt x="48516" y="-2590"/>
                  </a:lnTo>
                  <a:lnTo>
                    <a:pt x="48516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58436B33-1192-7429-FD26-62AD972B3445}"/>
                </a:ext>
              </a:extLst>
            </p:cNvPr>
            <p:cNvSpPr/>
            <p:nvPr/>
          </p:nvSpPr>
          <p:spPr>
            <a:xfrm flipV="1">
              <a:off x="9346853" y="2835650"/>
              <a:ext cx="52226" cy="209760"/>
            </a:xfrm>
            <a:custGeom>
              <a:avLst/>
              <a:gdLst>
                <a:gd name="connsiteX0" fmla="*/ 48516 w 52226"/>
                <a:gd name="connsiteY0" fmla="*/ 207336 h 209760"/>
                <a:gd name="connsiteX1" fmla="*/ -3710 w 52226"/>
                <a:gd name="connsiteY1" fmla="*/ 207336 h 209760"/>
                <a:gd name="connsiteX2" fmla="*/ -3710 w 52226"/>
                <a:gd name="connsiteY2" fmla="*/ -2424 h 209760"/>
                <a:gd name="connsiteX3" fmla="*/ 48516 w 52226"/>
                <a:gd name="connsiteY3" fmla="*/ -2424 h 209760"/>
                <a:gd name="connsiteX4" fmla="*/ 48516 w 52226"/>
                <a:gd name="connsiteY4" fmla="*/ 207336 h 20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6" h="209760">
                  <a:moveTo>
                    <a:pt x="48516" y="207336"/>
                  </a:moveTo>
                  <a:lnTo>
                    <a:pt x="-3710" y="207336"/>
                  </a:lnTo>
                  <a:lnTo>
                    <a:pt x="-3710" y="-2424"/>
                  </a:lnTo>
                  <a:lnTo>
                    <a:pt x="48516" y="-2424"/>
                  </a:lnTo>
                  <a:lnTo>
                    <a:pt x="48516" y="207336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80932862-E5C4-D56E-2210-5273DED38C51}"/>
                </a:ext>
              </a:extLst>
            </p:cNvPr>
            <p:cNvSpPr/>
            <p:nvPr/>
          </p:nvSpPr>
          <p:spPr>
            <a:xfrm flipV="1">
              <a:off x="9447465" y="2633285"/>
              <a:ext cx="52225" cy="412124"/>
            </a:xfrm>
            <a:custGeom>
              <a:avLst/>
              <a:gdLst>
                <a:gd name="connsiteX0" fmla="*/ 48389 w 52225"/>
                <a:gd name="connsiteY0" fmla="*/ 409534 h 412124"/>
                <a:gd name="connsiteX1" fmla="*/ -3837 w 52225"/>
                <a:gd name="connsiteY1" fmla="*/ 409534 h 412124"/>
                <a:gd name="connsiteX2" fmla="*/ -3837 w 52225"/>
                <a:gd name="connsiteY2" fmla="*/ -2590 h 412124"/>
                <a:gd name="connsiteX3" fmla="*/ 48389 w 52225"/>
                <a:gd name="connsiteY3" fmla="*/ -2590 h 412124"/>
                <a:gd name="connsiteX4" fmla="*/ 48389 w 52225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5" h="412124">
                  <a:moveTo>
                    <a:pt x="48389" y="409534"/>
                  </a:moveTo>
                  <a:lnTo>
                    <a:pt x="-3837" y="409534"/>
                  </a:lnTo>
                  <a:lnTo>
                    <a:pt x="-3837" y="-2590"/>
                  </a:lnTo>
                  <a:lnTo>
                    <a:pt x="48389" y="-2590"/>
                  </a:lnTo>
                  <a:lnTo>
                    <a:pt x="48389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9718909B-484B-CE34-DE49-C44BEE2FDBEE}"/>
                </a:ext>
              </a:extLst>
            </p:cNvPr>
            <p:cNvSpPr/>
            <p:nvPr/>
          </p:nvSpPr>
          <p:spPr>
            <a:xfrm flipV="1">
              <a:off x="9447465" y="2820734"/>
              <a:ext cx="52225" cy="224675"/>
            </a:xfrm>
            <a:custGeom>
              <a:avLst/>
              <a:gdLst>
                <a:gd name="connsiteX0" fmla="*/ 48389 w 52225"/>
                <a:gd name="connsiteY0" fmla="*/ 222240 h 224675"/>
                <a:gd name="connsiteX1" fmla="*/ -3837 w 52225"/>
                <a:gd name="connsiteY1" fmla="*/ 222240 h 224675"/>
                <a:gd name="connsiteX2" fmla="*/ -3837 w 52225"/>
                <a:gd name="connsiteY2" fmla="*/ -2436 h 224675"/>
                <a:gd name="connsiteX3" fmla="*/ 48389 w 52225"/>
                <a:gd name="connsiteY3" fmla="*/ -2436 h 224675"/>
                <a:gd name="connsiteX4" fmla="*/ 48389 w 52225"/>
                <a:gd name="connsiteY4" fmla="*/ 222240 h 22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5" h="224675">
                  <a:moveTo>
                    <a:pt x="48389" y="222240"/>
                  </a:moveTo>
                  <a:lnTo>
                    <a:pt x="-3837" y="222240"/>
                  </a:lnTo>
                  <a:lnTo>
                    <a:pt x="-3837" y="-2436"/>
                  </a:lnTo>
                  <a:lnTo>
                    <a:pt x="48389" y="-2436"/>
                  </a:lnTo>
                  <a:lnTo>
                    <a:pt x="48389" y="22224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F6814851-CFD4-6C47-DD02-FAF530553DE5}"/>
                </a:ext>
              </a:extLst>
            </p:cNvPr>
            <p:cNvSpPr/>
            <p:nvPr/>
          </p:nvSpPr>
          <p:spPr>
            <a:xfrm flipV="1">
              <a:off x="9548092" y="2633285"/>
              <a:ext cx="52218" cy="412124"/>
            </a:xfrm>
            <a:custGeom>
              <a:avLst/>
              <a:gdLst>
                <a:gd name="connsiteX0" fmla="*/ 48256 w 52218"/>
                <a:gd name="connsiteY0" fmla="*/ 409534 h 412124"/>
                <a:gd name="connsiteX1" fmla="*/ -3963 w 52218"/>
                <a:gd name="connsiteY1" fmla="*/ 409534 h 412124"/>
                <a:gd name="connsiteX2" fmla="*/ -3963 w 52218"/>
                <a:gd name="connsiteY2" fmla="*/ -2590 h 412124"/>
                <a:gd name="connsiteX3" fmla="*/ 48256 w 52218"/>
                <a:gd name="connsiteY3" fmla="*/ -2590 h 412124"/>
                <a:gd name="connsiteX4" fmla="*/ 48256 w 52218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8" h="412124">
                  <a:moveTo>
                    <a:pt x="48256" y="409534"/>
                  </a:moveTo>
                  <a:lnTo>
                    <a:pt x="-3963" y="409534"/>
                  </a:lnTo>
                  <a:lnTo>
                    <a:pt x="-3963" y="-2590"/>
                  </a:lnTo>
                  <a:lnTo>
                    <a:pt x="48256" y="-2590"/>
                  </a:lnTo>
                  <a:lnTo>
                    <a:pt x="48256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0FEA92DA-F68D-AC4E-4331-9EE3CE9C2689}"/>
                </a:ext>
              </a:extLst>
            </p:cNvPr>
            <p:cNvSpPr/>
            <p:nvPr/>
          </p:nvSpPr>
          <p:spPr>
            <a:xfrm flipV="1">
              <a:off x="9548092" y="2799299"/>
              <a:ext cx="52218" cy="246110"/>
            </a:xfrm>
            <a:custGeom>
              <a:avLst/>
              <a:gdLst>
                <a:gd name="connsiteX0" fmla="*/ 48256 w 52218"/>
                <a:gd name="connsiteY0" fmla="*/ 243657 h 246110"/>
                <a:gd name="connsiteX1" fmla="*/ -3963 w 52218"/>
                <a:gd name="connsiteY1" fmla="*/ 243657 h 246110"/>
                <a:gd name="connsiteX2" fmla="*/ -3963 w 52218"/>
                <a:gd name="connsiteY2" fmla="*/ -2454 h 246110"/>
                <a:gd name="connsiteX3" fmla="*/ 48256 w 52218"/>
                <a:gd name="connsiteY3" fmla="*/ -2454 h 246110"/>
                <a:gd name="connsiteX4" fmla="*/ 48256 w 52218"/>
                <a:gd name="connsiteY4" fmla="*/ 243657 h 24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8" h="246110">
                  <a:moveTo>
                    <a:pt x="48256" y="243657"/>
                  </a:moveTo>
                  <a:lnTo>
                    <a:pt x="-3963" y="243657"/>
                  </a:lnTo>
                  <a:lnTo>
                    <a:pt x="-3963" y="-2454"/>
                  </a:lnTo>
                  <a:lnTo>
                    <a:pt x="48256" y="-2454"/>
                  </a:lnTo>
                  <a:lnTo>
                    <a:pt x="48256" y="243657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CAF8C075-362E-CCEB-5CC0-80E29A61011C}"/>
                </a:ext>
              </a:extLst>
            </p:cNvPr>
            <p:cNvSpPr/>
            <p:nvPr/>
          </p:nvSpPr>
          <p:spPr>
            <a:xfrm flipV="1">
              <a:off x="9648704" y="2633285"/>
              <a:ext cx="52219" cy="412124"/>
            </a:xfrm>
            <a:custGeom>
              <a:avLst/>
              <a:gdLst>
                <a:gd name="connsiteX0" fmla="*/ 48130 w 52219"/>
                <a:gd name="connsiteY0" fmla="*/ 409534 h 412124"/>
                <a:gd name="connsiteX1" fmla="*/ -4089 w 52219"/>
                <a:gd name="connsiteY1" fmla="*/ 409534 h 412124"/>
                <a:gd name="connsiteX2" fmla="*/ -4089 w 52219"/>
                <a:gd name="connsiteY2" fmla="*/ -2590 h 412124"/>
                <a:gd name="connsiteX3" fmla="*/ 48130 w 52219"/>
                <a:gd name="connsiteY3" fmla="*/ -2590 h 412124"/>
                <a:gd name="connsiteX4" fmla="*/ 48130 w 52219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9" h="412124">
                  <a:moveTo>
                    <a:pt x="48130" y="409534"/>
                  </a:moveTo>
                  <a:lnTo>
                    <a:pt x="-4089" y="409534"/>
                  </a:lnTo>
                  <a:lnTo>
                    <a:pt x="-4089" y="-2590"/>
                  </a:lnTo>
                  <a:lnTo>
                    <a:pt x="48130" y="-2590"/>
                  </a:lnTo>
                  <a:lnTo>
                    <a:pt x="48130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8D1CEC7D-DDA4-FB49-96AF-824DADEF4D3B}"/>
                </a:ext>
              </a:extLst>
            </p:cNvPr>
            <p:cNvSpPr/>
            <p:nvPr/>
          </p:nvSpPr>
          <p:spPr>
            <a:xfrm flipV="1">
              <a:off x="9648704" y="2769730"/>
              <a:ext cx="52219" cy="275679"/>
            </a:xfrm>
            <a:custGeom>
              <a:avLst/>
              <a:gdLst>
                <a:gd name="connsiteX0" fmla="*/ 48130 w 52219"/>
                <a:gd name="connsiteY0" fmla="*/ 273201 h 275679"/>
                <a:gd name="connsiteX1" fmla="*/ -4089 w 52219"/>
                <a:gd name="connsiteY1" fmla="*/ 273201 h 275679"/>
                <a:gd name="connsiteX2" fmla="*/ -4089 w 52219"/>
                <a:gd name="connsiteY2" fmla="*/ -2478 h 275679"/>
                <a:gd name="connsiteX3" fmla="*/ 48130 w 52219"/>
                <a:gd name="connsiteY3" fmla="*/ -2478 h 275679"/>
                <a:gd name="connsiteX4" fmla="*/ 48130 w 52219"/>
                <a:gd name="connsiteY4" fmla="*/ 273201 h 27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9" h="275679">
                  <a:moveTo>
                    <a:pt x="48130" y="273201"/>
                  </a:moveTo>
                  <a:lnTo>
                    <a:pt x="-4089" y="273201"/>
                  </a:lnTo>
                  <a:lnTo>
                    <a:pt x="-4089" y="-2478"/>
                  </a:lnTo>
                  <a:lnTo>
                    <a:pt x="48130" y="-2478"/>
                  </a:lnTo>
                  <a:lnTo>
                    <a:pt x="48130" y="27320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7B444139-CC3C-2DB6-8C75-231DB8F1F2DD}"/>
                </a:ext>
              </a:extLst>
            </p:cNvPr>
            <p:cNvSpPr/>
            <p:nvPr/>
          </p:nvSpPr>
          <p:spPr>
            <a:xfrm flipV="1">
              <a:off x="9749324" y="2633285"/>
              <a:ext cx="52219" cy="412124"/>
            </a:xfrm>
            <a:custGeom>
              <a:avLst/>
              <a:gdLst>
                <a:gd name="connsiteX0" fmla="*/ 48004 w 52219"/>
                <a:gd name="connsiteY0" fmla="*/ 409534 h 412124"/>
                <a:gd name="connsiteX1" fmla="*/ -4215 w 52219"/>
                <a:gd name="connsiteY1" fmla="*/ 409534 h 412124"/>
                <a:gd name="connsiteX2" fmla="*/ -4215 w 52219"/>
                <a:gd name="connsiteY2" fmla="*/ -2590 h 412124"/>
                <a:gd name="connsiteX3" fmla="*/ 48004 w 52219"/>
                <a:gd name="connsiteY3" fmla="*/ -2590 h 412124"/>
                <a:gd name="connsiteX4" fmla="*/ 48004 w 52219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9" h="412124">
                  <a:moveTo>
                    <a:pt x="48004" y="409534"/>
                  </a:moveTo>
                  <a:lnTo>
                    <a:pt x="-4215" y="409534"/>
                  </a:lnTo>
                  <a:lnTo>
                    <a:pt x="-4215" y="-2590"/>
                  </a:lnTo>
                  <a:lnTo>
                    <a:pt x="48004" y="-2590"/>
                  </a:lnTo>
                  <a:lnTo>
                    <a:pt x="48004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F2CF70BD-63BD-D70C-203F-E11B3B4B05FD}"/>
                </a:ext>
              </a:extLst>
            </p:cNvPr>
            <p:cNvSpPr/>
            <p:nvPr/>
          </p:nvSpPr>
          <p:spPr>
            <a:xfrm flipV="1">
              <a:off x="9749324" y="2791648"/>
              <a:ext cx="52219" cy="253761"/>
            </a:xfrm>
            <a:custGeom>
              <a:avLst/>
              <a:gdLst>
                <a:gd name="connsiteX0" fmla="*/ 48004 w 52219"/>
                <a:gd name="connsiteY0" fmla="*/ 251302 h 253761"/>
                <a:gd name="connsiteX1" fmla="*/ -4215 w 52219"/>
                <a:gd name="connsiteY1" fmla="*/ 251302 h 253761"/>
                <a:gd name="connsiteX2" fmla="*/ -4215 w 52219"/>
                <a:gd name="connsiteY2" fmla="*/ -2460 h 253761"/>
                <a:gd name="connsiteX3" fmla="*/ 48004 w 52219"/>
                <a:gd name="connsiteY3" fmla="*/ -2460 h 253761"/>
                <a:gd name="connsiteX4" fmla="*/ 48004 w 52219"/>
                <a:gd name="connsiteY4" fmla="*/ 251302 h 253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9" h="253761">
                  <a:moveTo>
                    <a:pt x="48004" y="251302"/>
                  </a:moveTo>
                  <a:lnTo>
                    <a:pt x="-4215" y="251302"/>
                  </a:lnTo>
                  <a:lnTo>
                    <a:pt x="-4215" y="-2460"/>
                  </a:lnTo>
                  <a:lnTo>
                    <a:pt x="48004" y="-2460"/>
                  </a:lnTo>
                  <a:lnTo>
                    <a:pt x="48004" y="251302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B2471D51-E73B-C57D-7654-2579D95744B1}"/>
                </a:ext>
              </a:extLst>
            </p:cNvPr>
            <p:cNvSpPr/>
            <p:nvPr/>
          </p:nvSpPr>
          <p:spPr>
            <a:xfrm flipV="1">
              <a:off x="9849943" y="2633285"/>
              <a:ext cx="52219" cy="412124"/>
            </a:xfrm>
            <a:custGeom>
              <a:avLst/>
              <a:gdLst>
                <a:gd name="connsiteX0" fmla="*/ 47877 w 52219"/>
                <a:gd name="connsiteY0" fmla="*/ 409534 h 412124"/>
                <a:gd name="connsiteX1" fmla="*/ -4342 w 52219"/>
                <a:gd name="connsiteY1" fmla="*/ 409534 h 412124"/>
                <a:gd name="connsiteX2" fmla="*/ -4342 w 52219"/>
                <a:gd name="connsiteY2" fmla="*/ -2590 h 412124"/>
                <a:gd name="connsiteX3" fmla="*/ 47877 w 52219"/>
                <a:gd name="connsiteY3" fmla="*/ -2590 h 412124"/>
                <a:gd name="connsiteX4" fmla="*/ 47877 w 52219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9" h="412124">
                  <a:moveTo>
                    <a:pt x="47877" y="409534"/>
                  </a:moveTo>
                  <a:lnTo>
                    <a:pt x="-4342" y="409534"/>
                  </a:lnTo>
                  <a:lnTo>
                    <a:pt x="-4342" y="-2590"/>
                  </a:lnTo>
                  <a:lnTo>
                    <a:pt x="47877" y="-2590"/>
                  </a:lnTo>
                  <a:lnTo>
                    <a:pt x="47877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3978BC79-DCAC-08C6-53DC-0B5DE83851EC}"/>
                </a:ext>
              </a:extLst>
            </p:cNvPr>
            <p:cNvSpPr/>
            <p:nvPr/>
          </p:nvSpPr>
          <p:spPr>
            <a:xfrm flipV="1">
              <a:off x="9849943" y="2781255"/>
              <a:ext cx="52219" cy="264154"/>
            </a:xfrm>
            <a:custGeom>
              <a:avLst/>
              <a:gdLst>
                <a:gd name="connsiteX0" fmla="*/ 47877 w 52219"/>
                <a:gd name="connsiteY0" fmla="*/ 261686 h 264154"/>
                <a:gd name="connsiteX1" fmla="*/ -4342 w 52219"/>
                <a:gd name="connsiteY1" fmla="*/ 261686 h 264154"/>
                <a:gd name="connsiteX2" fmla="*/ -4342 w 52219"/>
                <a:gd name="connsiteY2" fmla="*/ -2469 h 264154"/>
                <a:gd name="connsiteX3" fmla="*/ 47877 w 52219"/>
                <a:gd name="connsiteY3" fmla="*/ -2469 h 264154"/>
                <a:gd name="connsiteX4" fmla="*/ 47877 w 52219"/>
                <a:gd name="connsiteY4" fmla="*/ 261686 h 264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9" h="264154">
                  <a:moveTo>
                    <a:pt x="47877" y="261686"/>
                  </a:moveTo>
                  <a:lnTo>
                    <a:pt x="-4342" y="261686"/>
                  </a:lnTo>
                  <a:lnTo>
                    <a:pt x="-4342" y="-2469"/>
                  </a:lnTo>
                  <a:lnTo>
                    <a:pt x="47877" y="-2469"/>
                  </a:lnTo>
                  <a:lnTo>
                    <a:pt x="47877" y="26168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3FAED211-DB41-1932-CF81-94AC9F35A671}"/>
                </a:ext>
              </a:extLst>
            </p:cNvPr>
            <p:cNvSpPr/>
            <p:nvPr/>
          </p:nvSpPr>
          <p:spPr>
            <a:xfrm flipV="1">
              <a:off x="9950562" y="2633285"/>
              <a:ext cx="52212" cy="412124"/>
            </a:xfrm>
            <a:custGeom>
              <a:avLst/>
              <a:gdLst>
                <a:gd name="connsiteX0" fmla="*/ 47744 w 52212"/>
                <a:gd name="connsiteY0" fmla="*/ 409534 h 412124"/>
                <a:gd name="connsiteX1" fmla="*/ -4468 w 52212"/>
                <a:gd name="connsiteY1" fmla="*/ 409534 h 412124"/>
                <a:gd name="connsiteX2" fmla="*/ -4468 w 52212"/>
                <a:gd name="connsiteY2" fmla="*/ -2590 h 412124"/>
                <a:gd name="connsiteX3" fmla="*/ 47744 w 52212"/>
                <a:gd name="connsiteY3" fmla="*/ -2590 h 412124"/>
                <a:gd name="connsiteX4" fmla="*/ 47744 w 52212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2" h="412124">
                  <a:moveTo>
                    <a:pt x="47744" y="409534"/>
                  </a:moveTo>
                  <a:lnTo>
                    <a:pt x="-4468" y="409534"/>
                  </a:lnTo>
                  <a:lnTo>
                    <a:pt x="-4468" y="-2590"/>
                  </a:lnTo>
                  <a:lnTo>
                    <a:pt x="47744" y="-2590"/>
                  </a:lnTo>
                  <a:lnTo>
                    <a:pt x="47744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28A10C91-46ED-AD8E-C97C-CB7EBDE2B5C4}"/>
                </a:ext>
              </a:extLst>
            </p:cNvPr>
            <p:cNvSpPr/>
            <p:nvPr/>
          </p:nvSpPr>
          <p:spPr>
            <a:xfrm flipV="1">
              <a:off x="9950562" y="2756451"/>
              <a:ext cx="52212" cy="288958"/>
            </a:xfrm>
            <a:custGeom>
              <a:avLst/>
              <a:gdLst>
                <a:gd name="connsiteX0" fmla="*/ 47744 w 52212"/>
                <a:gd name="connsiteY0" fmla="*/ 286470 h 288958"/>
                <a:gd name="connsiteX1" fmla="*/ -4468 w 52212"/>
                <a:gd name="connsiteY1" fmla="*/ 286470 h 288958"/>
                <a:gd name="connsiteX2" fmla="*/ -4468 w 52212"/>
                <a:gd name="connsiteY2" fmla="*/ -2489 h 288958"/>
                <a:gd name="connsiteX3" fmla="*/ 47744 w 52212"/>
                <a:gd name="connsiteY3" fmla="*/ -2489 h 288958"/>
                <a:gd name="connsiteX4" fmla="*/ 47744 w 52212"/>
                <a:gd name="connsiteY4" fmla="*/ 286470 h 28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12" h="288958">
                  <a:moveTo>
                    <a:pt x="47744" y="286470"/>
                  </a:moveTo>
                  <a:lnTo>
                    <a:pt x="-4468" y="286470"/>
                  </a:lnTo>
                  <a:lnTo>
                    <a:pt x="-4468" y="-2489"/>
                  </a:lnTo>
                  <a:lnTo>
                    <a:pt x="47744" y="-2489"/>
                  </a:lnTo>
                  <a:lnTo>
                    <a:pt x="47744" y="286470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5A106C99-6115-2ADB-51E8-820EBB51CCD9}"/>
                </a:ext>
              </a:extLst>
            </p:cNvPr>
            <p:cNvSpPr/>
            <p:nvPr/>
          </p:nvSpPr>
          <p:spPr>
            <a:xfrm flipV="1">
              <a:off x="10051175" y="2633285"/>
              <a:ext cx="52225" cy="412124"/>
            </a:xfrm>
            <a:custGeom>
              <a:avLst/>
              <a:gdLst>
                <a:gd name="connsiteX0" fmla="*/ 47632 w 52225"/>
                <a:gd name="connsiteY0" fmla="*/ 409534 h 412124"/>
                <a:gd name="connsiteX1" fmla="*/ -4594 w 52225"/>
                <a:gd name="connsiteY1" fmla="*/ 409534 h 412124"/>
                <a:gd name="connsiteX2" fmla="*/ -4594 w 52225"/>
                <a:gd name="connsiteY2" fmla="*/ -2590 h 412124"/>
                <a:gd name="connsiteX3" fmla="*/ 47632 w 52225"/>
                <a:gd name="connsiteY3" fmla="*/ -2590 h 412124"/>
                <a:gd name="connsiteX4" fmla="*/ 47632 w 52225"/>
                <a:gd name="connsiteY4" fmla="*/ 409534 h 41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5" h="412124">
                  <a:moveTo>
                    <a:pt x="47632" y="409534"/>
                  </a:moveTo>
                  <a:lnTo>
                    <a:pt x="-4594" y="409534"/>
                  </a:lnTo>
                  <a:lnTo>
                    <a:pt x="-4594" y="-2590"/>
                  </a:lnTo>
                  <a:lnTo>
                    <a:pt x="47632" y="-2590"/>
                  </a:lnTo>
                  <a:lnTo>
                    <a:pt x="47632" y="409534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DF607366-ADFD-CE56-B0B2-E22251C30AEF}"/>
                </a:ext>
              </a:extLst>
            </p:cNvPr>
            <p:cNvSpPr/>
            <p:nvPr/>
          </p:nvSpPr>
          <p:spPr>
            <a:xfrm flipV="1">
              <a:off x="10051175" y="2735617"/>
              <a:ext cx="52225" cy="309792"/>
            </a:xfrm>
            <a:custGeom>
              <a:avLst/>
              <a:gdLst>
                <a:gd name="connsiteX0" fmla="*/ 47632 w 52225"/>
                <a:gd name="connsiteY0" fmla="*/ 307287 h 309792"/>
                <a:gd name="connsiteX1" fmla="*/ -4594 w 52225"/>
                <a:gd name="connsiteY1" fmla="*/ 307287 h 309792"/>
                <a:gd name="connsiteX2" fmla="*/ -4594 w 52225"/>
                <a:gd name="connsiteY2" fmla="*/ -2506 h 309792"/>
                <a:gd name="connsiteX3" fmla="*/ 47632 w 52225"/>
                <a:gd name="connsiteY3" fmla="*/ -2506 h 309792"/>
                <a:gd name="connsiteX4" fmla="*/ 47632 w 52225"/>
                <a:gd name="connsiteY4" fmla="*/ 307287 h 309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25" h="309792">
                  <a:moveTo>
                    <a:pt x="47632" y="307287"/>
                  </a:moveTo>
                  <a:lnTo>
                    <a:pt x="-4594" y="307287"/>
                  </a:lnTo>
                  <a:lnTo>
                    <a:pt x="-4594" y="-2506"/>
                  </a:lnTo>
                  <a:lnTo>
                    <a:pt x="47632" y="-2506"/>
                  </a:lnTo>
                  <a:lnTo>
                    <a:pt x="47632" y="30728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33198E4D-FB1A-E1C5-1941-232FF86F2CDF}"/>
                </a:ext>
              </a:extLst>
            </p:cNvPr>
            <p:cNvSpPr/>
            <p:nvPr/>
          </p:nvSpPr>
          <p:spPr>
            <a:xfrm flipV="1">
              <a:off x="8868781" y="2602218"/>
              <a:ext cx="1256620" cy="444738"/>
            </a:xfrm>
            <a:custGeom>
              <a:avLst/>
              <a:gdLst>
                <a:gd name="connsiteX0" fmla="*/ -2775 w 1256620"/>
                <a:gd name="connsiteY0" fmla="*/ 442125 h 444738"/>
                <a:gd name="connsiteX1" fmla="*/ -2077 w 1256620"/>
                <a:gd name="connsiteY1" fmla="*/ 143429 h 444738"/>
                <a:gd name="connsiteX2" fmla="*/ -1684 w 1256620"/>
                <a:gd name="connsiteY2" fmla="*/ -770 h 444738"/>
                <a:gd name="connsiteX3" fmla="*/ -2768 w 1256620"/>
                <a:gd name="connsiteY3" fmla="*/ 327 h 444738"/>
                <a:gd name="connsiteX4" fmla="*/ 311113 w 1256620"/>
                <a:gd name="connsiteY4" fmla="*/ 831 h 444738"/>
                <a:gd name="connsiteX5" fmla="*/ 468046 w 1256620"/>
                <a:gd name="connsiteY5" fmla="*/ 1087 h 444738"/>
                <a:gd name="connsiteX6" fmla="*/ 624993 w 1256620"/>
                <a:gd name="connsiteY6" fmla="*/ 859 h 444738"/>
                <a:gd name="connsiteX7" fmla="*/ 938874 w 1256620"/>
                <a:gd name="connsiteY7" fmla="*/ 355 h 444738"/>
                <a:gd name="connsiteX8" fmla="*/ 1252755 w 1256620"/>
                <a:gd name="connsiteY8" fmla="*/ -770 h 444738"/>
                <a:gd name="connsiteX9" fmla="*/ 938874 w 1256620"/>
                <a:gd name="connsiteY9" fmla="*/ -1889 h 444738"/>
                <a:gd name="connsiteX10" fmla="*/ 624993 w 1256620"/>
                <a:gd name="connsiteY10" fmla="*/ -2393 h 444738"/>
                <a:gd name="connsiteX11" fmla="*/ 468046 w 1256620"/>
                <a:gd name="connsiteY11" fmla="*/ -2614 h 444738"/>
                <a:gd name="connsiteX12" fmla="*/ 311113 w 1256620"/>
                <a:gd name="connsiteY12" fmla="*/ -2359 h 444738"/>
                <a:gd name="connsiteX13" fmla="*/ -2768 w 1256620"/>
                <a:gd name="connsiteY13" fmla="*/ -1862 h 444738"/>
                <a:gd name="connsiteX14" fmla="*/ -3866 w 1256620"/>
                <a:gd name="connsiteY14" fmla="*/ -1855 h 444738"/>
                <a:gd name="connsiteX15" fmla="*/ -3859 w 1256620"/>
                <a:gd name="connsiteY15" fmla="*/ -770 h 444738"/>
                <a:gd name="connsiteX16" fmla="*/ -3472 w 1256620"/>
                <a:gd name="connsiteY16" fmla="*/ 143429 h 444738"/>
                <a:gd name="connsiteX17" fmla="*/ -2775 w 1256620"/>
                <a:gd name="connsiteY17" fmla="*/ 442125 h 444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56620" h="444738">
                  <a:moveTo>
                    <a:pt x="-2775" y="442125"/>
                  </a:moveTo>
                  <a:lnTo>
                    <a:pt x="-2077" y="143429"/>
                  </a:lnTo>
                  <a:lnTo>
                    <a:pt x="-1684" y="-770"/>
                  </a:lnTo>
                  <a:lnTo>
                    <a:pt x="-2768" y="327"/>
                  </a:lnTo>
                  <a:lnTo>
                    <a:pt x="311113" y="831"/>
                  </a:lnTo>
                  <a:lnTo>
                    <a:pt x="468046" y="1087"/>
                  </a:lnTo>
                  <a:lnTo>
                    <a:pt x="624993" y="859"/>
                  </a:lnTo>
                  <a:lnTo>
                    <a:pt x="938874" y="355"/>
                  </a:lnTo>
                  <a:cubicBezTo>
                    <a:pt x="1043498" y="320"/>
                    <a:pt x="1148130" y="-280"/>
                    <a:pt x="1252755" y="-770"/>
                  </a:cubicBezTo>
                  <a:cubicBezTo>
                    <a:pt x="1148130" y="-1254"/>
                    <a:pt x="1043498" y="-1855"/>
                    <a:pt x="938874" y="-1889"/>
                  </a:cubicBezTo>
                  <a:lnTo>
                    <a:pt x="624993" y="-2393"/>
                  </a:lnTo>
                  <a:lnTo>
                    <a:pt x="468046" y="-2614"/>
                  </a:lnTo>
                  <a:lnTo>
                    <a:pt x="311113" y="-2359"/>
                  </a:lnTo>
                  <a:lnTo>
                    <a:pt x="-2768" y="-1862"/>
                  </a:lnTo>
                  <a:lnTo>
                    <a:pt x="-3866" y="-1855"/>
                  </a:lnTo>
                  <a:lnTo>
                    <a:pt x="-3859" y="-770"/>
                  </a:lnTo>
                  <a:lnTo>
                    <a:pt x="-3472" y="143429"/>
                  </a:lnTo>
                  <a:lnTo>
                    <a:pt x="-2775" y="442125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588D8369-85A6-3535-933F-8CCF44AF9A43}"/>
                </a:ext>
              </a:extLst>
            </p:cNvPr>
            <p:cNvSpPr/>
            <p:nvPr/>
          </p:nvSpPr>
          <p:spPr>
            <a:xfrm flipV="1">
              <a:off x="8860598" y="2769730"/>
              <a:ext cx="18554" cy="3728"/>
            </a:xfrm>
            <a:custGeom>
              <a:avLst/>
              <a:gdLst>
                <a:gd name="connsiteX0" fmla="*/ -3079 w 18554"/>
                <a:gd name="connsiteY0" fmla="*/ -837 h 3728"/>
                <a:gd name="connsiteX1" fmla="*/ 6195 w 18554"/>
                <a:gd name="connsiteY1" fmla="*/ 1028 h 3728"/>
                <a:gd name="connsiteX2" fmla="*/ 15476 w 18554"/>
                <a:gd name="connsiteY2" fmla="*/ -837 h 3728"/>
                <a:gd name="connsiteX3" fmla="*/ 6195 w 18554"/>
                <a:gd name="connsiteY3" fmla="*/ -2701 h 3728"/>
                <a:gd name="connsiteX4" fmla="*/ -3079 w 18554"/>
                <a:gd name="connsiteY4" fmla="*/ -837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54" h="3728">
                  <a:moveTo>
                    <a:pt x="-3079" y="-837"/>
                  </a:moveTo>
                  <a:cubicBezTo>
                    <a:pt x="15" y="634"/>
                    <a:pt x="3108" y="966"/>
                    <a:pt x="6195" y="1028"/>
                  </a:cubicBezTo>
                  <a:cubicBezTo>
                    <a:pt x="9289" y="972"/>
                    <a:pt x="12375" y="641"/>
                    <a:pt x="15476" y="-837"/>
                  </a:cubicBezTo>
                  <a:cubicBezTo>
                    <a:pt x="12375" y="-2315"/>
                    <a:pt x="9289" y="-2646"/>
                    <a:pt x="6195" y="-2701"/>
                  </a:cubicBezTo>
                  <a:cubicBezTo>
                    <a:pt x="3108" y="-2639"/>
                    <a:pt x="15" y="-2308"/>
                    <a:pt x="-3079" y="-837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C4DCBDC1-0A6B-DE5E-6625-03D48314EEEF}"/>
                </a:ext>
              </a:extLst>
            </p:cNvPr>
            <p:cNvSpPr/>
            <p:nvPr/>
          </p:nvSpPr>
          <p:spPr>
            <a:xfrm flipV="1">
              <a:off x="8860598" y="2839821"/>
              <a:ext cx="18554" cy="3728"/>
            </a:xfrm>
            <a:custGeom>
              <a:avLst/>
              <a:gdLst>
                <a:gd name="connsiteX0" fmla="*/ -3079 w 18554"/>
                <a:gd name="connsiteY0" fmla="*/ -722 h 3728"/>
                <a:gd name="connsiteX1" fmla="*/ 6195 w 18554"/>
                <a:gd name="connsiteY1" fmla="*/ 1143 h 3728"/>
                <a:gd name="connsiteX2" fmla="*/ 15476 w 18554"/>
                <a:gd name="connsiteY2" fmla="*/ -722 h 3728"/>
                <a:gd name="connsiteX3" fmla="*/ 6195 w 18554"/>
                <a:gd name="connsiteY3" fmla="*/ -2586 h 3728"/>
                <a:gd name="connsiteX4" fmla="*/ -3079 w 18554"/>
                <a:gd name="connsiteY4" fmla="*/ -722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54" h="3728">
                  <a:moveTo>
                    <a:pt x="-3079" y="-722"/>
                  </a:moveTo>
                  <a:cubicBezTo>
                    <a:pt x="15" y="749"/>
                    <a:pt x="3108" y="1081"/>
                    <a:pt x="6195" y="1143"/>
                  </a:cubicBezTo>
                  <a:cubicBezTo>
                    <a:pt x="9289" y="1087"/>
                    <a:pt x="12375" y="756"/>
                    <a:pt x="15476" y="-722"/>
                  </a:cubicBezTo>
                  <a:cubicBezTo>
                    <a:pt x="12375" y="-2200"/>
                    <a:pt x="9289" y="-2531"/>
                    <a:pt x="6195" y="-2586"/>
                  </a:cubicBezTo>
                  <a:cubicBezTo>
                    <a:pt x="3108" y="-2524"/>
                    <a:pt x="15" y="-2193"/>
                    <a:pt x="-3079" y="-72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9B867AD7-7ACD-2CB6-83DE-61900CE66A88}"/>
                </a:ext>
              </a:extLst>
            </p:cNvPr>
            <p:cNvSpPr/>
            <p:nvPr/>
          </p:nvSpPr>
          <p:spPr>
            <a:xfrm flipV="1">
              <a:off x="8860598" y="2699640"/>
              <a:ext cx="18554" cy="3728"/>
            </a:xfrm>
            <a:custGeom>
              <a:avLst/>
              <a:gdLst>
                <a:gd name="connsiteX0" fmla="*/ -3079 w 18554"/>
                <a:gd name="connsiteY0" fmla="*/ -952 h 3728"/>
                <a:gd name="connsiteX1" fmla="*/ 6195 w 18554"/>
                <a:gd name="connsiteY1" fmla="*/ 913 h 3728"/>
                <a:gd name="connsiteX2" fmla="*/ 15476 w 18554"/>
                <a:gd name="connsiteY2" fmla="*/ -952 h 3728"/>
                <a:gd name="connsiteX3" fmla="*/ 6195 w 18554"/>
                <a:gd name="connsiteY3" fmla="*/ -2816 h 3728"/>
                <a:gd name="connsiteX4" fmla="*/ -3079 w 18554"/>
                <a:gd name="connsiteY4" fmla="*/ -952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54" h="3728">
                  <a:moveTo>
                    <a:pt x="-3079" y="-952"/>
                  </a:moveTo>
                  <a:cubicBezTo>
                    <a:pt x="15" y="519"/>
                    <a:pt x="3108" y="851"/>
                    <a:pt x="6195" y="913"/>
                  </a:cubicBezTo>
                  <a:cubicBezTo>
                    <a:pt x="9289" y="857"/>
                    <a:pt x="12375" y="526"/>
                    <a:pt x="15476" y="-952"/>
                  </a:cubicBezTo>
                  <a:cubicBezTo>
                    <a:pt x="12375" y="-2436"/>
                    <a:pt x="9289" y="-2761"/>
                    <a:pt x="6195" y="-2816"/>
                  </a:cubicBezTo>
                  <a:cubicBezTo>
                    <a:pt x="3108" y="-2754"/>
                    <a:pt x="15" y="-2430"/>
                    <a:pt x="-3079" y="-95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DCC3E29A-851F-6E24-3FA3-2EEF2B2B1FBE}"/>
                </a:ext>
              </a:extLst>
            </p:cNvPr>
            <p:cNvSpPr/>
            <p:nvPr/>
          </p:nvSpPr>
          <p:spPr>
            <a:xfrm flipV="1">
              <a:off x="8860598" y="2629556"/>
              <a:ext cx="18554" cy="3728"/>
            </a:xfrm>
            <a:custGeom>
              <a:avLst/>
              <a:gdLst>
                <a:gd name="connsiteX0" fmla="*/ -3079 w 18554"/>
                <a:gd name="connsiteY0" fmla="*/ -1067 h 3728"/>
                <a:gd name="connsiteX1" fmla="*/ 6195 w 18554"/>
                <a:gd name="connsiteY1" fmla="*/ 798 h 3728"/>
                <a:gd name="connsiteX2" fmla="*/ 15476 w 18554"/>
                <a:gd name="connsiteY2" fmla="*/ -1067 h 3728"/>
                <a:gd name="connsiteX3" fmla="*/ 6195 w 18554"/>
                <a:gd name="connsiteY3" fmla="*/ -2931 h 3728"/>
                <a:gd name="connsiteX4" fmla="*/ -3079 w 18554"/>
                <a:gd name="connsiteY4" fmla="*/ -1067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54" h="3728">
                  <a:moveTo>
                    <a:pt x="-3079" y="-1067"/>
                  </a:moveTo>
                  <a:cubicBezTo>
                    <a:pt x="15" y="411"/>
                    <a:pt x="3108" y="735"/>
                    <a:pt x="6195" y="798"/>
                  </a:cubicBezTo>
                  <a:cubicBezTo>
                    <a:pt x="9289" y="742"/>
                    <a:pt x="12375" y="418"/>
                    <a:pt x="15476" y="-1067"/>
                  </a:cubicBezTo>
                  <a:cubicBezTo>
                    <a:pt x="12375" y="-2545"/>
                    <a:pt x="9289" y="-2876"/>
                    <a:pt x="6195" y="-2931"/>
                  </a:cubicBezTo>
                  <a:cubicBezTo>
                    <a:pt x="3108" y="-2869"/>
                    <a:pt x="15" y="-2538"/>
                    <a:pt x="-3079" y="-1067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7DB97BE0-3F30-533C-421C-B55E98D81C1F}"/>
                </a:ext>
              </a:extLst>
            </p:cNvPr>
            <p:cNvSpPr/>
            <p:nvPr/>
          </p:nvSpPr>
          <p:spPr>
            <a:xfrm flipV="1">
              <a:off x="8860598" y="2909904"/>
              <a:ext cx="18554" cy="3728"/>
            </a:xfrm>
            <a:custGeom>
              <a:avLst/>
              <a:gdLst>
                <a:gd name="connsiteX0" fmla="*/ -3079 w 18554"/>
                <a:gd name="connsiteY0" fmla="*/ -607 h 3728"/>
                <a:gd name="connsiteX1" fmla="*/ 6195 w 18554"/>
                <a:gd name="connsiteY1" fmla="*/ 1258 h 3728"/>
                <a:gd name="connsiteX2" fmla="*/ 15476 w 18554"/>
                <a:gd name="connsiteY2" fmla="*/ -607 h 3728"/>
                <a:gd name="connsiteX3" fmla="*/ 6195 w 18554"/>
                <a:gd name="connsiteY3" fmla="*/ -2471 h 3728"/>
                <a:gd name="connsiteX4" fmla="*/ -3079 w 18554"/>
                <a:gd name="connsiteY4" fmla="*/ -607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54" h="3728">
                  <a:moveTo>
                    <a:pt x="-3079" y="-607"/>
                  </a:moveTo>
                  <a:cubicBezTo>
                    <a:pt x="15" y="857"/>
                    <a:pt x="3108" y="1189"/>
                    <a:pt x="6195" y="1258"/>
                  </a:cubicBezTo>
                  <a:cubicBezTo>
                    <a:pt x="9289" y="1203"/>
                    <a:pt x="12375" y="871"/>
                    <a:pt x="15476" y="-607"/>
                  </a:cubicBezTo>
                  <a:cubicBezTo>
                    <a:pt x="12375" y="-2084"/>
                    <a:pt x="9289" y="-2423"/>
                    <a:pt x="6195" y="-2471"/>
                  </a:cubicBezTo>
                  <a:cubicBezTo>
                    <a:pt x="3108" y="-2409"/>
                    <a:pt x="15" y="-2078"/>
                    <a:pt x="-3079" y="-607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8BB3FA92-420A-D4DE-EE15-5AC738B84E31}"/>
                </a:ext>
              </a:extLst>
            </p:cNvPr>
            <p:cNvSpPr/>
            <p:nvPr/>
          </p:nvSpPr>
          <p:spPr>
            <a:xfrm flipV="1">
              <a:off x="8860598" y="2979994"/>
              <a:ext cx="18554" cy="3728"/>
            </a:xfrm>
            <a:custGeom>
              <a:avLst/>
              <a:gdLst>
                <a:gd name="connsiteX0" fmla="*/ -3079 w 18554"/>
                <a:gd name="connsiteY0" fmla="*/ -492 h 3728"/>
                <a:gd name="connsiteX1" fmla="*/ 6195 w 18554"/>
                <a:gd name="connsiteY1" fmla="*/ 1373 h 3728"/>
                <a:gd name="connsiteX2" fmla="*/ 15476 w 18554"/>
                <a:gd name="connsiteY2" fmla="*/ -492 h 3728"/>
                <a:gd name="connsiteX3" fmla="*/ 6195 w 18554"/>
                <a:gd name="connsiteY3" fmla="*/ -2356 h 3728"/>
                <a:gd name="connsiteX4" fmla="*/ -3079 w 18554"/>
                <a:gd name="connsiteY4" fmla="*/ -492 h 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54" h="3728">
                  <a:moveTo>
                    <a:pt x="-3079" y="-492"/>
                  </a:moveTo>
                  <a:cubicBezTo>
                    <a:pt x="15" y="979"/>
                    <a:pt x="3108" y="1311"/>
                    <a:pt x="6195" y="1373"/>
                  </a:cubicBezTo>
                  <a:cubicBezTo>
                    <a:pt x="9289" y="1318"/>
                    <a:pt x="12375" y="986"/>
                    <a:pt x="15476" y="-492"/>
                  </a:cubicBezTo>
                  <a:cubicBezTo>
                    <a:pt x="12375" y="-1969"/>
                    <a:pt x="9289" y="-2301"/>
                    <a:pt x="6195" y="-2356"/>
                  </a:cubicBezTo>
                  <a:cubicBezTo>
                    <a:pt x="3108" y="-2294"/>
                    <a:pt x="15" y="-1963"/>
                    <a:pt x="-3079" y="-492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5334B596-C5AB-1A8D-A8B7-ABBDFA6BC537}"/>
                </a:ext>
              </a:extLst>
            </p:cNvPr>
            <p:cNvSpPr/>
            <p:nvPr/>
          </p:nvSpPr>
          <p:spPr>
            <a:xfrm flipV="1">
              <a:off x="10124311" y="2374386"/>
              <a:ext cx="60339" cy="12181"/>
            </a:xfrm>
            <a:custGeom>
              <a:avLst/>
              <a:gdLst>
                <a:gd name="connsiteX0" fmla="*/ 55649 w 60339"/>
                <a:gd name="connsiteY0" fmla="*/ -3343 h 12181"/>
                <a:gd name="connsiteX1" fmla="*/ -4691 w 60339"/>
                <a:gd name="connsiteY1" fmla="*/ -3343 h 12181"/>
                <a:gd name="connsiteX2" fmla="*/ -4691 w 60339"/>
                <a:gd name="connsiteY2" fmla="*/ 8838 h 12181"/>
                <a:gd name="connsiteX3" fmla="*/ 55649 w 60339"/>
                <a:gd name="connsiteY3" fmla="*/ 8838 h 12181"/>
                <a:gd name="connsiteX4" fmla="*/ 55649 w 60339"/>
                <a:gd name="connsiteY4" fmla="*/ -3343 h 1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9" h="12181">
                  <a:moveTo>
                    <a:pt x="55649" y="-3343"/>
                  </a:moveTo>
                  <a:lnTo>
                    <a:pt x="-4691" y="-3343"/>
                  </a:lnTo>
                  <a:lnTo>
                    <a:pt x="-4691" y="8838"/>
                  </a:lnTo>
                  <a:lnTo>
                    <a:pt x="55649" y="8838"/>
                  </a:lnTo>
                  <a:lnTo>
                    <a:pt x="55649" y="-334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AFB31D77-BE80-A31B-53CC-953D9C8DAF32}"/>
                </a:ext>
              </a:extLst>
            </p:cNvPr>
            <p:cNvSpPr/>
            <p:nvPr/>
          </p:nvSpPr>
          <p:spPr>
            <a:xfrm flipV="1">
              <a:off x="10124311" y="2398348"/>
              <a:ext cx="60339" cy="12174"/>
            </a:xfrm>
            <a:custGeom>
              <a:avLst/>
              <a:gdLst>
                <a:gd name="connsiteX0" fmla="*/ 55649 w 60339"/>
                <a:gd name="connsiteY0" fmla="*/ -3304 h 12174"/>
                <a:gd name="connsiteX1" fmla="*/ -4691 w 60339"/>
                <a:gd name="connsiteY1" fmla="*/ -3304 h 12174"/>
                <a:gd name="connsiteX2" fmla="*/ -4691 w 60339"/>
                <a:gd name="connsiteY2" fmla="*/ 8870 h 12174"/>
                <a:gd name="connsiteX3" fmla="*/ 55649 w 60339"/>
                <a:gd name="connsiteY3" fmla="*/ 8870 h 12174"/>
                <a:gd name="connsiteX4" fmla="*/ 55649 w 60339"/>
                <a:gd name="connsiteY4" fmla="*/ -3304 h 12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9" h="12174">
                  <a:moveTo>
                    <a:pt x="55649" y="-3304"/>
                  </a:moveTo>
                  <a:lnTo>
                    <a:pt x="-4691" y="-3304"/>
                  </a:lnTo>
                  <a:lnTo>
                    <a:pt x="-4691" y="8870"/>
                  </a:lnTo>
                  <a:lnTo>
                    <a:pt x="55649" y="8870"/>
                  </a:lnTo>
                  <a:lnTo>
                    <a:pt x="55649" y="-3304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12AD3A47-AFCD-7776-316C-DA6B83BA3EB7}"/>
                </a:ext>
              </a:extLst>
            </p:cNvPr>
            <p:cNvSpPr/>
            <p:nvPr/>
          </p:nvSpPr>
          <p:spPr>
            <a:xfrm flipV="1">
              <a:off x="10124311" y="2422310"/>
              <a:ext cx="60339" cy="12174"/>
            </a:xfrm>
            <a:custGeom>
              <a:avLst/>
              <a:gdLst>
                <a:gd name="connsiteX0" fmla="*/ 55649 w 60339"/>
                <a:gd name="connsiteY0" fmla="*/ -3265 h 12174"/>
                <a:gd name="connsiteX1" fmla="*/ -4691 w 60339"/>
                <a:gd name="connsiteY1" fmla="*/ -3265 h 12174"/>
                <a:gd name="connsiteX2" fmla="*/ -4691 w 60339"/>
                <a:gd name="connsiteY2" fmla="*/ 8910 h 12174"/>
                <a:gd name="connsiteX3" fmla="*/ 55649 w 60339"/>
                <a:gd name="connsiteY3" fmla="*/ 8910 h 12174"/>
                <a:gd name="connsiteX4" fmla="*/ 55649 w 60339"/>
                <a:gd name="connsiteY4" fmla="*/ -3265 h 12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9" h="12174">
                  <a:moveTo>
                    <a:pt x="55649" y="-3265"/>
                  </a:moveTo>
                  <a:lnTo>
                    <a:pt x="-4691" y="-3265"/>
                  </a:lnTo>
                  <a:lnTo>
                    <a:pt x="-4691" y="8910"/>
                  </a:lnTo>
                  <a:lnTo>
                    <a:pt x="55649" y="8910"/>
                  </a:lnTo>
                  <a:lnTo>
                    <a:pt x="55649" y="-3265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92C89E93-87A2-526A-3A26-9EE71E3629A3}"/>
                </a:ext>
              </a:extLst>
            </p:cNvPr>
            <p:cNvSpPr/>
            <p:nvPr/>
          </p:nvSpPr>
          <p:spPr>
            <a:xfrm flipV="1">
              <a:off x="10002775" y="2374386"/>
              <a:ext cx="60581" cy="60098"/>
            </a:xfrm>
            <a:custGeom>
              <a:avLst/>
              <a:gdLst>
                <a:gd name="connsiteX0" fmla="*/ 39732 w 60581"/>
                <a:gd name="connsiteY0" fmla="*/ 26742 h 60098"/>
                <a:gd name="connsiteX1" fmla="*/ 25762 w 60581"/>
                <a:gd name="connsiteY1" fmla="*/ 12772 h 60098"/>
                <a:gd name="connsiteX2" fmla="*/ 11779 w 60581"/>
                <a:gd name="connsiteY2" fmla="*/ 26742 h 60098"/>
                <a:gd name="connsiteX3" fmla="*/ 25762 w 60581"/>
                <a:gd name="connsiteY3" fmla="*/ 40725 h 60098"/>
                <a:gd name="connsiteX4" fmla="*/ 39732 w 60581"/>
                <a:gd name="connsiteY4" fmla="*/ 26742 h 60098"/>
                <a:gd name="connsiteX5" fmla="*/ 56043 w 60581"/>
                <a:gd name="connsiteY5" fmla="*/ 34379 h 60098"/>
                <a:gd name="connsiteX6" fmla="*/ 47515 w 60581"/>
                <a:gd name="connsiteY6" fmla="*/ 49157 h 60098"/>
                <a:gd name="connsiteX7" fmla="*/ 42992 w 60581"/>
                <a:gd name="connsiteY7" fmla="*/ 46540 h 60098"/>
                <a:gd name="connsiteX8" fmla="*/ 38744 w 60581"/>
                <a:gd name="connsiteY8" fmla="*/ 46692 h 60098"/>
                <a:gd name="connsiteX9" fmla="*/ 36535 w 60581"/>
                <a:gd name="connsiteY9" fmla="*/ 47962 h 60098"/>
                <a:gd name="connsiteX10" fmla="*/ 34284 w 60581"/>
                <a:gd name="connsiteY10" fmla="*/ 51574 h 60098"/>
                <a:gd name="connsiteX11" fmla="*/ 34284 w 60581"/>
                <a:gd name="connsiteY11" fmla="*/ 56794 h 60098"/>
                <a:gd name="connsiteX12" fmla="*/ 17220 w 60581"/>
                <a:gd name="connsiteY12" fmla="*/ 56794 h 60098"/>
                <a:gd name="connsiteX13" fmla="*/ 17220 w 60581"/>
                <a:gd name="connsiteY13" fmla="*/ 51574 h 60098"/>
                <a:gd name="connsiteX14" fmla="*/ 14983 w 60581"/>
                <a:gd name="connsiteY14" fmla="*/ 47962 h 60098"/>
                <a:gd name="connsiteX15" fmla="*/ 12766 w 60581"/>
                <a:gd name="connsiteY15" fmla="*/ 46692 h 60098"/>
                <a:gd name="connsiteX16" fmla="*/ 8513 w 60581"/>
                <a:gd name="connsiteY16" fmla="*/ 46540 h 60098"/>
                <a:gd name="connsiteX17" fmla="*/ 3996 w 60581"/>
                <a:gd name="connsiteY17" fmla="*/ 49157 h 60098"/>
                <a:gd name="connsiteX18" fmla="*/ -4539 w 60581"/>
                <a:gd name="connsiteY18" fmla="*/ 34379 h 60098"/>
                <a:gd name="connsiteX19" fmla="*/ 12 w 60581"/>
                <a:gd name="connsiteY19" fmla="*/ 31762 h 60098"/>
                <a:gd name="connsiteX20" fmla="*/ 2001 w 60581"/>
                <a:gd name="connsiteY20" fmla="*/ 27998 h 60098"/>
                <a:gd name="connsiteX21" fmla="*/ 1966 w 60581"/>
                <a:gd name="connsiteY21" fmla="*/ 26742 h 60098"/>
                <a:gd name="connsiteX22" fmla="*/ 2001 w 60581"/>
                <a:gd name="connsiteY22" fmla="*/ 25492 h 60098"/>
                <a:gd name="connsiteX23" fmla="*/ 26 w 60581"/>
                <a:gd name="connsiteY23" fmla="*/ 21742 h 60098"/>
                <a:gd name="connsiteX24" fmla="*/ -4539 w 60581"/>
                <a:gd name="connsiteY24" fmla="*/ 19104 h 60098"/>
                <a:gd name="connsiteX25" fmla="*/ 3996 w 60581"/>
                <a:gd name="connsiteY25" fmla="*/ 4327 h 60098"/>
                <a:gd name="connsiteX26" fmla="*/ 8526 w 60581"/>
                <a:gd name="connsiteY26" fmla="*/ 6944 h 60098"/>
                <a:gd name="connsiteX27" fmla="*/ 12780 w 60581"/>
                <a:gd name="connsiteY27" fmla="*/ 6799 h 60098"/>
                <a:gd name="connsiteX28" fmla="*/ 14983 w 60581"/>
                <a:gd name="connsiteY28" fmla="*/ 5521 h 60098"/>
                <a:gd name="connsiteX29" fmla="*/ 17220 w 60581"/>
                <a:gd name="connsiteY29" fmla="*/ 1917 h 60098"/>
                <a:gd name="connsiteX30" fmla="*/ 17220 w 60581"/>
                <a:gd name="connsiteY30" fmla="*/ -3304 h 60098"/>
                <a:gd name="connsiteX31" fmla="*/ 34284 w 60581"/>
                <a:gd name="connsiteY31" fmla="*/ -3304 h 60098"/>
                <a:gd name="connsiteX32" fmla="*/ 34284 w 60581"/>
                <a:gd name="connsiteY32" fmla="*/ 1917 h 60098"/>
                <a:gd name="connsiteX33" fmla="*/ 36528 w 60581"/>
                <a:gd name="connsiteY33" fmla="*/ 5521 h 60098"/>
                <a:gd name="connsiteX34" fmla="*/ 38731 w 60581"/>
                <a:gd name="connsiteY34" fmla="*/ 6799 h 60098"/>
                <a:gd name="connsiteX35" fmla="*/ 42978 w 60581"/>
                <a:gd name="connsiteY35" fmla="*/ 6944 h 60098"/>
                <a:gd name="connsiteX36" fmla="*/ 47515 w 60581"/>
                <a:gd name="connsiteY36" fmla="*/ 4327 h 60098"/>
                <a:gd name="connsiteX37" fmla="*/ 56043 w 60581"/>
                <a:gd name="connsiteY37" fmla="*/ 19104 h 60098"/>
                <a:gd name="connsiteX38" fmla="*/ 51513 w 60581"/>
                <a:gd name="connsiteY38" fmla="*/ 21728 h 60098"/>
                <a:gd name="connsiteX39" fmla="*/ 49524 w 60581"/>
                <a:gd name="connsiteY39" fmla="*/ 25478 h 60098"/>
                <a:gd name="connsiteX40" fmla="*/ 49558 w 60581"/>
                <a:gd name="connsiteY40" fmla="*/ 26742 h 60098"/>
                <a:gd name="connsiteX41" fmla="*/ 49524 w 60581"/>
                <a:gd name="connsiteY41" fmla="*/ 27998 h 60098"/>
                <a:gd name="connsiteX42" fmla="*/ 51520 w 60581"/>
                <a:gd name="connsiteY42" fmla="*/ 31762 h 60098"/>
                <a:gd name="connsiteX43" fmla="*/ 56043 w 60581"/>
                <a:gd name="connsiteY43" fmla="*/ 34379 h 60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0581" h="60098">
                  <a:moveTo>
                    <a:pt x="39732" y="26742"/>
                  </a:moveTo>
                  <a:cubicBezTo>
                    <a:pt x="39732" y="19028"/>
                    <a:pt x="33476" y="12772"/>
                    <a:pt x="25762" y="12772"/>
                  </a:cubicBezTo>
                  <a:cubicBezTo>
                    <a:pt x="18042" y="12772"/>
                    <a:pt x="11779" y="19028"/>
                    <a:pt x="11779" y="26742"/>
                  </a:cubicBezTo>
                  <a:cubicBezTo>
                    <a:pt x="11779" y="34462"/>
                    <a:pt x="18042" y="40725"/>
                    <a:pt x="25762" y="40725"/>
                  </a:cubicBezTo>
                  <a:cubicBezTo>
                    <a:pt x="33476" y="40725"/>
                    <a:pt x="39732" y="34462"/>
                    <a:pt x="39732" y="26742"/>
                  </a:cubicBezTo>
                  <a:close/>
                  <a:moveTo>
                    <a:pt x="56043" y="34379"/>
                  </a:moveTo>
                  <a:lnTo>
                    <a:pt x="47515" y="49157"/>
                  </a:lnTo>
                  <a:lnTo>
                    <a:pt x="42992" y="46540"/>
                  </a:lnTo>
                  <a:cubicBezTo>
                    <a:pt x="41665" y="45773"/>
                    <a:pt x="40029" y="45849"/>
                    <a:pt x="38744" y="46692"/>
                  </a:cubicBezTo>
                  <a:cubicBezTo>
                    <a:pt x="38026" y="47154"/>
                    <a:pt x="37295" y="47575"/>
                    <a:pt x="36535" y="47962"/>
                  </a:cubicBezTo>
                  <a:cubicBezTo>
                    <a:pt x="35168" y="48660"/>
                    <a:pt x="34284" y="50041"/>
                    <a:pt x="34284" y="51574"/>
                  </a:cubicBezTo>
                  <a:lnTo>
                    <a:pt x="34284" y="56794"/>
                  </a:lnTo>
                  <a:lnTo>
                    <a:pt x="17220" y="56794"/>
                  </a:lnTo>
                  <a:lnTo>
                    <a:pt x="17220" y="51574"/>
                  </a:lnTo>
                  <a:cubicBezTo>
                    <a:pt x="17220" y="50041"/>
                    <a:pt x="16343" y="48660"/>
                    <a:pt x="14983" y="47962"/>
                  </a:cubicBezTo>
                  <a:cubicBezTo>
                    <a:pt x="14216" y="47575"/>
                    <a:pt x="13485" y="47154"/>
                    <a:pt x="12766" y="46692"/>
                  </a:cubicBezTo>
                  <a:cubicBezTo>
                    <a:pt x="11482" y="45849"/>
                    <a:pt x="9845" y="45773"/>
                    <a:pt x="8513" y="46540"/>
                  </a:cubicBezTo>
                  <a:lnTo>
                    <a:pt x="3996" y="49157"/>
                  </a:lnTo>
                  <a:lnTo>
                    <a:pt x="-4539" y="34379"/>
                  </a:lnTo>
                  <a:lnTo>
                    <a:pt x="12" y="31762"/>
                  </a:lnTo>
                  <a:cubicBezTo>
                    <a:pt x="1345" y="30995"/>
                    <a:pt x="2070" y="29538"/>
                    <a:pt x="2001" y="27998"/>
                  </a:cubicBezTo>
                  <a:lnTo>
                    <a:pt x="1966" y="26742"/>
                  </a:lnTo>
                  <a:lnTo>
                    <a:pt x="2001" y="25492"/>
                  </a:lnTo>
                  <a:cubicBezTo>
                    <a:pt x="2070" y="23959"/>
                    <a:pt x="1345" y="22509"/>
                    <a:pt x="26" y="21742"/>
                  </a:cubicBezTo>
                  <a:lnTo>
                    <a:pt x="-4539" y="19104"/>
                  </a:lnTo>
                  <a:lnTo>
                    <a:pt x="3996" y="4327"/>
                  </a:lnTo>
                  <a:lnTo>
                    <a:pt x="8526" y="6944"/>
                  </a:lnTo>
                  <a:cubicBezTo>
                    <a:pt x="9859" y="7710"/>
                    <a:pt x="11496" y="7634"/>
                    <a:pt x="12780" y="6799"/>
                  </a:cubicBezTo>
                  <a:cubicBezTo>
                    <a:pt x="13491" y="6336"/>
                    <a:pt x="14223" y="5908"/>
                    <a:pt x="14983" y="5521"/>
                  </a:cubicBezTo>
                  <a:cubicBezTo>
                    <a:pt x="16343" y="4824"/>
                    <a:pt x="17220" y="3450"/>
                    <a:pt x="17220" y="1917"/>
                  </a:cubicBezTo>
                  <a:lnTo>
                    <a:pt x="17220" y="-3304"/>
                  </a:lnTo>
                  <a:lnTo>
                    <a:pt x="34284" y="-3304"/>
                  </a:lnTo>
                  <a:lnTo>
                    <a:pt x="34284" y="1917"/>
                  </a:lnTo>
                  <a:cubicBezTo>
                    <a:pt x="34284" y="3450"/>
                    <a:pt x="35161" y="4824"/>
                    <a:pt x="36528" y="5521"/>
                  </a:cubicBezTo>
                  <a:cubicBezTo>
                    <a:pt x="37287" y="5908"/>
                    <a:pt x="38020" y="6336"/>
                    <a:pt x="38731" y="6799"/>
                  </a:cubicBezTo>
                  <a:cubicBezTo>
                    <a:pt x="40015" y="7634"/>
                    <a:pt x="41652" y="7710"/>
                    <a:pt x="42978" y="6944"/>
                  </a:cubicBezTo>
                  <a:lnTo>
                    <a:pt x="47515" y="4327"/>
                  </a:lnTo>
                  <a:lnTo>
                    <a:pt x="56043" y="19104"/>
                  </a:lnTo>
                  <a:lnTo>
                    <a:pt x="51513" y="21728"/>
                  </a:lnTo>
                  <a:cubicBezTo>
                    <a:pt x="50180" y="22495"/>
                    <a:pt x="49455" y="23952"/>
                    <a:pt x="49524" y="25478"/>
                  </a:cubicBezTo>
                  <a:lnTo>
                    <a:pt x="49558" y="26742"/>
                  </a:lnTo>
                  <a:lnTo>
                    <a:pt x="49524" y="27998"/>
                  </a:lnTo>
                  <a:cubicBezTo>
                    <a:pt x="49455" y="29538"/>
                    <a:pt x="50180" y="30995"/>
                    <a:pt x="51520" y="31762"/>
                  </a:cubicBezTo>
                  <a:lnTo>
                    <a:pt x="56043" y="34379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CD8F6FA4-4461-BA6D-912D-29E3C6C02CF0}"/>
                </a:ext>
              </a:extLst>
            </p:cNvPr>
            <p:cNvSpPr/>
            <p:nvPr/>
          </p:nvSpPr>
          <p:spPr>
            <a:xfrm flipV="1">
              <a:off x="8347923" y="3231885"/>
              <a:ext cx="874071" cy="427972"/>
            </a:xfrm>
            <a:custGeom>
              <a:avLst/>
              <a:gdLst>
                <a:gd name="connsiteX0" fmla="*/ 871100 w 874071"/>
                <a:gd name="connsiteY0" fmla="*/ -1595 h 427972"/>
                <a:gd name="connsiteX1" fmla="*/ -2972 w 874071"/>
                <a:gd name="connsiteY1" fmla="*/ -1595 h 427972"/>
                <a:gd name="connsiteX2" fmla="*/ -2972 w 874071"/>
                <a:gd name="connsiteY2" fmla="*/ 426378 h 427972"/>
                <a:gd name="connsiteX3" fmla="*/ 871100 w 874071"/>
                <a:gd name="connsiteY3" fmla="*/ 426378 h 427972"/>
                <a:gd name="connsiteX4" fmla="*/ 871100 w 874071"/>
                <a:gd name="connsiteY4" fmla="*/ -1595 h 42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071" h="427972">
                  <a:moveTo>
                    <a:pt x="871100" y="-1595"/>
                  </a:moveTo>
                  <a:lnTo>
                    <a:pt x="-2972" y="-1595"/>
                  </a:lnTo>
                  <a:lnTo>
                    <a:pt x="-2972" y="426378"/>
                  </a:lnTo>
                  <a:lnTo>
                    <a:pt x="871100" y="426378"/>
                  </a:lnTo>
                  <a:lnTo>
                    <a:pt x="871100" y="-1595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128DAACC-68C7-A50F-E513-EDAAB449B547}"/>
                </a:ext>
              </a:extLst>
            </p:cNvPr>
            <p:cNvSpPr/>
            <p:nvPr/>
          </p:nvSpPr>
          <p:spPr>
            <a:xfrm flipV="1">
              <a:off x="8347923" y="3752411"/>
              <a:ext cx="874071" cy="427971"/>
            </a:xfrm>
            <a:custGeom>
              <a:avLst/>
              <a:gdLst>
                <a:gd name="connsiteX0" fmla="*/ 871100 w 874071"/>
                <a:gd name="connsiteY0" fmla="*/ -740 h 427971"/>
                <a:gd name="connsiteX1" fmla="*/ -2972 w 874071"/>
                <a:gd name="connsiteY1" fmla="*/ -740 h 427971"/>
                <a:gd name="connsiteX2" fmla="*/ -2972 w 874071"/>
                <a:gd name="connsiteY2" fmla="*/ 427231 h 427971"/>
                <a:gd name="connsiteX3" fmla="*/ 871100 w 874071"/>
                <a:gd name="connsiteY3" fmla="*/ 427231 h 427971"/>
                <a:gd name="connsiteX4" fmla="*/ 871100 w 874071"/>
                <a:gd name="connsiteY4" fmla="*/ -740 h 42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071" h="427971">
                  <a:moveTo>
                    <a:pt x="871100" y="-740"/>
                  </a:moveTo>
                  <a:lnTo>
                    <a:pt x="-2972" y="-740"/>
                  </a:lnTo>
                  <a:lnTo>
                    <a:pt x="-2972" y="427231"/>
                  </a:lnTo>
                  <a:lnTo>
                    <a:pt x="871100" y="427231"/>
                  </a:lnTo>
                  <a:lnTo>
                    <a:pt x="871100" y="-740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FA5609FD-5B2B-410E-9478-BA5598C54E7F}"/>
                </a:ext>
              </a:extLst>
            </p:cNvPr>
            <p:cNvSpPr/>
            <p:nvPr/>
          </p:nvSpPr>
          <p:spPr>
            <a:xfrm flipV="1">
              <a:off x="9310585" y="3231885"/>
              <a:ext cx="874065" cy="427972"/>
            </a:xfrm>
            <a:custGeom>
              <a:avLst/>
              <a:gdLst>
                <a:gd name="connsiteX0" fmla="*/ 869885 w 874065"/>
                <a:gd name="connsiteY0" fmla="*/ -1595 h 427972"/>
                <a:gd name="connsiteX1" fmla="*/ -4180 w 874065"/>
                <a:gd name="connsiteY1" fmla="*/ -1595 h 427972"/>
                <a:gd name="connsiteX2" fmla="*/ -4180 w 874065"/>
                <a:gd name="connsiteY2" fmla="*/ 426378 h 427972"/>
                <a:gd name="connsiteX3" fmla="*/ 869885 w 874065"/>
                <a:gd name="connsiteY3" fmla="*/ 426378 h 427972"/>
                <a:gd name="connsiteX4" fmla="*/ 869885 w 874065"/>
                <a:gd name="connsiteY4" fmla="*/ -1595 h 42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065" h="427972">
                  <a:moveTo>
                    <a:pt x="869885" y="-1595"/>
                  </a:moveTo>
                  <a:lnTo>
                    <a:pt x="-4180" y="-1595"/>
                  </a:lnTo>
                  <a:lnTo>
                    <a:pt x="-4180" y="426378"/>
                  </a:lnTo>
                  <a:lnTo>
                    <a:pt x="869885" y="426378"/>
                  </a:lnTo>
                  <a:lnTo>
                    <a:pt x="869885" y="-1595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9315D98B-A444-BB29-9ADC-38418CBBD871}"/>
                </a:ext>
              </a:extLst>
            </p:cNvPr>
            <p:cNvSpPr/>
            <p:nvPr/>
          </p:nvSpPr>
          <p:spPr>
            <a:xfrm flipV="1">
              <a:off x="9310585" y="3752411"/>
              <a:ext cx="874065" cy="427971"/>
            </a:xfrm>
            <a:custGeom>
              <a:avLst/>
              <a:gdLst>
                <a:gd name="connsiteX0" fmla="*/ 869885 w 874065"/>
                <a:gd name="connsiteY0" fmla="*/ -740 h 427971"/>
                <a:gd name="connsiteX1" fmla="*/ -4180 w 874065"/>
                <a:gd name="connsiteY1" fmla="*/ -740 h 427971"/>
                <a:gd name="connsiteX2" fmla="*/ -4180 w 874065"/>
                <a:gd name="connsiteY2" fmla="*/ 427231 h 427971"/>
                <a:gd name="connsiteX3" fmla="*/ 869885 w 874065"/>
                <a:gd name="connsiteY3" fmla="*/ 427231 h 427971"/>
                <a:gd name="connsiteX4" fmla="*/ 869885 w 874065"/>
                <a:gd name="connsiteY4" fmla="*/ -740 h 42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065" h="427971">
                  <a:moveTo>
                    <a:pt x="869885" y="-740"/>
                  </a:moveTo>
                  <a:lnTo>
                    <a:pt x="-4180" y="-740"/>
                  </a:lnTo>
                  <a:lnTo>
                    <a:pt x="-4180" y="427231"/>
                  </a:lnTo>
                  <a:lnTo>
                    <a:pt x="869885" y="427231"/>
                  </a:lnTo>
                  <a:lnTo>
                    <a:pt x="869885" y="-740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8DC102D9-C5D3-AFE5-5B65-B8E8AC475864}"/>
                </a:ext>
              </a:extLst>
            </p:cNvPr>
            <p:cNvSpPr/>
            <p:nvPr/>
          </p:nvSpPr>
          <p:spPr>
            <a:xfrm flipV="1">
              <a:off x="7307513" y="3231885"/>
              <a:ext cx="948498" cy="948497"/>
            </a:xfrm>
            <a:custGeom>
              <a:avLst/>
              <a:gdLst>
                <a:gd name="connsiteX0" fmla="*/ 946786 w 948498"/>
                <a:gd name="connsiteY0" fmla="*/ -1168 h 948497"/>
                <a:gd name="connsiteX1" fmla="*/ -1713 w 948498"/>
                <a:gd name="connsiteY1" fmla="*/ -1168 h 948497"/>
                <a:gd name="connsiteX2" fmla="*/ -1713 w 948498"/>
                <a:gd name="connsiteY2" fmla="*/ 947330 h 948497"/>
                <a:gd name="connsiteX3" fmla="*/ 946786 w 948498"/>
                <a:gd name="connsiteY3" fmla="*/ 947330 h 948497"/>
                <a:gd name="connsiteX4" fmla="*/ 946786 w 948498"/>
                <a:gd name="connsiteY4" fmla="*/ -1168 h 94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8498" h="948497">
                  <a:moveTo>
                    <a:pt x="946786" y="-1168"/>
                  </a:moveTo>
                  <a:lnTo>
                    <a:pt x="-1713" y="-1168"/>
                  </a:lnTo>
                  <a:lnTo>
                    <a:pt x="-1713" y="947330"/>
                  </a:lnTo>
                  <a:lnTo>
                    <a:pt x="946786" y="947330"/>
                  </a:lnTo>
                  <a:lnTo>
                    <a:pt x="946786" y="-1168"/>
                  </a:ln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97D96D40-2EA4-8BD3-1DCF-C6ABBF2FCC4B}"/>
                </a:ext>
              </a:extLst>
            </p:cNvPr>
            <p:cNvSpPr/>
            <p:nvPr/>
          </p:nvSpPr>
          <p:spPr>
            <a:xfrm flipV="1">
              <a:off x="7414762" y="3490687"/>
              <a:ext cx="446051" cy="446050"/>
            </a:xfrm>
            <a:custGeom>
              <a:avLst/>
              <a:gdLst>
                <a:gd name="connsiteX0" fmla="*/ 444519 w 446051"/>
                <a:gd name="connsiteY0" fmla="*/ 221870 h 446050"/>
                <a:gd name="connsiteX1" fmla="*/ 221493 w 446051"/>
                <a:gd name="connsiteY1" fmla="*/ -1155 h 446050"/>
                <a:gd name="connsiteX2" fmla="*/ -1533 w 446051"/>
                <a:gd name="connsiteY2" fmla="*/ 221870 h 446050"/>
                <a:gd name="connsiteX3" fmla="*/ 221493 w 446051"/>
                <a:gd name="connsiteY3" fmla="*/ 444896 h 446050"/>
                <a:gd name="connsiteX4" fmla="*/ 444519 w 446051"/>
                <a:gd name="connsiteY4" fmla="*/ 221870 h 4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051" h="446050">
                  <a:moveTo>
                    <a:pt x="444519" y="221870"/>
                  </a:moveTo>
                  <a:cubicBezTo>
                    <a:pt x="444519" y="98698"/>
                    <a:pt x="344672" y="-1155"/>
                    <a:pt x="221493" y="-1155"/>
                  </a:cubicBezTo>
                  <a:cubicBezTo>
                    <a:pt x="98320" y="-1155"/>
                    <a:pt x="-1533" y="98698"/>
                    <a:pt x="-1533" y="221870"/>
                  </a:cubicBezTo>
                  <a:cubicBezTo>
                    <a:pt x="-1533" y="345043"/>
                    <a:pt x="98320" y="444896"/>
                    <a:pt x="221493" y="444896"/>
                  </a:cubicBezTo>
                  <a:cubicBezTo>
                    <a:pt x="344672" y="444896"/>
                    <a:pt x="444519" y="345043"/>
                    <a:pt x="444519" y="221870"/>
                  </a:cubicBez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38335EC8-1B41-3AAF-6C05-21CF553FFBC5}"/>
                </a:ext>
              </a:extLst>
            </p:cNvPr>
            <p:cNvSpPr/>
            <p:nvPr/>
          </p:nvSpPr>
          <p:spPr>
            <a:xfrm flipV="1">
              <a:off x="7414762" y="3490687"/>
              <a:ext cx="446051" cy="431369"/>
            </a:xfrm>
            <a:custGeom>
              <a:avLst/>
              <a:gdLst>
                <a:gd name="connsiteX0" fmla="*/ 221493 w 446051"/>
                <a:gd name="connsiteY0" fmla="*/ 207177 h 431369"/>
                <a:gd name="connsiteX1" fmla="*/ 141921 w 446051"/>
                <a:gd name="connsiteY1" fmla="*/ -1167 h 431369"/>
                <a:gd name="connsiteX2" fmla="*/ -1533 w 446051"/>
                <a:gd name="connsiteY2" fmla="*/ 207177 h 431369"/>
                <a:gd name="connsiteX3" fmla="*/ 221493 w 446051"/>
                <a:gd name="connsiteY3" fmla="*/ 430203 h 431369"/>
                <a:gd name="connsiteX4" fmla="*/ 444519 w 446051"/>
                <a:gd name="connsiteY4" fmla="*/ 207177 h 431369"/>
                <a:gd name="connsiteX5" fmla="*/ 221493 w 446051"/>
                <a:gd name="connsiteY5" fmla="*/ 207177 h 431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6051" h="431369">
                  <a:moveTo>
                    <a:pt x="221493" y="207177"/>
                  </a:moveTo>
                  <a:lnTo>
                    <a:pt x="141921" y="-1167"/>
                  </a:lnTo>
                  <a:cubicBezTo>
                    <a:pt x="55728" y="31744"/>
                    <a:pt x="-1533" y="114907"/>
                    <a:pt x="-1533" y="207177"/>
                  </a:cubicBezTo>
                  <a:cubicBezTo>
                    <a:pt x="-1533" y="329521"/>
                    <a:pt x="99149" y="430203"/>
                    <a:pt x="221493" y="430203"/>
                  </a:cubicBezTo>
                  <a:cubicBezTo>
                    <a:pt x="343844" y="430203"/>
                    <a:pt x="444519" y="329521"/>
                    <a:pt x="444519" y="207177"/>
                  </a:cubicBezTo>
                  <a:lnTo>
                    <a:pt x="221493" y="207177"/>
                  </a:lnTo>
                </a:path>
              </a:pathLst>
            </a:custGeom>
            <a:solidFill>
              <a:srgbClr val="D4D6D3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08A29FC5-902D-3228-7759-B19E4ACD79C4}"/>
                </a:ext>
              </a:extLst>
            </p:cNvPr>
            <p:cNvSpPr/>
            <p:nvPr/>
          </p:nvSpPr>
          <p:spPr>
            <a:xfrm flipV="1">
              <a:off x="7414762" y="3490687"/>
              <a:ext cx="446051" cy="446050"/>
            </a:xfrm>
            <a:custGeom>
              <a:avLst/>
              <a:gdLst>
                <a:gd name="connsiteX0" fmla="*/ 221493 w 446051"/>
                <a:gd name="connsiteY0" fmla="*/ 221870 h 446050"/>
                <a:gd name="connsiteX1" fmla="*/ 400648 w 446051"/>
                <a:gd name="connsiteY1" fmla="*/ 89030 h 446050"/>
                <a:gd name="connsiteX2" fmla="*/ 221493 w 446051"/>
                <a:gd name="connsiteY2" fmla="*/ -1155 h 446050"/>
                <a:gd name="connsiteX3" fmla="*/ -1533 w 446051"/>
                <a:gd name="connsiteY3" fmla="*/ 221870 h 446050"/>
                <a:gd name="connsiteX4" fmla="*/ 221493 w 446051"/>
                <a:gd name="connsiteY4" fmla="*/ 444896 h 446050"/>
                <a:gd name="connsiteX5" fmla="*/ 444519 w 446051"/>
                <a:gd name="connsiteY5" fmla="*/ 221870 h 446050"/>
                <a:gd name="connsiteX6" fmla="*/ 221493 w 446051"/>
                <a:gd name="connsiteY6" fmla="*/ 221870 h 4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6051" h="446050">
                  <a:moveTo>
                    <a:pt x="221493" y="221870"/>
                  </a:moveTo>
                  <a:lnTo>
                    <a:pt x="400648" y="89030"/>
                  </a:lnTo>
                  <a:cubicBezTo>
                    <a:pt x="358615" y="32336"/>
                    <a:pt x="292074" y="-1155"/>
                    <a:pt x="221493" y="-1155"/>
                  </a:cubicBezTo>
                  <a:cubicBezTo>
                    <a:pt x="99149" y="-1155"/>
                    <a:pt x="-1533" y="99520"/>
                    <a:pt x="-1533" y="221870"/>
                  </a:cubicBezTo>
                  <a:cubicBezTo>
                    <a:pt x="-1533" y="344214"/>
                    <a:pt x="99149" y="444896"/>
                    <a:pt x="221493" y="444896"/>
                  </a:cubicBezTo>
                  <a:cubicBezTo>
                    <a:pt x="343844" y="444896"/>
                    <a:pt x="444519" y="344214"/>
                    <a:pt x="444519" y="221870"/>
                  </a:cubicBezTo>
                  <a:lnTo>
                    <a:pt x="221493" y="221870"/>
                  </a:lnTo>
                </a:path>
              </a:pathLst>
            </a:custGeom>
            <a:solidFill>
              <a:srgbClr val="D4D6D3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37B4C27F-870B-2FF5-80A7-4FCE853BC77D}"/>
                </a:ext>
              </a:extLst>
            </p:cNvPr>
            <p:cNvSpPr/>
            <p:nvPr/>
          </p:nvSpPr>
          <p:spPr>
            <a:xfrm flipV="1">
              <a:off x="7414762" y="3490687"/>
              <a:ext cx="446051" cy="325688"/>
            </a:xfrm>
            <a:custGeom>
              <a:avLst/>
              <a:gdLst>
                <a:gd name="connsiteX0" fmla="*/ 221493 w 446051"/>
                <a:gd name="connsiteY0" fmla="*/ 101410 h 325688"/>
                <a:gd name="connsiteX1" fmla="*/ 23507 w 446051"/>
                <a:gd name="connsiteY1" fmla="*/ -1254 h 325688"/>
                <a:gd name="connsiteX2" fmla="*/ -1533 w 446051"/>
                <a:gd name="connsiteY2" fmla="*/ 101410 h 325688"/>
                <a:gd name="connsiteX3" fmla="*/ 221493 w 446051"/>
                <a:gd name="connsiteY3" fmla="*/ 324435 h 325688"/>
                <a:gd name="connsiteX4" fmla="*/ 444519 w 446051"/>
                <a:gd name="connsiteY4" fmla="*/ 101410 h 325688"/>
                <a:gd name="connsiteX5" fmla="*/ 221493 w 446051"/>
                <a:gd name="connsiteY5" fmla="*/ 101410 h 325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6051" h="325688">
                  <a:moveTo>
                    <a:pt x="221493" y="101410"/>
                  </a:moveTo>
                  <a:lnTo>
                    <a:pt x="23507" y="-1254"/>
                  </a:lnTo>
                  <a:cubicBezTo>
                    <a:pt x="7058" y="30463"/>
                    <a:pt x="-1533" y="65681"/>
                    <a:pt x="-1533" y="101410"/>
                  </a:cubicBezTo>
                  <a:cubicBezTo>
                    <a:pt x="-1533" y="223754"/>
                    <a:pt x="99149" y="324435"/>
                    <a:pt x="221493" y="324435"/>
                  </a:cubicBezTo>
                  <a:cubicBezTo>
                    <a:pt x="343844" y="324435"/>
                    <a:pt x="444519" y="223754"/>
                    <a:pt x="444519" y="101410"/>
                  </a:cubicBezTo>
                  <a:lnTo>
                    <a:pt x="221493" y="101410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E07D5061-D9CB-8F8B-AFC5-478A1C0F22FB}"/>
                </a:ext>
              </a:extLst>
            </p:cNvPr>
            <p:cNvSpPr/>
            <p:nvPr/>
          </p:nvSpPr>
          <p:spPr>
            <a:xfrm flipV="1">
              <a:off x="7724982" y="3505990"/>
              <a:ext cx="242713" cy="110280"/>
            </a:xfrm>
            <a:custGeom>
              <a:avLst/>
              <a:gdLst>
                <a:gd name="connsiteX0" fmla="*/ 1603 w 242713"/>
                <a:gd name="connsiteY0" fmla="*/ -1406 h 110280"/>
                <a:gd name="connsiteX1" fmla="*/ -1794 w 242713"/>
                <a:gd name="connsiteY1" fmla="*/ 1985 h 110280"/>
                <a:gd name="connsiteX2" fmla="*/ 105095 w 242713"/>
                <a:gd name="connsiteY2" fmla="*/ 108875 h 110280"/>
                <a:gd name="connsiteX3" fmla="*/ 240919 w 242713"/>
                <a:gd name="connsiteY3" fmla="*/ 108875 h 110280"/>
                <a:gd name="connsiteX4" fmla="*/ 240919 w 242713"/>
                <a:gd name="connsiteY4" fmla="*/ 104068 h 110280"/>
                <a:gd name="connsiteX5" fmla="*/ 107077 w 242713"/>
                <a:gd name="connsiteY5" fmla="*/ 104068 h 110280"/>
                <a:gd name="connsiteX6" fmla="*/ 1603 w 242713"/>
                <a:gd name="connsiteY6" fmla="*/ -1406 h 110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2713" h="110280">
                  <a:moveTo>
                    <a:pt x="1603" y="-1406"/>
                  </a:moveTo>
                  <a:lnTo>
                    <a:pt x="-1794" y="1985"/>
                  </a:lnTo>
                  <a:lnTo>
                    <a:pt x="105095" y="108875"/>
                  </a:lnTo>
                  <a:lnTo>
                    <a:pt x="240919" y="108875"/>
                  </a:lnTo>
                  <a:lnTo>
                    <a:pt x="240919" y="104068"/>
                  </a:lnTo>
                  <a:lnTo>
                    <a:pt x="107077" y="104068"/>
                  </a:lnTo>
                  <a:lnTo>
                    <a:pt x="1603" y="-1406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30595B5D-C494-216A-FE6B-D4FDF00225C9}"/>
                </a:ext>
              </a:extLst>
            </p:cNvPr>
            <p:cNvSpPr/>
            <p:nvPr/>
          </p:nvSpPr>
          <p:spPr>
            <a:xfrm flipV="1">
              <a:off x="7759689" y="3747936"/>
              <a:ext cx="208006" cy="4806"/>
            </a:xfrm>
            <a:custGeom>
              <a:avLst/>
              <a:gdLst>
                <a:gd name="connsiteX0" fmla="*/ 206190 w 208006"/>
                <a:gd name="connsiteY0" fmla="*/ -1095 h 4806"/>
                <a:gd name="connsiteX1" fmla="*/ -1816 w 208006"/>
                <a:gd name="connsiteY1" fmla="*/ -1095 h 4806"/>
                <a:gd name="connsiteX2" fmla="*/ -1816 w 208006"/>
                <a:gd name="connsiteY2" fmla="*/ 3711 h 4806"/>
                <a:gd name="connsiteX3" fmla="*/ 206190 w 208006"/>
                <a:gd name="connsiteY3" fmla="*/ 3711 h 4806"/>
                <a:gd name="connsiteX4" fmla="*/ 206190 w 208006"/>
                <a:gd name="connsiteY4" fmla="*/ -1095 h 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006" h="4806">
                  <a:moveTo>
                    <a:pt x="206190" y="-1095"/>
                  </a:moveTo>
                  <a:lnTo>
                    <a:pt x="-1816" y="-1095"/>
                  </a:lnTo>
                  <a:lnTo>
                    <a:pt x="-1816" y="3711"/>
                  </a:lnTo>
                  <a:lnTo>
                    <a:pt x="206190" y="3711"/>
                  </a:lnTo>
                  <a:lnTo>
                    <a:pt x="206190" y="-1095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47407ADA-3201-237C-E07B-3F896651088F}"/>
                </a:ext>
              </a:extLst>
            </p:cNvPr>
            <p:cNvSpPr/>
            <p:nvPr/>
          </p:nvSpPr>
          <p:spPr>
            <a:xfrm flipV="1">
              <a:off x="7724817" y="3855316"/>
              <a:ext cx="242878" cy="127543"/>
            </a:xfrm>
            <a:custGeom>
              <a:avLst/>
              <a:gdLst>
                <a:gd name="connsiteX0" fmla="*/ 241085 w 242878"/>
                <a:gd name="connsiteY0" fmla="*/ -818 h 127543"/>
                <a:gd name="connsiteX1" fmla="*/ 99820 w 242878"/>
                <a:gd name="connsiteY1" fmla="*/ -818 h 127543"/>
                <a:gd name="connsiteX2" fmla="*/ 99095 w 242878"/>
                <a:gd name="connsiteY2" fmla="*/ 66 h 127543"/>
                <a:gd name="connsiteX3" fmla="*/ -1794 w 242878"/>
                <a:gd name="connsiteY3" fmla="*/ 123687 h 127543"/>
                <a:gd name="connsiteX4" fmla="*/ 1935 w 242878"/>
                <a:gd name="connsiteY4" fmla="*/ 126726 h 127543"/>
                <a:gd name="connsiteX5" fmla="*/ 102098 w 242878"/>
                <a:gd name="connsiteY5" fmla="*/ 3981 h 127543"/>
                <a:gd name="connsiteX6" fmla="*/ 241085 w 242878"/>
                <a:gd name="connsiteY6" fmla="*/ 3981 h 127543"/>
                <a:gd name="connsiteX7" fmla="*/ 241085 w 242878"/>
                <a:gd name="connsiteY7" fmla="*/ -818 h 12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878" h="127543">
                  <a:moveTo>
                    <a:pt x="241085" y="-818"/>
                  </a:moveTo>
                  <a:lnTo>
                    <a:pt x="99820" y="-818"/>
                  </a:lnTo>
                  <a:lnTo>
                    <a:pt x="99095" y="66"/>
                  </a:lnTo>
                  <a:lnTo>
                    <a:pt x="-1794" y="123687"/>
                  </a:lnTo>
                  <a:lnTo>
                    <a:pt x="1935" y="126726"/>
                  </a:lnTo>
                  <a:lnTo>
                    <a:pt x="102098" y="3981"/>
                  </a:lnTo>
                  <a:lnTo>
                    <a:pt x="241085" y="3981"/>
                  </a:lnTo>
                  <a:lnTo>
                    <a:pt x="241085" y="-818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945B30F5-89F7-49B4-47F0-D237E1FD1C52}"/>
                </a:ext>
              </a:extLst>
            </p:cNvPr>
            <p:cNvSpPr/>
            <p:nvPr/>
          </p:nvSpPr>
          <p:spPr>
            <a:xfrm flipV="1">
              <a:off x="7957378" y="3498076"/>
              <a:ext cx="20633" cy="20633"/>
            </a:xfrm>
            <a:custGeom>
              <a:avLst/>
              <a:gdLst>
                <a:gd name="connsiteX0" fmla="*/ 18687 w 20633"/>
                <a:gd name="connsiteY0" fmla="*/ 8825 h 20633"/>
                <a:gd name="connsiteX1" fmla="*/ 8370 w 20633"/>
                <a:gd name="connsiteY1" fmla="*/ -1492 h 20633"/>
                <a:gd name="connsiteX2" fmla="*/ -1947 w 20633"/>
                <a:gd name="connsiteY2" fmla="*/ 8825 h 20633"/>
                <a:gd name="connsiteX3" fmla="*/ 8370 w 20633"/>
                <a:gd name="connsiteY3" fmla="*/ 19141 h 20633"/>
                <a:gd name="connsiteX4" fmla="*/ 18687 w 20633"/>
                <a:gd name="connsiteY4" fmla="*/ 8825 h 20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33" h="20633">
                  <a:moveTo>
                    <a:pt x="18687" y="8825"/>
                  </a:moveTo>
                  <a:cubicBezTo>
                    <a:pt x="18687" y="3128"/>
                    <a:pt x="14074" y="-1492"/>
                    <a:pt x="8370" y="-1492"/>
                  </a:cubicBezTo>
                  <a:cubicBezTo>
                    <a:pt x="2673" y="-1492"/>
                    <a:pt x="-1947" y="3128"/>
                    <a:pt x="-1947" y="8825"/>
                  </a:cubicBezTo>
                  <a:cubicBezTo>
                    <a:pt x="-1947" y="14522"/>
                    <a:pt x="2673" y="19141"/>
                    <a:pt x="8370" y="19141"/>
                  </a:cubicBezTo>
                  <a:cubicBezTo>
                    <a:pt x="14074" y="19141"/>
                    <a:pt x="18687" y="14522"/>
                    <a:pt x="18687" y="8825"/>
                  </a:cubicBez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FF72EC66-C908-2220-FAAF-DAB4461BF6DC}"/>
                </a:ext>
              </a:extLst>
            </p:cNvPr>
            <p:cNvSpPr/>
            <p:nvPr/>
          </p:nvSpPr>
          <p:spPr>
            <a:xfrm flipV="1">
              <a:off x="7957378" y="3740023"/>
              <a:ext cx="20633" cy="20633"/>
            </a:xfrm>
            <a:custGeom>
              <a:avLst/>
              <a:gdLst>
                <a:gd name="connsiteX0" fmla="*/ 18687 w 20633"/>
                <a:gd name="connsiteY0" fmla="*/ 9222 h 20633"/>
                <a:gd name="connsiteX1" fmla="*/ 8370 w 20633"/>
                <a:gd name="connsiteY1" fmla="*/ -1095 h 20633"/>
                <a:gd name="connsiteX2" fmla="*/ -1947 w 20633"/>
                <a:gd name="connsiteY2" fmla="*/ 9222 h 20633"/>
                <a:gd name="connsiteX3" fmla="*/ 8370 w 20633"/>
                <a:gd name="connsiteY3" fmla="*/ 19539 h 20633"/>
                <a:gd name="connsiteX4" fmla="*/ 18687 w 20633"/>
                <a:gd name="connsiteY4" fmla="*/ 9222 h 20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33" h="20633">
                  <a:moveTo>
                    <a:pt x="18687" y="9222"/>
                  </a:moveTo>
                  <a:cubicBezTo>
                    <a:pt x="18687" y="3525"/>
                    <a:pt x="14074" y="-1095"/>
                    <a:pt x="8370" y="-1095"/>
                  </a:cubicBezTo>
                  <a:cubicBezTo>
                    <a:pt x="2673" y="-1095"/>
                    <a:pt x="-1947" y="3525"/>
                    <a:pt x="-1947" y="9222"/>
                  </a:cubicBezTo>
                  <a:cubicBezTo>
                    <a:pt x="-1947" y="14919"/>
                    <a:pt x="2673" y="19539"/>
                    <a:pt x="8370" y="19539"/>
                  </a:cubicBezTo>
                  <a:cubicBezTo>
                    <a:pt x="14074" y="19539"/>
                    <a:pt x="18687" y="14919"/>
                    <a:pt x="18687" y="9222"/>
                  </a:cubicBez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83316FB-8883-47B3-EF83-A165E5B4E0A1}"/>
                </a:ext>
              </a:extLst>
            </p:cNvPr>
            <p:cNvSpPr/>
            <p:nvPr/>
          </p:nvSpPr>
          <p:spPr>
            <a:xfrm flipV="1">
              <a:off x="7957378" y="3970140"/>
              <a:ext cx="20633" cy="20633"/>
            </a:xfrm>
            <a:custGeom>
              <a:avLst/>
              <a:gdLst>
                <a:gd name="connsiteX0" fmla="*/ 18687 w 20633"/>
                <a:gd name="connsiteY0" fmla="*/ 9599 h 20633"/>
                <a:gd name="connsiteX1" fmla="*/ 8370 w 20633"/>
                <a:gd name="connsiteY1" fmla="*/ -717 h 20633"/>
                <a:gd name="connsiteX2" fmla="*/ -1947 w 20633"/>
                <a:gd name="connsiteY2" fmla="*/ 9599 h 20633"/>
                <a:gd name="connsiteX3" fmla="*/ 8370 w 20633"/>
                <a:gd name="connsiteY3" fmla="*/ 19916 h 20633"/>
                <a:gd name="connsiteX4" fmla="*/ 18687 w 20633"/>
                <a:gd name="connsiteY4" fmla="*/ 9599 h 20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33" h="20633">
                  <a:moveTo>
                    <a:pt x="18687" y="9599"/>
                  </a:moveTo>
                  <a:cubicBezTo>
                    <a:pt x="18687" y="3909"/>
                    <a:pt x="14074" y="-717"/>
                    <a:pt x="8370" y="-717"/>
                  </a:cubicBezTo>
                  <a:cubicBezTo>
                    <a:pt x="2673" y="-717"/>
                    <a:pt x="-1947" y="3909"/>
                    <a:pt x="-1947" y="9599"/>
                  </a:cubicBezTo>
                  <a:cubicBezTo>
                    <a:pt x="-1947" y="15303"/>
                    <a:pt x="2673" y="19916"/>
                    <a:pt x="8370" y="19916"/>
                  </a:cubicBezTo>
                  <a:cubicBezTo>
                    <a:pt x="14074" y="19916"/>
                    <a:pt x="18687" y="15303"/>
                    <a:pt x="18687" y="9599"/>
                  </a:cubicBez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CB0C362B-E854-34BB-017E-69724E3467E6}"/>
                </a:ext>
              </a:extLst>
            </p:cNvPr>
            <p:cNvSpPr/>
            <p:nvPr/>
          </p:nvSpPr>
          <p:spPr>
            <a:xfrm flipV="1">
              <a:off x="8006773" y="3505990"/>
              <a:ext cx="92899" cy="4806"/>
            </a:xfrm>
            <a:custGeom>
              <a:avLst/>
              <a:gdLst>
                <a:gd name="connsiteX0" fmla="*/ 90845 w 92899"/>
                <a:gd name="connsiteY0" fmla="*/ -1492 h 4806"/>
                <a:gd name="connsiteX1" fmla="*/ -2054 w 92899"/>
                <a:gd name="connsiteY1" fmla="*/ -1492 h 4806"/>
                <a:gd name="connsiteX2" fmla="*/ -2054 w 92899"/>
                <a:gd name="connsiteY2" fmla="*/ 3314 h 4806"/>
                <a:gd name="connsiteX3" fmla="*/ 90845 w 92899"/>
                <a:gd name="connsiteY3" fmla="*/ 3314 h 4806"/>
                <a:gd name="connsiteX4" fmla="*/ 90845 w 92899"/>
                <a:gd name="connsiteY4" fmla="*/ -1492 h 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899" h="4806">
                  <a:moveTo>
                    <a:pt x="90845" y="-1492"/>
                  </a:moveTo>
                  <a:lnTo>
                    <a:pt x="-2054" y="-1492"/>
                  </a:lnTo>
                  <a:lnTo>
                    <a:pt x="-2054" y="3314"/>
                  </a:lnTo>
                  <a:lnTo>
                    <a:pt x="90845" y="3314"/>
                  </a:lnTo>
                  <a:lnTo>
                    <a:pt x="90845" y="-1492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2012F6C2-2A67-3A48-D7F7-04F7F1329D88}"/>
                </a:ext>
              </a:extLst>
            </p:cNvPr>
            <p:cNvSpPr/>
            <p:nvPr/>
          </p:nvSpPr>
          <p:spPr>
            <a:xfrm flipV="1">
              <a:off x="8006773" y="3521361"/>
              <a:ext cx="129753" cy="4799"/>
            </a:xfrm>
            <a:custGeom>
              <a:avLst/>
              <a:gdLst>
                <a:gd name="connsiteX0" fmla="*/ 127677 w 129753"/>
                <a:gd name="connsiteY0" fmla="*/ -1467 h 4799"/>
                <a:gd name="connsiteX1" fmla="*/ -2077 w 129753"/>
                <a:gd name="connsiteY1" fmla="*/ -1467 h 4799"/>
                <a:gd name="connsiteX2" fmla="*/ -2077 w 129753"/>
                <a:gd name="connsiteY2" fmla="*/ 3333 h 4799"/>
                <a:gd name="connsiteX3" fmla="*/ 127677 w 129753"/>
                <a:gd name="connsiteY3" fmla="*/ 3333 h 4799"/>
                <a:gd name="connsiteX4" fmla="*/ 127677 w 129753"/>
                <a:gd name="connsiteY4" fmla="*/ -1467 h 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753" h="4799">
                  <a:moveTo>
                    <a:pt x="127677" y="-1467"/>
                  </a:moveTo>
                  <a:lnTo>
                    <a:pt x="-2077" y="-1467"/>
                  </a:lnTo>
                  <a:lnTo>
                    <a:pt x="-2077" y="3333"/>
                  </a:lnTo>
                  <a:lnTo>
                    <a:pt x="127677" y="3333"/>
                  </a:lnTo>
                  <a:lnTo>
                    <a:pt x="127677" y="-1467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F3515CCF-4794-6779-C88E-8E715BE113A0}"/>
                </a:ext>
              </a:extLst>
            </p:cNvPr>
            <p:cNvSpPr/>
            <p:nvPr/>
          </p:nvSpPr>
          <p:spPr>
            <a:xfrm flipV="1">
              <a:off x="8006773" y="3536726"/>
              <a:ext cx="111585" cy="4806"/>
            </a:xfrm>
            <a:custGeom>
              <a:avLst/>
              <a:gdLst>
                <a:gd name="connsiteX0" fmla="*/ 109520 w 111585"/>
                <a:gd name="connsiteY0" fmla="*/ -1442 h 4806"/>
                <a:gd name="connsiteX1" fmla="*/ -2066 w 111585"/>
                <a:gd name="connsiteY1" fmla="*/ -1442 h 4806"/>
                <a:gd name="connsiteX2" fmla="*/ -2066 w 111585"/>
                <a:gd name="connsiteY2" fmla="*/ 3365 h 4806"/>
                <a:gd name="connsiteX3" fmla="*/ 109520 w 111585"/>
                <a:gd name="connsiteY3" fmla="*/ 3365 h 4806"/>
                <a:gd name="connsiteX4" fmla="*/ 109520 w 111585"/>
                <a:gd name="connsiteY4" fmla="*/ -1442 h 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585" h="4806">
                  <a:moveTo>
                    <a:pt x="109520" y="-1442"/>
                  </a:moveTo>
                  <a:lnTo>
                    <a:pt x="-2066" y="-1442"/>
                  </a:lnTo>
                  <a:lnTo>
                    <a:pt x="-2066" y="3365"/>
                  </a:lnTo>
                  <a:lnTo>
                    <a:pt x="109520" y="3365"/>
                  </a:lnTo>
                  <a:lnTo>
                    <a:pt x="109520" y="-1442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5CB52C30-728B-EB29-233B-3012CF628C60}"/>
                </a:ext>
              </a:extLst>
            </p:cNvPr>
            <p:cNvSpPr/>
            <p:nvPr/>
          </p:nvSpPr>
          <p:spPr>
            <a:xfrm flipV="1">
              <a:off x="8006773" y="3552098"/>
              <a:ext cx="141990" cy="4792"/>
            </a:xfrm>
            <a:custGeom>
              <a:avLst/>
              <a:gdLst>
                <a:gd name="connsiteX0" fmla="*/ 139905 w 141990"/>
                <a:gd name="connsiteY0" fmla="*/ -1416 h 4792"/>
                <a:gd name="connsiteX1" fmla="*/ -2085 w 141990"/>
                <a:gd name="connsiteY1" fmla="*/ -1416 h 4792"/>
                <a:gd name="connsiteX2" fmla="*/ -2085 w 141990"/>
                <a:gd name="connsiteY2" fmla="*/ 3376 h 4792"/>
                <a:gd name="connsiteX3" fmla="*/ 139905 w 141990"/>
                <a:gd name="connsiteY3" fmla="*/ 3376 h 4792"/>
                <a:gd name="connsiteX4" fmla="*/ 139905 w 141990"/>
                <a:gd name="connsiteY4" fmla="*/ -1416 h 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90" h="4792">
                  <a:moveTo>
                    <a:pt x="139905" y="-1416"/>
                  </a:moveTo>
                  <a:lnTo>
                    <a:pt x="-2085" y="-1416"/>
                  </a:lnTo>
                  <a:lnTo>
                    <a:pt x="-2085" y="3376"/>
                  </a:lnTo>
                  <a:lnTo>
                    <a:pt x="139905" y="3376"/>
                  </a:lnTo>
                  <a:lnTo>
                    <a:pt x="139905" y="-1416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C6148DB6-65BC-C967-E56E-5107FE00D41D}"/>
                </a:ext>
              </a:extLst>
            </p:cNvPr>
            <p:cNvSpPr/>
            <p:nvPr/>
          </p:nvSpPr>
          <p:spPr>
            <a:xfrm flipV="1">
              <a:off x="8006773" y="3567469"/>
              <a:ext cx="123006" cy="4799"/>
            </a:xfrm>
            <a:custGeom>
              <a:avLst/>
              <a:gdLst>
                <a:gd name="connsiteX0" fmla="*/ 120934 w 123006"/>
                <a:gd name="connsiteY0" fmla="*/ -1391 h 4799"/>
                <a:gd name="connsiteX1" fmla="*/ -2073 w 123006"/>
                <a:gd name="connsiteY1" fmla="*/ -1391 h 4799"/>
                <a:gd name="connsiteX2" fmla="*/ -2073 w 123006"/>
                <a:gd name="connsiteY2" fmla="*/ 3408 h 4799"/>
                <a:gd name="connsiteX3" fmla="*/ 120934 w 123006"/>
                <a:gd name="connsiteY3" fmla="*/ 3408 h 4799"/>
                <a:gd name="connsiteX4" fmla="*/ 120934 w 123006"/>
                <a:gd name="connsiteY4" fmla="*/ -1391 h 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006" h="4799">
                  <a:moveTo>
                    <a:pt x="120934" y="-1391"/>
                  </a:moveTo>
                  <a:lnTo>
                    <a:pt x="-2073" y="-1391"/>
                  </a:lnTo>
                  <a:lnTo>
                    <a:pt x="-2073" y="3408"/>
                  </a:lnTo>
                  <a:lnTo>
                    <a:pt x="120934" y="3408"/>
                  </a:lnTo>
                  <a:lnTo>
                    <a:pt x="120934" y="-1391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DC5A66D7-456D-88DA-5AD7-A198D8973422}"/>
                </a:ext>
              </a:extLst>
            </p:cNvPr>
            <p:cNvSpPr/>
            <p:nvPr/>
          </p:nvSpPr>
          <p:spPr>
            <a:xfrm flipV="1">
              <a:off x="8006773" y="3582827"/>
              <a:ext cx="105363" cy="4799"/>
            </a:xfrm>
            <a:custGeom>
              <a:avLst/>
              <a:gdLst>
                <a:gd name="connsiteX0" fmla="*/ 103302 w 105363"/>
                <a:gd name="connsiteY0" fmla="*/ -1366 h 4799"/>
                <a:gd name="connsiteX1" fmla="*/ -2062 w 105363"/>
                <a:gd name="connsiteY1" fmla="*/ -1366 h 4799"/>
                <a:gd name="connsiteX2" fmla="*/ -2062 w 105363"/>
                <a:gd name="connsiteY2" fmla="*/ 3433 h 4799"/>
                <a:gd name="connsiteX3" fmla="*/ 103302 w 105363"/>
                <a:gd name="connsiteY3" fmla="*/ 3433 h 4799"/>
                <a:gd name="connsiteX4" fmla="*/ 103302 w 105363"/>
                <a:gd name="connsiteY4" fmla="*/ -1366 h 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363" h="4799">
                  <a:moveTo>
                    <a:pt x="103302" y="-1366"/>
                  </a:moveTo>
                  <a:lnTo>
                    <a:pt x="-2062" y="-1366"/>
                  </a:lnTo>
                  <a:lnTo>
                    <a:pt x="-2062" y="3433"/>
                  </a:lnTo>
                  <a:lnTo>
                    <a:pt x="103302" y="3433"/>
                  </a:lnTo>
                  <a:lnTo>
                    <a:pt x="103302" y="-1366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44FD0E1A-51B5-43F5-8BAB-E4F057B757F1}"/>
                </a:ext>
              </a:extLst>
            </p:cNvPr>
            <p:cNvSpPr/>
            <p:nvPr/>
          </p:nvSpPr>
          <p:spPr>
            <a:xfrm flipV="1">
              <a:off x="8006773" y="3747936"/>
              <a:ext cx="128199" cy="4806"/>
            </a:xfrm>
            <a:custGeom>
              <a:avLst/>
              <a:gdLst>
                <a:gd name="connsiteX0" fmla="*/ 126124 w 128199"/>
                <a:gd name="connsiteY0" fmla="*/ -1095 h 4806"/>
                <a:gd name="connsiteX1" fmla="*/ -2076 w 128199"/>
                <a:gd name="connsiteY1" fmla="*/ -1095 h 4806"/>
                <a:gd name="connsiteX2" fmla="*/ -2076 w 128199"/>
                <a:gd name="connsiteY2" fmla="*/ 3711 h 4806"/>
                <a:gd name="connsiteX3" fmla="*/ 126124 w 128199"/>
                <a:gd name="connsiteY3" fmla="*/ 3711 h 4806"/>
                <a:gd name="connsiteX4" fmla="*/ 126124 w 128199"/>
                <a:gd name="connsiteY4" fmla="*/ -1095 h 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199" h="4806">
                  <a:moveTo>
                    <a:pt x="126124" y="-1095"/>
                  </a:moveTo>
                  <a:lnTo>
                    <a:pt x="-2076" y="-1095"/>
                  </a:lnTo>
                  <a:lnTo>
                    <a:pt x="-2076" y="3711"/>
                  </a:lnTo>
                  <a:lnTo>
                    <a:pt x="126124" y="3711"/>
                  </a:lnTo>
                  <a:lnTo>
                    <a:pt x="126124" y="-1095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67AEF420-EDBB-494C-E0D0-524D58DFBDCA}"/>
                </a:ext>
              </a:extLst>
            </p:cNvPr>
            <p:cNvSpPr/>
            <p:nvPr/>
          </p:nvSpPr>
          <p:spPr>
            <a:xfrm flipV="1">
              <a:off x="8006773" y="3763308"/>
              <a:ext cx="86670" cy="4799"/>
            </a:xfrm>
            <a:custGeom>
              <a:avLst/>
              <a:gdLst>
                <a:gd name="connsiteX0" fmla="*/ 84620 w 86670"/>
                <a:gd name="connsiteY0" fmla="*/ -1070 h 4799"/>
                <a:gd name="connsiteX1" fmla="*/ -2050 w 86670"/>
                <a:gd name="connsiteY1" fmla="*/ -1070 h 4799"/>
                <a:gd name="connsiteX2" fmla="*/ -2050 w 86670"/>
                <a:gd name="connsiteY2" fmla="*/ 3730 h 4799"/>
                <a:gd name="connsiteX3" fmla="*/ 84620 w 86670"/>
                <a:gd name="connsiteY3" fmla="*/ 3730 h 4799"/>
                <a:gd name="connsiteX4" fmla="*/ 84620 w 86670"/>
                <a:gd name="connsiteY4" fmla="*/ -1070 h 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670" h="4799">
                  <a:moveTo>
                    <a:pt x="84620" y="-1070"/>
                  </a:moveTo>
                  <a:lnTo>
                    <a:pt x="-2050" y="-1070"/>
                  </a:lnTo>
                  <a:lnTo>
                    <a:pt x="-2050" y="3730"/>
                  </a:lnTo>
                  <a:lnTo>
                    <a:pt x="84620" y="3730"/>
                  </a:lnTo>
                  <a:lnTo>
                    <a:pt x="84620" y="-1070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3052987C-84D7-1233-51FA-47E415CF9A7B}"/>
                </a:ext>
              </a:extLst>
            </p:cNvPr>
            <p:cNvSpPr/>
            <p:nvPr/>
          </p:nvSpPr>
          <p:spPr>
            <a:xfrm flipV="1">
              <a:off x="8006773" y="3778679"/>
              <a:ext cx="117820" cy="4799"/>
            </a:xfrm>
            <a:custGeom>
              <a:avLst/>
              <a:gdLst>
                <a:gd name="connsiteX0" fmla="*/ 115751 w 117820"/>
                <a:gd name="connsiteY0" fmla="*/ -1045 h 4799"/>
                <a:gd name="connsiteX1" fmla="*/ -2070 w 117820"/>
                <a:gd name="connsiteY1" fmla="*/ -1045 h 4799"/>
                <a:gd name="connsiteX2" fmla="*/ -2070 w 117820"/>
                <a:gd name="connsiteY2" fmla="*/ 3755 h 4799"/>
                <a:gd name="connsiteX3" fmla="*/ 115751 w 117820"/>
                <a:gd name="connsiteY3" fmla="*/ 3755 h 4799"/>
                <a:gd name="connsiteX4" fmla="*/ 115751 w 117820"/>
                <a:gd name="connsiteY4" fmla="*/ -1045 h 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820" h="4799">
                  <a:moveTo>
                    <a:pt x="115751" y="-1045"/>
                  </a:moveTo>
                  <a:lnTo>
                    <a:pt x="-2070" y="-1045"/>
                  </a:lnTo>
                  <a:lnTo>
                    <a:pt x="-2070" y="3755"/>
                  </a:lnTo>
                  <a:lnTo>
                    <a:pt x="115751" y="3755"/>
                  </a:lnTo>
                  <a:lnTo>
                    <a:pt x="115751" y="-1045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8BD5683D-A09B-4146-2BA2-12AC5BC8E2A3}"/>
                </a:ext>
              </a:extLst>
            </p:cNvPr>
            <p:cNvSpPr/>
            <p:nvPr/>
          </p:nvSpPr>
          <p:spPr>
            <a:xfrm flipV="1">
              <a:off x="8006773" y="3794044"/>
              <a:ext cx="128199" cy="4792"/>
            </a:xfrm>
            <a:custGeom>
              <a:avLst/>
              <a:gdLst>
                <a:gd name="connsiteX0" fmla="*/ 126124 w 128199"/>
                <a:gd name="connsiteY0" fmla="*/ -1019 h 4792"/>
                <a:gd name="connsiteX1" fmla="*/ -2076 w 128199"/>
                <a:gd name="connsiteY1" fmla="*/ -1019 h 4792"/>
                <a:gd name="connsiteX2" fmla="*/ -2076 w 128199"/>
                <a:gd name="connsiteY2" fmla="*/ 3773 h 4792"/>
                <a:gd name="connsiteX3" fmla="*/ 126124 w 128199"/>
                <a:gd name="connsiteY3" fmla="*/ 3773 h 4792"/>
                <a:gd name="connsiteX4" fmla="*/ 126124 w 128199"/>
                <a:gd name="connsiteY4" fmla="*/ -1019 h 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199" h="4792">
                  <a:moveTo>
                    <a:pt x="126124" y="-1019"/>
                  </a:moveTo>
                  <a:lnTo>
                    <a:pt x="-2076" y="-1019"/>
                  </a:lnTo>
                  <a:lnTo>
                    <a:pt x="-2076" y="3773"/>
                  </a:lnTo>
                  <a:lnTo>
                    <a:pt x="126124" y="3773"/>
                  </a:lnTo>
                  <a:lnTo>
                    <a:pt x="126124" y="-1019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6A8FA5D7-315D-8A3E-A325-CB5A7CFF3CB4}"/>
                </a:ext>
              </a:extLst>
            </p:cNvPr>
            <p:cNvSpPr/>
            <p:nvPr/>
          </p:nvSpPr>
          <p:spPr>
            <a:xfrm flipV="1">
              <a:off x="8006773" y="3809416"/>
              <a:ext cx="141990" cy="4799"/>
            </a:xfrm>
            <a:custGeom>
              <a:avLst/>
              <a:gdLst>
                <a:gd name="connsiteX0" fmla="*/ 139905 w 141990"/>
                <a:gd name="connsiteY0" fmla="*/ -994 h 4799"/>
                <a:gd name="connsiteX1" fmla="*/ -2085 w 141990"/>
                <a:gd name="connsiteY1" fmla="*/ -994 h 4799"/>
                <a:gd name="connsiteX2" fmla="*/ -2085 w 141990"/>
                <a:gd name="connsiteY2" fmla="*/ 3805 h 4799"/>
                <a:gd name="connsiteX3" fmla="*/ 139905 w 141990"/>
                <a:gd name="connsiteY3" fmla="*/ 3805 h 4799"/>
                <a:gd name="connsiteX4" fmla="*/ 139905 w 141990"/>
                <a:gd name="connsiteY4" fmla="*/ -994 h 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90" h="4799">
                  <a:moveTo>
                    <a:pt x="139905" y="-994"/>
                  </a:moveTo>
                  <a:lnTo>
                    <a:pt x="-2085" y="-994"/>
                  </a:lnTo>
                  <a:lnTo>
                    <a:pt x="-2085" y="3805"/>
                  </a:lnTo>
                  <a:lnTo>
                    <a:pt x="139905" y="3805"/>
                  </a:lnTo>
                  <a:lnTo>
                    <a:pt x="139905" y="-994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46849BF9-E8A0-70B1-CE76-3AB05672AA2D}"/>
                </a:ext>
              </a:extLst>
            </p:cNvPr>
            <p:cNvSpPr/>
            <p:nvPr/>
          </p:nvSpPr>
          <p:spPr>
            <a:xfrm flipV="1">
              <a:off x="8006773" y="3824773"/>
              <a:ext cx="105363" cy="4806"/>
            </a:xfrm>
            <a:custGeom>
              <a:avLst/>
              <a:gdLst>
                <a:gd name="connsiteX0" fmla="*/ 103302 w 105363"/>
                <a:gd name="connsiteY0" fmla="*/ -969 h 4806"/>
                <a:gd name="connsiteX1" fmla="*/ -2062 w 105363"/>
                <a:gd name="connsiteY1" fmla="*/ -969 h 4806"/>
                <a:gd name="connsiteX2" fmla="*/ -2062 w 105363"/>
                <a:gd name="connsiteY2" fmla="*/ 3837 h 4806"/>
                <a:gd name="connsiteX3" fmla="*/ 103302 w 105363"/>
                <a:gd name="connsiteY3" fmla="*/ 3837 h 4806"/>
                <a:gd name="connsiteX4" fmla="*/ 103302 w 105363"/>
                <a:gd name="connsiteY4" fmla="*/ -969 h 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363" h="4806">
                  <a:moveTo>
                    <a:pt x="103302" y="-969"/>
                  </a:moveTo>
                  <a:lnTo>
                    <a:pt x="-2062" y="-969"/>
                  </a:lnTo>
                  <a:lnTo>
                    <a:pt x="-2062" y="3837"/>
                  </a:lnTo>
                  <a:lnTo>
                    <a:pt x="103302" y="3837"/>
                  </a:lnTo>
                  <a:lnTo>
                    <a:pt x="103302" y="-969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E1CDB0C4-50AF-641F-D6C3-9F7474090CFE}"/>
                </a:ext>
              </a:extLst>
            </p:cNvPr>
            <p:cNvSpPr/>
            <p:nvPr/>
          </p:nvSpPr>
          <p:spPr>
            <a:xfrm flipV="1">
              <a:off x="8006773" y="3978061"/>
              <a:ext cx="107435" cy="4799"/>
            </a:xfrm>
            <a:custGeom>
              <a:avLst/>
              <a:gdLst>
                <a:gd name="connsiteX0" fmla="*/ 105372 w 107435"/>
                <a:gd name="connsiteY0" fmla="*/ -717 h 4799"/>
                <a:gd name="connsiteX1" fmla="*/ -2063 w 107435"/>
                <a:gd name="connsiteY1" fmla="*/ -717 h 4799"/>
                <a:gd name="connsiteX2" fmla="*/ -2063 w 107435"/>
                <a:gd name="connsiteY2" fmla="*/ 4082 h 4799"/>
                <a:gd name="connsiteX3" fmla="*/ 105372 w 107435"/>
                <a:gd name="connsiteY3" fmla="*/ 4082 h 4799"/>
                <a:gd name="connsiteX4" fmla="*/ 105372 w 107435"/>
                <a:gd name="connsiteY4" fmla="*/ -717 h 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435" h="4799">
                  <a:moveTo>
                    <a:pt x="105372" y="-717"/>
                  </a:moveTo>
                  <a:lnTo>
                    <a:pt x="-2063" y="-717"/>
                  </a:lnTo>
                  <a:lnTo>
                    <a:pt x="-2063" y="4082"/>
                  </a:lnTo>
                  <a:lnTo>
                    <a:pt x="105372" y="4082"/>
                  </a:lnTo>
                  <a:lnTo>
                    <a:pt x="105372" y="-717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AFCCEDAD-4338-042F-4A80-614C3D4FC4A8}"/>
                </a:ext>
              </a:extLst>
            </p:cNvPr>
            <p:cNvSpPr/>
            <p:nvPr/>
          </p:nvSpPr>
          <p:spPr>
            <a:xfrm flipV="1">
              <a:off x="8006773" y="3993425"/>
              <a:ext cx="141990" cy="4792"/>
            </a:xfrm>
            <a:custGeom>
              <a:avLst/>
              <a:gdLst>
                <a:gd name="connsiteX0" fmla="*/ 139905 w 141990"/>
                <a:gd name="connsiteY0" fmla="*/ -692 h 4792"/>
                <a:gd name="connsiteX1" fmla="*/ -2085 w 141990"/>
                <a:gd name="connsiteY1" fmla="*/ -692 h 4792"/>
                <a:gd name="connsiteX2" fmla="*/ -2085 w 141990"/>
                <a:gd name="connsiteY2" fmla="*/ 4100 h 4792"/>
                <a:gd name="connsiteX3" fmla="*/ 139905 w 141990"/>
                <a:gd name="connsiteY3" fmla="*/ 4100 h 4792"/>
                <a:gd name="connsiteX4" fmla="*/ 139905 w 141990"/>
                <a:gd name="connsiteY4" fmla="*/ -692 h 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90" h="4792">
                  <a:moveTo>
                    <a:pt x="139905" y="-692"/>
                  </a:moveTo>
                  <a:lnTo>
                    <a:pt x="-2085" y="-692"/>
                  </a:lnTo>
                  <a:lnTo>
                    <a:pt x="-2085" y="4100"/>
                  </a:lnTo>
                  <a:lnTo>
                    <a:pt x="139905" y="4100"/>
                  </a:lnTo>
                  <a:lnTo>
                    <a:pt x="139905" y="-692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57A00474-04B5-D013-FE51-BF8064DB4396}"/>
                </a:ext>
              </a:extLst>
            </p:cNvPr>
            <p:cNvSpPr/>
            <p:nvPr/>
          </p:nvSpPr>
          <p:spPr>
            <a:xfrm flipV="1">
              <a:off x="8006773" y="4008790"/>
              <a:ext cx="89729" cy="4799"/>
            </a:xfrm>
            <a:custGeom>
              <a:avLst/>
              <a:gdLst>
                <a:gd name="connsiteX0" fmla="*/ 87678 w 89729"/>
                <a:gd name="connsiteY0" fmla="*/ -667 h 4799"/>
                <a:gd name="connsiteX1" fmla="*/ -2052 w 89729"/>
                <a:gd name="connsiteY1" fmla="*/ -667 h 4799"/>
                <a:gd name="connsiteX2" fmla="*/ -2052 w 89729"/>
                <a:gd name="connsiteY2" fmla="*/ 4132 h 4799"/>
                <a:gd name="connsiteX3" fmla="*/ 87678 w 89729"/>
                <a:gd name="connsiteY3" fmla="*/ 4132 h 4799"/>
                <a:gd name="connsiteX4" fmla="*/ 87678 w 89729"/>
                <a:gd name="connsiteY4" fmla="*/ -667 h 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729" h="4799">
                  <a:moveTo>
                    <a:pt x="87678" y="-667"/>
                  </a:moveTo>
                  <a:lnTo>
                    <a:pt x="-2052" y="-667"/>
                  </a:lnTo>
                  <a:lnTo>
                    <a:pt x="-2052" y="4132"/>
                  </a:lnTo>
                  <a:lnTo>
                    <a:pt x="87678" y="4132"/>
                  </a:lnTo>
                  <a:lnTo>
                    <a:pt x="87678" y="-667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D7AAF1AA-C2B3-0773-9D84-43BF9E785272}"/>
                </a:ext>
              </a:extLst>
            </p:cNvPr>
            <p:cNvSpPr/>
            <p:nvPr/>
          </p:nvSpPr>
          <p:spPr>
            <a:xfrm flipV="1">
              <a:off x="8006773" y="4024155"/>
              <a:ext cx="141990" cy="4806"/>
            </a:xfrm>
            <a:custGeom>
              <a:avLst/>
              <a:gdLst>
                <a:gd name="connsiteX0" fmla="*/ 139905 w 141990"/>
                <a:gd name="connsiteY0" fmla="*/ -642 h 4806"/>
                <a:gd name="connsiteX1" fmla="*/ -2085 w 141990"/>
                <a:gd name="connsiteY1" fmla="*/ -642 h 4806"/>
                <a:gd name="connsiteX2" fmla="*/ -2085 w 141990"/>
                <a:gd name="connsiteY2" fmla="*/ 4165 h 4806"/>
                <a:gd name="connsiteX3" fmla="*/ 139905 w 141990"/>
                <a:gd name="connsiteY3" fmla="*/ 4165 h 4806"/>
                <a:gd name="connsiteX4" fmla="*/ 139905 w 141990"/>
                <a:gd name="connsiteY4" fmla="*/ -642 h 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90" h="4806">
                  <a:moveTo>
                    <a:pt x="139905" y="-642"/>
                  </a:moveTo>
                  <a:lnTo>
                    <a:pt x="-2085" y="-642"/>
                  </a:lnTo>
                  <a:lnTo>
                    <a:pt x="-2085" y="4165"/>
                  </a:lnTo>
                  <a:lnTo>
                    <a:pt x="139905" y="4165"/>
                  </a:lnTo>
                  <a:lnTo>
                    <a:pt x="139905" y="-642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49D6E94C-8369-4838-F373-C010110EC511}"/>
                </a:ext>
              </a:extLst>
            </p:cNvPr>
            <p:cNvSpPr/>
            <p:nvPr/>
          </p:nvSpPr>
          <p:spPr>
            <a:xfrm flipV="1">
              <a:off x="8006773" y="4039526"/>
              <a:ext cx="122661" cy="4799"/>
            </a:xfrm>
            <a:custGeom>
              <a:avLst/>
              <a:gdLst>
                <a:gd name="connsiteX0" fmla="*/ 120589 w 122661"/>
                <a:gd name="connsiteY0" fmla="*/ -616 h 4799"/>
                <a:gd name="connsiteX1" fmla="*/ -2073 w 122661"/>
                <a:gd name="connsiteY1" fmla="*/ -616 h 4799"/>
                <a:gd name="connsiteX2" fmla="*/ -2073 w 122661"/>
                <a:gd name="connsiteY2" fmla="*/ 4183 h 4799"/>
                <a:gd name="connsiteX3" fmla="*/ 120589 w 122661"/>
                <a:gd name="connsiteY3" fmla="*/ 4183 h 4799"/>
                <a:gd name="connsiteX4" fmla="*/ 120589 w 122661"/>
                <a:gd name="connsiteY4" fmla="*/ -616 h 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661" h="4799">
                  <a:moveTo>
                    <a:pt x="120589" y="-616"/>
                  </a:moveTo>
                  <a:lnTo>
                    <a:pt x="-2073" y="-616"/>
                  </a:lnTo>
                  <a:lnTo>
                    <a:pt x="-2073" y="4183"/>
                  </a:lnTo>
                  <a:lnTo>
                    <a:pt x="120589" y="4183"/>
                  </a:lnTo>
                  <a:lnTo>
                    <a:pt x="120589" y="-616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91FC33A6-ABE5-661F-EAE0-FE43D3111C16}"/>
                </a:ext>
              </a:extLst>
            </p:cNvPr>
            <p:cNvSpPr/>
            <p:nvPr/>
          </p:nvSpPr>
          <p:spPr>
            <a:xfrm flipV="1">
              <a:off x="8006773" y="4054898"/>
              <a:ext cx="75600" cy="4799"/>
            </a:xfrm>
            <a:custGeom>
              <a:avLst/>
              <a:gdLst>
                <a:gd name="connsiteX0" fmla="*/ 73558 w 75600"/>
                <a:gd name="connsiteY0" fmla="*/ -591 h 4799"/>
                <a:gd name="connsiteX1" fmla="*/ -2043 w 75600"/>
                <a:gd name="connsiteY1" fmla="*/ -591 h 4799"/>
                <a:gd name="connsiteX2" fmla="*/ -2043 w 75600"/>
                <a:gd name="connsiteY2" fmla="*/ 4208 h 4799"/>
                <a:gd name="connsiteX3" fmla="*/ 73558 w 75600"/>
                <a:gd name="connsiteY3" fmla="*/ 4208 h 4799"/>
                <a:gd name="connsiteX4" fmla="*/ 73558 w 75600"/>
                <a:gd name="connsiteY4" fmla="*/ -591 h 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600" h="4799">
                  <a:moveTo>
                    <a:pt x="73558" y="-591"/>
                  </a:moveTo>
                  <a:lnTo>
                    <a:pt x="-2043" y="-591"/>
                  </a:lnTo>
                  <a:lnTo>
                    <a:pt x="-2043" y="4208"/>
                  </a:lnTo>
                  <a:lnTo>
                    <a:pt x="73558" y="4208"/>
                  </a:lnTo>
                  <a:lnTo>
                    <a:pt x="73558" y="-591"/>
                  </a:lnTo>
                </a:path>
              </a:pathLst>
            </a:custGeom>
            <a:solidFill>
              <a:srgbClr val="BEBFBD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D42CE661-D790-536E-4602-C58999717F98}"/>
                </a:ext>
              </a:extLst>
            </p:cNvPr>
            <p:cNvSpPr/>
            <p:nvPr/>
          </p:nvSpPr>
          <p:spPr>
            <a:xfrm flipV="1">
              <a:off x="7545150" y="3621076"/>
              <a:ext cx="185273" cy="185273"/>
            </a:xfrm>
            <a:custGeom>
              <a:avLst/>
              <a:gdLst>
                <a:gd name="connsiteX0" fmla="*/ 183741 w 185273"/>
                <a:gd name="connsiteY0" fmla="*/ 91482 h 185273"/>
                <a:gd name="connsiteX1" fmla="*/ 91104 w 185273"/>
                <a:gd name="connsiteY1" fmla="*/ -1155 h 185273"/>
                <a:gd name="connsiteX2" fmla="*/ -1533 w 185273"/>
                <a:gd name="connsiteY2" fmla="*/ 91482 h 185273"/>
                <a:gd name="connsiteX3" fmla="*/ 91104 w 185273"/>
                <a:gd name="connsiteY3" fmla="*/ 184118 h 185273"/>
                <a:gd name="connsiteX4" fmla="*/ 183741 w 185273"/>
                <a:gd name="connsiteY4" fmla="*/ 91482 h 185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273" h="185273">
                  <a:moveTo>
                    <a:pt x="183741" y="91482"/>
                  </a:moveTo>
                  <a:cubicBezTo>
                    <a:pt x="183741" y="40319"/>
                    <a:pt x="142267" y="-1155"/>
                    <a:pt x="91104" y="-1155"/>
                  </a:cubicBezTo>
                  <a:cubicBezTo>
                    <a:pt x="39948" y="-1155"/>
                    <a:pt x="-1533" y="40319"/>
                    <a:pt x="-1533" y="91482"/>
                  </a:cubicBezTo>
                  <a:cubicBezTo>
                    <a:pt x="-1533" y="142644"/>
                    <a:pt x="39948" y="184118"/>
                    <a:pt x="91104" y="184118"/>
                  </a:cubicBezTo>
                  <a:cubicBezTo>
                    <a:pt x="142267" y="184118"/>
                    <a:pt x="183741" y="142644"/>
                    <a:pt x="183741" y="91482"/>
                  </a:cubicBezTo>
                </a:path>
              </a:pathLst>
            </a:custGeom>
            <a:solidFill>
              <a:srgbClr val="FFFFF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9381E0B8-31BD-5F21-D533-34D755379F21}"/>
                </a:ext>
              </a:extLst>
            </p:cNvPr>
            <p:cNvSpPr/>
            <p:nvPr/>
          </p:nvSpPr>
          <p:spPr>
            <a:xfrm flipV="1">
              <a:off x="9390614" y="3447432"/>
              <a:ext cx="82739" cy="130844"/>
            </a:xfrm>
            <a:custGeom>
              <a:avLst/>
              <a:gdLst>
                <a:gd name="connsiteX0" fmla="*/ -2356 w 82739"/>
                <a:gd name="connsiteY0" fmla="*/ 6553 h 130844"/>
                <a:gd name="connsiteX1" fmla="*/ 58771 w 82739"/>
                <a:gd name="connsiteY1" fmla="*/ 61693 h 130844"/>
                <a:gd name="connsiteX2" fmla="*/ 69985 w 82739"/>
                <a:gd name="connsiteY2" fmla="*/ 86739 h 130844"/>
                <a:gd name="connsiteX3" fmla="*/ 61194 w 82739"/>
                <a:gd name="connsiteY3" fmla="*/ 109175 h 130844"/>
                <a:gd name="connsiteX4" fmla="*/ 36335 w 82739"/>
                <a:gd name="connsiteY4" fmla="*/ 120203 h 130844"/>
                <a:gd name="connsiteX5" fmla="*/ 13533 w 82739"/>
                <a:gd name="connsiteY5" fmla="*/ 111606 h 130844"/>
                <a:gd name="connsiteX6" fmla="*/ 7180 w 82739"/>
                <a:gd name="connsiteY6" fmla="*/ 105812 h 130844"/>
                <a:gd name="connsiteX7" fmla="*/ 820 w 82739"/>
                <a:gd name="connsiteY7" fmla="*/ 105992 h 130844"/>
                <a:gd name="connsiteX8" fmla="*/ 1006 w 82739"/>
                <a:gd name="connsiteY8" fmla="*/ 112352 h 130844"/>
                <a:gd name="connsiteX9" fmla="*/ 7359 w 82739"/>
                <a:gd name="connsiteY9" fmla="*/ 118339 h 130844"/>
                <a:gd name="connsiteX10" fmla="*/ 36335 w 82739"/>
                <a:gd name="connsiteY10" fmla="*/ 129360 h 130844"/>
                <a:gd name="connsiteX11" fmla="*/ 67741 w 82739"/>
                <a:gd name="connsiteY11" fmla="*/ 115342 h 130844"/>
                <a:gd name="connsiteX12" fmla="*/ 78955 w 82739"/>
                <a:gd name="connsiteY12" fmla="*/ 86739 h 130844"/>
                <a:gd name="connsiteX13" fmla="*/ 64937 w 82739"/>
                <a:gd name="connsiteY13" fmla="*/ 54967 h 130844"/>
                <a:gd name="connsiteX14" fmla="*/ 12601 w 82739"/>
                <a:gd name="connsiteY14" fmla="*/ 7672 h 130844"/>
                <a:gd name="connsiteX15" fmla="*/ 74467 w 82739"/>
                <a:gd name="connsiteY15" fmla="*/ 7672 h 130844"/>
                <a:gd name="connsiteX16" fmla="*/ 78955 w 82739"/>
                <a:gd name="connsiteY16" fmla="*/ 2997 h 130844"/>
                <a:gd name="connsiteX17" fmla="*/ 74467 w 82739"/>
                <a:gd name="connsiteY17" fmla="*/ -1485 h 130844"/>
                <a:gd name="connsiteX18" fmla="*/ 1566 w 82739"/>
                <a:gd name="connsiteY18" fmla="*/ -1485 h 130844"/>
                <a:gd name="connsiteX19" fmla="*/ 820 w 82739"/>
                <a:gd name="connsiteY19" fmla="*/ -1485 h 130844"/>
                <a:gd name="connsiteX20" fmla="*/ -2543 w 82739"/>
                <a:gd name="connsiteY20" fmla="*/ -180 h 130844"/>
                <a:gd name="connsiteX21" fmla="*/ -2356 w 82739"/>
                <a:gd name="connsiteY21" fmla="*/ 6553 h 130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2739" h="130844">
                  <a:moveTo>
                    <a:pt x="-2356" y="6553"/>
                  </a:moveTo>
                  <a:lnTo>
                    <a:pt x="58771" y="61693"/>
                  </a:lnTo>
                  <a:cubicBezTo>
                    <a:pt x="66056" y="68426"/>
                    <a:pt x="69985" y="77396"/>
                    <a:pt x="69985" y="86739"/>
                  </a:cubicBezTo>
                  <a:cubicBezTo>
                    <a:pt x="69985" y="94777"/>
                    <a:pt x="66995" y="102815"/>
                    <a:pt x="61194" y="109175"/>
                  </a:cubicBezTo>
                  <a:cubicBezTo>
                    <a:pt x="54655" y="116467"/>
                    <a:pt x="45498" y="120203"/>
                    <a:pt x="36335" y="120203"/>
                  </a:cubicBezTo>
                  <a:cubicBezTo>
                    <a:pt x="28110" y="120203"/>
                    <a:pt x="20073" y="117400"/>
                    <a:pt x="13533" y="111606"/>
                  </a:cubicBezTo>
                  <a:lnTo>
                    <a:pt x="7180" y="105812"/>
                  </a:lnTo>
                  <a:cubicBezTo>
                    <a:pt x="5308" y="103941"/>
                    <a:pt x="2319" y="104127"/>
                    <a:pt x="820" y="105992"/>
                  </a:cubicBezTo>
                  <a:cubicBezTo>
                    <a:pt x="-1051" y="107863"/>
                    <a:pt x="-858" y="110860"/>
                    <a:pt x="1006" y="112352"/>
                  </a:cubicBezTo>
                  <a:lnTo>
                    <a:pt x="7359" y="118339"/>
                  </a:lnTo>
                  <a:cubicBezTo>
                    <a:pt x="15591" y="125624"/>
                    <a:pt x="26052" y="129360"/>
                    <a:pt x="36335" y="129360"/>
                  </a:cubicBezTo>
                  <a:cubicBezTo>
                    <a:pt x="47743" y="129360"/>
                    <a:pt x="59330" y="124878"/>
                    <a:pt x="67741" y="115342"/>
                  </a:cubicBezTo>
                  <a:cubicBezTo>
                    <a:pt x="75406" y="107124"/>
                    <a:pt x="78955" y="96835"/>
                    <a:pt x="78955" y="86739"/>
                  </a:cubicBezTo>
                  <a:cubicBezTo>
                    <a:pt x="78955" y="75159"/>
                    <a:pt x="74287" y="63565"/>
                    <a:pt x="64937" y="54967"/>
                  </a:cubicBezTo>
                  <a:lnTo>
                    <a:pt x="12601" y="7672"/>
                  </a:lnTo>
                  <a:lnTo>
                    <a:pt x="74467" y="7672"/>
                  </a:lnTo>
                  <a:cubicBezTo>
                    <a:pt x="76904" y="7672"/>
                    <a:pt x="78955" y="5614"/>
                    <a:pt x="78955" y="2997"/>
                  </a:cubicBezTo>
                  <a:cubicBezTo>
                    <a:pt x="78955" y="573"/>
                    <a:pt x="76904" y="-1485"/>
                    <a:pt x="74467" y="-1485"/>
                  </a:cubicBezTo>
                  <a:lnTo>
                    <a:pt x="1566" y="-1485"/>
                  </a:lnTo>
                  <a:lnTo>
                    <a:pt x="820" y="-1485"/>
                  </a:lnTo>
                  <a:cubicBezTo>
                    <a:pt x="-492" y="-1485"/>
                    <a:pt x="-1797" y="-1112"/>
                    <a:pt x="-2543" y="-180"/>
                  </a:cubicBezTo>
                  <a:cubicBezTo>
                    <a:pt x="-4228" y="1878"/>
                    <a:pt x="-4228" y="4689"/>
                    <a:pt x="-2356" y="6553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357A03E0-5270-F3CE-7327-B3A015D949FD}"/>
                </a:ext>
              </a:extLst>
            </p:cNvPr>
            <p:cNvSpPr/>
            <p:nvPr/>
          </p:nvSpPr>
          <p:spPr>
            <a:xfrm flipV="1">
              <a:off x="9495981" y="3447978"/>
              <a:ext cx="98515" cy="130298"/>
            </a:xfrm>
            <a:custGeom>
              <a:avLst/>
              <a:gdLst>
                <a:gd name="connsiteX0" fmla="*/ 71974 w 98515"/>
                <a:gd name="connsiteY0" fmla="*/ 34403 h 130298"/>
                <a:gd name="connsiteX1" fmla="*/ 71974 w 98515"/>
                <a:gd name="connsiteY1" fmla="*/ 111047 h 130298"/>
                <a:gd name="connsiteX2" fmla="*/ 10108 w 98515"/>
                <a:gd name="connsiteY2" fmla="*/ 34403 h 130298"/>
                <a:gd name="connsiteX3" fmla="*/ 71974 w 98515"/>
                <a:gd name="connsiteY3" fmla="*/ 25433 h 130298"/>
                <a:gd name="connsiteX4" fmla="*/ 1131 w 98515"/>
                <a:gd name="connsiteY4" fmla="*/ 25433 h 130298"/>
                <a:gd name="connsiteX5" fmla="*/ 944 w 98515"/>
                <a:gd name="connsiteY5" fmla="*/ 25433 h 130298"/>
                <a:gd name="connsiteX6" fmla="*/ 571 w 98515"/>
                <a:gd name="connsiteY6" fmla="*/ 25433 h 130298"/>
                <a:gd name="connsiteX7" fmla="*/ -2232 w 98515"/>
                <a:gd name="connsiteY7" fmla="*/ 26365 h 130298"/>
                <a:gd name="connsiteX8" fmla="*/ -2792 w 98515"/>
                <a:gd name="connsiteY8" fmla="*/ 32725 h 130298"/>
                <a:gd name="connsiteX9" fmla="*/ 72913 w 98515"/>
                <a:gd name="connsiteY9" fmla="*/ 126936 h 130298"/>
                <a:gd name="connsiteX10" fmla="*/ 73099 w 98515"/>
                <a:gd name="connsiteY10" fmla="*/ 127116 h 130298"/>
                <a:gd name="connsiteX11" fmla="*/ 79452 w 98515"/>
                <a:gd name="connsiteY11" fmla="*/ 127682 h 130298"/>
                <a:gd name="connsiteX12" fmla="*/ 80951 w 98515"/>
                <a:gd name="connsiteY12" fmla="*/ 125438 h 130298"/>
                <a:gd name="connsiteX13" fmla="*/ 81137 w 98515"/>
                <a:gd name="connsiteY13" fmla="*/ 124685 h 130298"/>
                <a:gd name="connsiteX14" fmla="*/ 81137 w 98515"/>
                <a:gd name="connsiteY14" fmla="*/ 124126 h 130298"/>
                <a:gd name="connsiteX15" fmla="*/ 81137 w 98515"/>
                <a:gd name="connsiteY15" fmla="*/ 34403 h 130298"/>
                <a:gd name="connsiteX16" fmla="*/ 89921 w 98515"/>
                <a:gd name="connsiteY16" fmla="*/ 34403 h 130298"/>
                <a:gd name="connsiteX17" fmla="*/ 94589 w 98515"/>
                <a:gd name="connsiteY17" fmla="*/ 29922 h 130298"/>
                <a:gd name="connsiteX18" fmla="*/ 89921 w 98515"/>
                <a:gd name="connsiteY18" fmla="*/ 25433 h 130298"/>
                <a:gd name="connsiteX19" fmla="*/ 81137 w 98515"/>
                <a:gd name="connsiteY19" fmla="*/ 25433 h 130298"/>
                <a:gd name="connsiteX20" fmla="*/ 81137 w 98515"/>
                <a:gd name="connsiteY20" fmla="*/ 2997 h 130298"/>
                <a:gd name="connsiteX21" fmla="*/ 76462 w 98515"/>
                <a:gd name="connsiteY21" fmla="*/ -1484 h 130298"/>
                <a:gd name="connsiteX22" fmla="*/ 71974 w 98515"/>
                <a:gd name="connsiteY22" fmla="*/ 2997 h 130298"/>
                <a:gd name="connsiteX23" fmla="*/ 71974 w 98515"/>
                <a:gd name="connsiteY23" fmla="*/ 25433 h 13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8515" h="130298">
                  <a:moveTo>
                    <a:pt x="71974" y="34403"/>
                  </a:moveTo>
                  <a:lnTo>
                    <a:pt x="71974" y="111047"/>
                  </a:lnTo>
                  <a:lnTo>
                    <a:pt x="10108" y="34403"/>
                  </a:lnTo>
                  <a:close/>
                  <a:moveTo>
                    <a:pt x="71974" y="25433"/>
                  </a:moveTo>
                  <a:lnTo>
                    <a:pt x="1131" y="25433"/>
                  </a:lnTo>
                  <a:lnTo>
                    <a:pt x="944" y="25433"/>
                  </a:lnTo>
                  <a:lnTo>
                    <a:pt x="571" y="25433"/>
                  </a:lnTo>
                  <a:cubicBezTo>
                    <a:pt x="-368" y="25433"/>
                    <a:pt x="-1486" y="25620"/>
                    <a:pt x="-2232" y="26365"/>
                  </a:cubicBezTo>
                  <a:cubicBezTo>
                    <a:pt x="-4290" y="27864"/>
                    <a:pt x="-4469" y="30854"/>
                    <a:pt x="-2792" y="32725"/>
                  </a:cubicBezTo>
                  <a:lnTo>
                    <a:pt x="72913" y="126936"/>
                  </a:lnTo>
                  <a:lnTo>
                    <a:pt x="73099" y="127116"/>
                  </a:lnTo>
                  <a:cubicBezTo>
                    <a:pt x="74777" y="129174"/>
                    <a:pt x="77395" y="129360"/>
                    <a:pt x="79452" y="127682"/>
                  </a:cubicBezTo>
                  <a:cubicBezTo>
                    <a:pt x="80198" y="127116"/>
                    <a:pt x="80578" y="126184"/>
                    <a:pt x="80951" y="125438"/>
                  </a:cubicBezTo>
                  <a:lnTo>
                    <a:pt x="81137" y="124685"/>
                  </a:lnTo>
                  <a:lnTo>
                    <a:pt x="81137" y="124126"/>
                  </a:lnTo>
                  <a:lnTo>
                    <a:pt x="81137" y="34403"/>
                  </a:lnTo>
                  <a:lnTo>
                    <a:pt x="89921" y="34403"/>
                  </a:lnTo>
                  <a:cubicBezTo>
                    <a:pt x="92538" y="34403"/>
                    <a:pt x="94589" y="32346"/>
                    <a:pt x="94589" y="29922"/>
                  </a:cubicBezTo>
                  <a:cubicBezTo>
                    <a:pt x="94589" y="27484"/>
                    <a:pt x="92538" y="25433"/>
                    <a:pt x="89921" y="25433"/>
                  </a:cubicBezTo>
                  <a:lnTo>
                    <a:pt x="81137" y="25433"/>
                  </a:lnTo>
                  <a:lnTo>
                    <a:pt x="81137" y="2997"/>
                  </a:lnTo>
                  <a:cubicBezTo>
                    <a:pt x="81137" y="574"/>
                    <a:pt x="79080" y="-1484"/>
                    <a:pt x="76462" y="-1484"/>
                  </a:cubicBezTo>
                  <a:cubicBezTo>
                    <a:pt x="74032" y="-1484"/>
                    <a:pt x="71974" y="574"/>
                    <a:pt x="71974" y="2997"/>
                  </a:cubicBezTo>
                  <a:lnTo>
                    <a:pt x="71974" y="2543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D57636A5-A895-A250-FD3A-D6BEE458AC6E}"/>
                </a:ext>
              </a:extLst>
            </p:cNvPr>
            <p:cNvSpPr/>
            <p:nvPr/>
          </p:nvSpPr>
          <p:spPr>
            <a:xfrm flipV="1">
              <a:off x="9869299" y="3301285"/>
              <a:ext cx="101040" cy="244908"/>
            </a:xfrm>
            <a:custGeom>
              <a:avLst/>
              <a:gdLst>
                <a:gd name="connsiteX0" fmla="*/ 96644 w 101040"/>
                <a:gd name="connsiteY0" fmla="*/ 243278 h 244908"/>
                <a:gd name="connsiteX1" fmla="*/ -4397 w 101040"/>
                <a:gd name="connsiteY1" fmla="*/ 243278 h 244908"/>
                <a:gd name="connsiteX2" fmla="*/ -4397 w 101040"/>
                <a:gd name="connsiteY2" fmla="*/ -1631 h 244908"/>
                <a:gd name="connsiteX3" fmla="*/ 96644 w 101040"/>
                <a:gd name="connsiteY3" fmla="*/ -1631 h 244908"/>
                <a:gd name="connsiteX4" fmla="*/ 96644 w 101040"/>
                <a:gd name="connsiteY4" fmla="*/ 243278 h 244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040" h="244908">
                  <a:moveTo>
                    <a:pt x="96644" y="243278"/>
                  </a:moveTo>
                  <a:lnTo>
                    <a:pt x="-4397" y="243278"/>
                  </a:lnTo>
                  <a:lnTo>
                    <a:pt x="-4397" y="-1631"/>
                  </a:lnTo>
                  <a:lnTo>
                    <a:pt x="96644" y="-1631"/>
                  </a:lnTo>
                  <a:lnTo>
                    <a:pt x="96644" y="24327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3E24E464-A884-4AB0-36D2-C62FBD6C09CA}"/>
                </a:ext>
              </a:extLst>
            </p:cNvPr>
            <p:cNvSpPr/>
            <p:nvPr/>
          </p:nvSpPr>
          <p:spPr>
            <a:xfrm flipV="1">
              <a:off x="9869299" y="3359214"/>
              <a:ext cx="101040" cy="186979"/>
            </a:xfrm>
            <a:custGeom>
              <a:avLst/>
              <a:gdLst>
                <a:gd name="connsiteX0" fmla="*/ 96644 w 101040"/>
                <a:gd name="connsiteY0" fmla="*/ 185396 h 186979"/>
                <a:gd name="connsiteX1" fmla="*/ -4397 w 101040"/>
                <a:gd name="connsiteY1" fmla="*/ 185396 h 186979"/>
                <a:gd name="connsiteX2" fmla="*/ -4397 w 101040"/>
                <a:gd name="connsiteY2" fmla="*/ -1583 h 186979"/>
                <a:gd name="connsiteX3" fmla="*/ 96644 w 101040"/>
                <a:gd name="connsiteY3" fmla="*/ -1583 h 186979"/>
                <a:gd name="connsiteX4" fmla="*/ 96644 w 101040"/>
                <a:gd name="connsiteY4" fmla="*/ 185396 h 186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040" h="186979">
                  <a:moveTo>
                    <a:pt x="96644" y="185396"/>
                  </a:moveTo>
                  <a:lnTo>
                    <a:pt x="-4397" y="185396"/>
                  </a:lnTo>
                  <a:lnTo>
                    <a:pt x="-4397" y="-1583"/>
                  </a:lnTo>
                  <a:lnTo>
                    <a:pt x="96644" y="-1583"/>
                  </a:lnTo>
                  <a:lnTo>
                    <a:pt x="96644" y="18539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021A62B1-CE9C-78AD-DD37-92B7B86E7407}"/>
                </a:ext>
              </a:extLst>
            </p:cNvPr>
            <p:cNvSpPr/>
            <p:nvPr/>
          </p:nvSpPr>
          <p:spPr>
            <a:xfrm flipV="1">
              <a:off x="10012249" y="3301285"/>
              <a:ext cx="101040" cy="244908"/>
            </a:xfrm>
            <a:custGeom>
              <a:avLst/>
              <a:gdLst>
                <a:gd name="connsiteX0" fmla="*/ 96465 w 101040"/>
                <a:gd name="connsiteY0" fmla="*/ 243278 h 244908"/>
                <a:gd name="connsiteX1" fmla="*/ -4576 w 101040"/>
                <a:gd name="connsiteY1" fmla="*/ 243278 h 244908"/>
                <a:gd name="connsiteX2" fmla="*/ -4576 w 101040"/>
                <a:gd name="connsiteY2" fmla="*/ -1631 h 244908"/>
                <a:gd name="connsiteX3" fmla="*/ 96465 w 101040"/>
                <a:gd name="connsiteY3" fmla="*/ -1631 h 244908"/>
                <a:gd name="connsiteX4" fmla="*/ 96465 w 101040"/>
                <a:gd name="connsiteY4" fmla="*/ 243278 h 244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040" h="244908">
                  <a:moveTo>
                    <a:pt x="96465" y="243278"/>
                  </a:moveTo>
                  <a:lnTo>
                    <a:pt x="-4576" y="243278"/>
                  </a:lnTo>
                  <a:lnTo>
                    <a:pt x="-4576" y="-1631"/>
                  </a:lnTo>
                  <a:lnTo>
                    <a:pt x="96465" y="-1631"/>
                  </a:lnTo>
                  <a:lnTo>
                    <a:pt x="96465" y="24327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90E09461-0D49-B5B6-A021-08C4BA535E93}"/>
                </a:ext>
              </a:extLst>
            </p:cNvPr>
            <p:cNvSpPr/>
            <p:nvPr/>
          </p:nvSpPr>
          <p:spPr>
            <a:xfrm flipV="1">
              <a:off x="10012249" y="3410584"/>
              <a:ext cx="101040" cy="135609"/>
            </a:xfrm>
            <a:custGeom>
              <a:avLst/>
              <a:gdLst>
                <a:gd name="connsiteX0" fmla="*/ 96465 w 101040"/>
                <a:gd name="connsiteY0" fmla="*/ 134068 h 135609"/>
                <a:gd name="connsiteX1" fmla="*/ -4576 w 101040"/>
                <a:gd name="connsiteY1" fmla="*/ 134068 h 135609"/>
                <a:gd name="connsiteX2" fmla="*/ -4576 w 101040"/>
                <a:gd name="connsiteY2" fmla="*/ -1541 h 135609"/>
                <a:gd name="connsiteX3" fmla="*/ 96465 w 101040"/>
                <a:gd name="connsiteY3" fmla="*/ -1541 h 135609"/>
                <a:gd name="connsiteX4" fmla="*/ 96465 w 101040"/>
                <a:gd name="connsiteY4" fmla="*/ 134068 h 135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040" h="135609">
                  <a:moveTo>
                    <a:pt x="96465" y="134068"/>
                  </a:moveTo>
                  <a:lnTo>
                    <a:pt x="-4576" y="134068"/>
                  </a:lnTo>
                  <a:lnTo>
                    <a:pt x="-4576" y="-1541"/>
                  </a:lnTo>
                  <a:lnTo>
                    <a:pt x="96465" y="-1541"/>
                  </a:lnTo>
                  <a:lnTo>
                    <a:pt x="96465" y="134068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2582DC20-D99D-FBB9-B5B4-E8CEA6D08A94}"/>
                </a:ext>
              </a:extLst>
            </p:cNvPr>
            <p:cNvSpPr/>
            <p:nvPr/>
          </p:nvSpPr>
          <p:spPr>
            <a:xfrm flipV="1">
              <a:off x="8404178" y="3854660"/>
              <a:ext cx="12879" cy="19321"/>
            </a:xfrm>
            <a:custGeom>
              <a:avLst/>
              <a:gdLst>
                <a:gd name="connsiteX0" fmla="*/ 9898 w 12879"/>
                <a:gd name="connsiteY0" fmla="*/ 604 h 19321"/>
                <a:gd name="connsiteX1" fmla="*/ 8385 w 12879"/>
                <a:gd name="connsiteY1" fmla="*/ -908 h 19321"/>
                <a:gd name="connsiteX2" fmla="*/ -1386 w 12879"/>
                <a:gd name="connsiteY2" fmla="*/ -908 h 19321"/>
                <a:gd name="connsiteX3" fmla="*/ -1413 w 12879"/>
                <a:gd name="connsiteY3" fmla="*/ -908 h 19321"/>
                <a:gd name="connsiteX4" fmla="*/ -1441 w 12879"/>
                <a:gd name="connsiteY4" fmla="*/ -908 h 19321"/>
                <a:gd name="connsiteX5" fmla="*/ -2574 w 12879"/>
                <a:gd name="connsiteY5" fmla="*/ -418 h 19321"/>
                <a:gd name="connsiteX6" fmla="*/ -2498 w 12879"/>
                <a:gd name="connsiteY6" fmla="*/ 1744 h 19321"/>
                <a:gd name="connsiteX7" fmla="*/ 5678 w 12879"/>
                <a:gd name="connsiteY7" fmla="*/ 9139 h 19321"/>
                <a:gd name="connsiteX8" fmla="*/ 6839 w 12879"/>
                <a:gd name="connsiteY8" fmla="*/ 11791 h 19321"/>
                <a:gd name="connsiteX9" fmla="*/ 5927 w 12879"/>
                <a:gd name="connsiteY9" fmla="*/ 14187 h 19321"/>
                <a:gd name="connsiteX10" fmla="*/ 3275 w 12879"/>
                <a:gd name="connsiteY10" fmla="*/ 15347 h 19321"/>
                <a:gd name="connsiteX11" fmla="*/ 879 w 12879"/>
                <a:gd name="connsiteY11" fmla="*/ 14436 h 19321"/>
                <a:gd name="connsiteX12" fmla="*/ 23 w 12879"/>
                <a:gd name="connsiteY12" fmla="*/ 13663 h 19321"/>
                <a:gd name="connsiteX13" fmla="*/ -2138 w 12879"/>
                <a:gd name="connsiteY13" fmla="*/ 13780 h 19321"/>
                <a:gd name="connsiteX14" fmla="*/ -2021 w 12879"/>
                <a:gd name="connsiteY14" fmla="*/ 15928 h 19321"/>
                <a:gd name="connsiteX15" fmla="*/ -1165 w 12879"/>
                <a:gd name="connsiteY15" fmla="*/ 16708 h 19321"/>
                <a:gd name="connsiteX16" fmla="*/ 3275 w 12879"/>
                <a:gd name="connsiteY16" fmla="*/ 18414 h 19321"/>
                <a:gd name="connsiteX17" fmla="*/ 8185 w 12879"/>
                <a:gd name="connsiteY17" fmla="*/ 16231 h 19321"/>
                <a:gd name="connsiteX18" fmla="*/ 9898 w 12879"/>
                <a:gd name="connsiteY18" fmla="*/ 11791 h 19321"/>
                <a:gd name="connsiteX19" fmla="*/ 7723 w 12879"/>
                <a:gd name="connsiteY19" fmla="*/ 6875 h 19321"/>
                <a:gd name="connsiteX20" fmla="*/ 2502 w 12879"/>
                <a:gd name="connsiteY20" fmla="*/ 2151 h 19321"/>
                <a:gd name="connsiteX21" fmla="*/ 8385 w 12879"/>
                <a:gd name="connsiteY21" fmla="*/ 2151 h 19321"/>
                <a:gd name="connsiteX22" fmla="*/ 9898 w 12879"/>
                <a:gd name="connsiteY22" fmla="*/ 604 h 19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879" h="19321">
                  <a:moveTo>
                    <a:pt x="9898" y="604"/>
                  </a:moveTo>
                  <a:cubicBezTo>
                    <a:pt x="9898" y="-252"/>
                    <a:pt x="9242" y="-908"/>
                    <a:pt x="8385" y="-908"/>
                  </a:cubicBezTo>
                  <a:lnTo>
                    <a:pt x="-1386" y="-908"/>
                  </a:lnTo>
                  <a:lnTo>
                    <a:pt x="-1413" y="-908"/>
                  </a:lnTo>
                  <a:lnTo>
                    <a:pt x="-1441" y="-908"/>
                  </a:lnTo>
                  <a:lnTo>
                    <a:pt x="-2574" y="-418"/>
                  </a:lnTo>
                  <a:cubicBezTo>
                    <a:pt x="-3153" y="225"/>
                    <a:pt x="-3105" y="1164"/>
                    <a:pt x="-2498" y="1744"/>
                  </a:cubicBezTo>
                  <a:lnTo>
                    <a:pt x="5678" y="9139"/>
                  </a:lnTo>
                  <a:cubicBezTo>
                    <a:pt x="6480" y="9851"/>
                    <a:pt x="6839" y="10790"/>
                    <a:pt x="6839" y="11791"/>
                  </a:cubicBezTo>
                  <a:cubicBezTo>
                    <a:pt x="6839" y="12675"/>
                    <a:pt x="6535" y="13504"/>
                    <a:pt x="5927" y="14187"/>
                  </a:cubicBezTo>
                  <a:cubicBezTo>
                    <a:pt x="5209" y="14988"/>
                    <a:pt x="4242" y="15347"/>
                    <a:pt x="3275" y="15347"/>
                  </a:cubicBezTo>
                  <a:cubicBezTo>
                    <a:pt x="2419" y="15347"/>
                    <a:pt x="1563" y="15044"/>
                    <a:pt x="879" y="14436"/>
                  </a:cubicBezTo>
                  <a:lnTo>
                    <a:pt x="23" y="13663"/>
                  </a:lnTo>
                  <a:cubicBezTo>
                    <a:pt x="-612" y="13083"/>
                    <a:pt x="-1558" y="13138"/>
                    <a:pt x="-2138" y="13780"/>
                  </a:cubicBezTo>
                  <a:cubicBezTo>
                    <a:pt x="-2691" y="14408"/>
                    <a:pt x="-2656" y="15347"/>
                    <a:pt x="-2021" y="15928"/>
                  </a:cubicBezTo>
                  <a:lnTo>
                    <a:pt x="-1165" y="16708"/>
                  </a:lnTo>
                  <a:cubicBezTo>
                    <a:pt x="71" y="17854"/>
                    <a:pt x="1701" y="18414"/>
                    <a:pt x="3275" y="18414"/>
                  </a:cubicBezTo>
                  <a:cubicBezTo>
                    <a:pt x="5071" y="18414"/>
                    <a:pt x="6894" y="17668"/>
                    <a:pt x="8185" y="16231"/>
                  </a:cubicBezTo>
                  <a:cubicBezTo>
                    <a:pt x="9345" y="14988"/>
                    <a:pt x="9898" y="13359"/>
                    <a:pt x="9898" y="11791"/>
                  </a:cubicBezTo>
                  <a:cubicBezTo>
                    <a:pt x="9898" y="9996"/>
                    <a:pt x="9159" y="8173"/>
                    <a:pt x="7723" y="6875"/>
                  </a:cubicBezTo>
                  <a:lnTo>
                    <a:pt x="2502" y="2151"/>
                  </a:lnTo>
                  <a:lnTo>
                    <a:pt x="8385" y="2151"/>
                  </a:lnTo>
                  <a:cubicBezTo>
                    <a:pt x="9242" y="2151"/>
                    <a:pt x="9898" y="1461"/>
                    <a:pt x="9898" y="604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D1F4B8DC-F692-ED88-DD48-F2A240943A01}"/>
                </a:ext>
              </a:extLst>
            </p:cNvPr>
            <p:cNvSpPr/>
            <p:nvPr/>
          </p:nvSpPr>
          <p:spPr>
            <a:xfrm flipV="1">
              <a:off x="8421650" y="3854639"/>
              <a:ext cx="11711" cy="19314"/>
            </a:xfrm>
            <a:custGeom>
              <a:avLst/>
              <a:gdLst>
                <a:gd name="connsiteX0" fmla="*/ 6692 w 11711"/>
                <a:gd name="connsiteY0" fmla="*/ 10797 h 19314"/>
                <a:gd name="connsiteX1" fmla="*/ 8708 w 11711"/>
                <a:gd name="connsiteY1" fmla="*/ 5963 h 19314"/>
                <a:gd name="connsiteX2" fmla="*/ 6692 w 11711"/>
                <a:gd name="connsiteY2" fmla="*/ 1108 h 19314"/>
                <a:gd name="connsiteX3" fmla="*/ 1830 w 11711"/>
                <a:gd name="connsiteY3" fmla="*/ -908 h 19314"/>
                <a:gd name="connsiteX4" fmla="*/ -3003 w 11711"/>
                <a:gd name="connsiteY4" fmla="*/ 1108 h 19314"/>
                <a:gd name="connsiteX5" fmla="*/ -3003 w 11711"/>
                <a:gd name="connsiteY5" fmla="*/ 3311 h 19314"/>
                <a:gd name="connsiteX6" fmla="*/ -793 w 11711"/>
                <a:gd name="connsiteY6" fmla="*/ 3311 h 19314"/>
                <a:gd name="connsiteX7" fmla="*/ 1830 w 11711"/>
                <a:gd name="connsiteY7" fmla="*/ 2241 h 19314"/>
                <a:gd name="connsiteX8" fmla="*/ 4475 w 11711"/>
                <a:gd name="connsiteY8" fmla="*/ 3311 h 19314"/>
                <a:gd name="connsiteX9" fmla="*/ 5587 w 11711"/>
                <a:gd name="connsiteY9" fmla="*/ 5963 h 19314"/>
                <a:gd name="connsiteX10" fmla="*/ 4475 w 11711"/>
                <a:gd name="connsiteY10" fmla="*/ 8587 h 19314"/>
                <a:gd name="connsiteX11" fmla="*/ 1851 w 11711"/>
                <a:gd name="connsiteY11" fmla="*/ 9692 h 19314"/>
                <a:gd name="connsiteX12" fmla="*/ 726 w 11711"/>
                <a:gd name="connsiteY12" fmla="*/ 10189 h 19314"/>
                <a:gd name="connsiteX13" fmla="*/ 698 w 11711"/>
                <a:gd name="connsiteY13" fmla="*/ 10217 h 19314"/>
                <a:gd name="connsiteX14" fmla="*/ 643 w 11711"/>
                <a:gd name="connsiteY14" fmla="*/ 12420 h 19314"/>
                <a:gd name="connsiteX15" fmla="*/ 3460 w 11711"/>
                <a:gd name="connsiteY15" fmla="*/ 15292 h 19314"/>
                <a:gd name="connsiteX16" fmla="*/ -1014 w 11711"/>
                <a:gd name="connsiteY16" fmla="*/ 15292 h 19314"/>
                <a:gd name="connsiteX17" fmla="*/ -2561 w 11711"/>
                <a:gd name="connsiteY17" fmla="*/ 16867 h 19314"/>
                <a:gd name="connsiteX18" fmla="*/ -1014 w 11711"/>
                <a:gd name="connsiteY18" fmla="*/ 18407 h 19314"/>
                <a:gd name="connsiteX19" fmla="*/ 7127 w 11711"/>
                <a:gd name="connsiteY19" fmla="*/ 18407 h 19314"/>
                <a:gd name="connsiteX20" fmla="*/ 8708 w 11711"/>
                <a:gd name="connsiteY20" fmla="*/ 16867 h 19314"/>
                <a:gd name="connsiteX21" fmla="*/ 8508 w 11711"/>
                <a:gd name="connsiteY21" fmla="*/ 16121 h 19314"/>
                <a:gd name="connsiteX22" fmla="*/ 8232 w 11711"/>
                <a:gd name="connsiteY22" fmla="*/ 15734 h 19314"/>
                <a:gd name="connsiteX23" fmla="*/ 4751 w 11711"/>
                <a:gd name="connsiteY23" fmla="*/ 12143 h 19314"/>
                <a:gd name="connsiteX24" fmla="*/ 6692 w 11711"/>
                <a:gd name="connsiteY24" fmla="*/ 10797 h 1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711" h="19314">
                  <a:moveTo>
                    <a:pt x="6692" y="10797"/>
                  </a:moveTo>
                  <a:cubicBezTo>
                    <a:pt x="8038" y="9471"/>
                    <a:pt x="8708" y="7703"/>
                    <a:pt x="8708" y="5963"/>
                  </a:cubicBezTo>
                  <a:cubicBezTo>
                    <a:pt x="8708" y="4223"/>
                    <a:pt x="8038" y="2455"/>
                    <a:pt x="6692" y="1108"/>
                  </a:cubicBezTo>
                  <a:cubicBezTo>
                    <a:pt x="5359" y="-224"/>
                    <a:pt x="3591" y="-908"/>
                    <a:pt x="1830" y="-908"/>
                  </a:cubicBezTo>
                  <a:cubicBezTo>
                    <a:pt x="90" y="-908"/>
                    <a:pt x="-1677" y="-224"/>
                    <a:pt x="-3003" y="1108"/>
                  </a:cubicBezTo>
                  <a:lnTo>
                    <a:pt x="-3003" y="3311"/>
                  </a:lnTo>
                  <a:lnTo>
                    <a:pt x="-793" y="3311"/>
                  </a:lnTo>
                  <a:cubicBezTo>
                    <a:pt x="-75" y="2593"/>
                    <a:pt x="864" y="2241"/>
                    <a:pt x="1830" y="2241"/>
                  </a:cubicBezTo>
                  <a:cubicBezTo>
                    <a:pt x="2797" y="2241"/>
                    <a:pt x="3736" y="2593"/>
                    <a:pt x="4475" y="3311"/>
                  </a:cubicBezTo>
                  <a:cubicBezTo>
                    <a:pt x="5228" y="4057"/>
                    <a:pt x="5587" y="4996"/>
                    <a:pt x="5587" y="5963"/>
                  </a:cubicBezTo>
                  <a:cubicBezTo>
                    <a:pt x="5587" y="6923"/>
                    <a:pt x="5228" y="7869"/>
                    <a:pt x="4475" y="8587"/>
                  </a:cubicBezTo>
                  <a:cubicBezTo>
                    <a:pt x="3764" y="9333"/>
                    <a:pt x="2825" y="9664"/>
                    <a:pt x="1851" y="9692"/>
                  </a:cubicBezTo>
                  <a:lnTo>
                    <a:pt x="726" y="10189"/>
                  </a:lnTo>
                  <a:lnTo>
                    <a:pt x="698" y="10217"/>
                  </a:lnTo>
                  <a:cubicBezTo>
                    <a:pt x="63" y="10824"/>
                    <a:pt x="63" y="11784"/>
                    <a:pt x="643" y="12420"/>
                  </a:cubicBezTo>
                  <a:lnTo>
                    <a:pt x="3460" y="15292"/>
                  </a:lnTo>
                  <a:lnTo>
                    <a:pt x="-1014" y="15292"/>
                  </a:lnTo>
                  <a:cubicBezTo>
                    <a:pt x="-1871" y="15292"/>
                    <a:pt x="-2561" y="15983"/>
                    <a:pt x="-2561" y="16867"/>
                  </a:cubicBezTo>
                  <a:cubicBezTo>
                    <a:pt x="-2561" y="17723"/>
                    <a:pt x="-1871" y="18407"/>
                    <a:pt x="-1014" y="18407"/>
                  </a:cubicBezTo>
                  <a:lnTo>
                    <a:pt x="7127" y="18407"/>
                  </a:lnTo>
                  <a:cubicBezTo>
                    <a:pt x="8011" y="18407"/>
                    <a:pt x="8708" y="17723"/>
                    <a:pt x="8708" y="16867"/>
                  </a:cubicBezTo>
                  <a:lnTo>
                    <a:pt x="8508" y="16121"/>
                  </a:lnTo>
                  <a:lnTo>
                    <a:pt x="8232" y="15734"/>
                  </a:lnTo>
                  <a:lnTo>
                    <a:pt x="4751" y="12143"/>
                  </a:lnTo>
                  <a:cubicBezTo>
                    <a:pt x="5477" y="11812"/>
                    <a:pt x="6139" y="11377"/>
                    <a:pt x="6692" y="10797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4442703C-1D98-81D1-8724-86DFF90B55BE}"/>
                </a:ext>
              </a:extLst>
            </p:cNvPr>
            <p:cNvSpPr/>
            <p:nvPr/>
          </p:nvSpPr>
          <p:spPr>
            <a:xfrm flipV="1">
              <a:off x="8404178" y="3980830"/>
              <a:ext cx="12879" cy="19328"/>
            </a:xfrm>
            <a:custGeom>
              <a:avLst/>
              <a:gdLst>
                <a:gd name="connsiteX0" fmla="*/ 9898 w 12879"/>
                <a:gd name="connsiteY0" fmla="*/ 818 h 19328"/>
                <a:gd name="connsiteX1" fmla="*/ 8385 w 12879"/>
                <a:gd name="connsiteY1" fmla="*/ -701 h 19328"/>
                <a:gd name="connsiteX2" fmla="*/ -1386 w 12879"/>
                <a:gd name="connsiteY2" fmla="*/ -701 h 19328"/>
                <a:gd name="connsiteX3" fmla="*/ -1413 w 12879"/>
                <a:gd name="connsiteY3" fmla="*/ -701 h 19328"/>
                <a:gd name="connsiteX4" fmla="*/ -1441 w 12879"/>
                <a:gd name="connsiteY4" fmla="*/ -701 h 19328"/>
                <a:gd name="connsiteX5" fmla="*/ -2574 w 12879"/>
                <a:gd name="connsiteY5" fmla="*/ -197 h 19328"/>
                <a:gd name="connsiteX6" fmla="*/ -2498 w 12879"/>
                <a:gd name="connsiteY6" fmla="*/ 1951 h 19328"/>
                <a:gd name="connsiteX7" fmla="*/ 5678 w 12879"/>
                <a:gd name="connsiteY7" fmla="*/ 9347 h 19328"/>
                <a:gd name="connsiteX8" fmla="*/ 6839 w 12879"/>
                <a:gd name="connsiteY8" fmla="*/ 11998 h 19328"/>
                <a:gd name="connsiteX9" fmla="*/ 5927 w 12879"/>
                <a:gd name="connsiteY9" fmla="*/ 14408 h 19328"/>
                <a:gd name="connsiteX10" fmla="*/ 3275 w 12879"/>
                <a:gd name="connsiteY10" fmla="*/ 15562 h 19328"/>
                <a:gd name="connsiteX11" fmla="*/ 879 w 12879"/>
                <a:gd name="connsiteY11" fmla="*/ 14650 h 19328"/>
                <a:gd name="connsiteX12" fmla="*/ 23 w 12879"/>
                <a:gd name="connsiteY12" fmla="*/ 13883 h 19328"/>
                <a:gd name="connsiteX13" fmla="*/ -2138 w 12879"/>
                <a:gd name="connsiteY13" fmla="*/ 13987 h 19328"/>
                <a:gd name="connsiteX14" fmla="*/ -2021 w 12879"/>
                <a:gd name="connsiteY14" fmla="*/ 16142 h 19328"/>
                <a:gd name="connsiteX15" fmla="*/ -1165 w 12879"/>
                <a:gd name="connsiteY15" fmla="*/ 16915 h 19328"/>
                <a:gd name="connsiteX16" fmla="*/ 3275 w 12879"/>
                <a:gd name="connsiteY16" fmla="*/ 18628 h 19328"/>
                <a:gd name="connsiteX17" fmla="*/ 8185 w 12879"/>
                <a:gd name="connsiteY17" fmla="*/ 16445 h 19328"/>
                <a:gd name="connsiteX18" fmla="*/ 9898 w 12879"/>
                <a:gd name="connsiteY18" fmla="*/ 11998 h 19328"/>
                <a:gd name="connsiteX19" fmla="*/ 7723 w 12879"/>
                <a:gd name="connsiteY19" fmla="*/ 7089 h 19328"/>
                <a:gd name="connsiteX20" fmla="*/ 2502 w 12879"/>
                <a:gd name="connsiteY20" fmla="*/ 2372 h 19328"/>
                <a:gd name="connsiteX21" fmla="*/ 8385 w 12879"/>
                <a:gd name="connsiteY21" fmla="*/ 2372 h 19328"/>
                <a:gd name="connsiteX22" fmla="*/ 9898 w 12879"/>
                <a:gd name="connsiteY22" fmla="*/ 818 h 19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879" h="19328">
                  <a:moveTo>
                    <a:pt x="9898" y="818"/>
                  </a:moveTo>
                  <a:cubicBezTo>
                    <a:pt x="9898" y="-31"/>
                    <a:pt x="9242" y="-701"/>
                    <a:pt x="8385" y="-701"/>
                  </a:cubicBezTo>
                  <a:lnTo>
                    <a:pt x="-1386" y="-701"/>
                  </a:lnTo>
                  <a:lnTo>
                    <a:pt x="-1413" y="-701"/>
                  </a:lnTo>
                  <a:lnTo>
                    <a:pt x="-1441" y="-701"/>
                  </a:lnTo>
                  <a:lnTo>
                    <a:pt x="-2574" y="-197"/>
                  </a:lnTo>
                  <a:cubicBezTo>
                    <a:pt x="-3153" y="432"/>
                    <a:pt x="-3105" y="1371"/>
                    <a:pt x="-2498" y="1951"/>
                  </a:cubicBezTo>
                  <a:lnTo>
                    <a:pt x="5678" y="9347"/>
                  </a:lnTo>
                  <a:cubicBezTo>
                    <a:pt x="6480" y="10072"/>
                    <a:pt x="6839" y="11011"/>
                    <a:pt x="6839" y="11998"/>
                  </a:cubicBezTo>
                  <a:cubicBezTo>
                    <a:pt x="6839" y="12882"/>
                    <a:pt x="6535" y="13711"/>
                    <a:pt x="5927" y="14408"/>
                  </a:cubicBezTo>
                  <a:cubicBezTo>
                    <a:pt x="5209" y="15202"/>
                    <a:pt x="4242" y="15562"/>
                    <a:pt x="3275" y="15562"/>
                  </a:cubicBezTo>
                  <a:cubicBezTo>
                    <a:pt x="2419" y="15562"/>
                    <a:pt x="1563" y="15258"/>
                    <a:pt x="879" y="14650"/>
                  </a:cubicBezTo>
                  <a:lnTo>
                    <a:pt x="23" y="13883"/>
                  </a:lnTo>
                  <a:cubicBezTo>
                    <a:pt x="-612" y="13303"/>
                    <a:pt x="-1558" y="13352"/>
                    <a:pt x="-2138" y="13987"/>
                  </a:cubicBezTo>
                  <a:cubicBezTo>
                    <a:pt x="-2691" y="14622"/>
                    <a:pt x="-2656" y="15562"/>
                    <a:pt x="-2021" y="16142"/>
                  </a:cubicBezTo>
                  <a:lnTo>
                    <a:pt x="-1165" y="16915"/>
                  </a:lnTo>
                  <a:cubicBezTo>
                    <a:pt x="71" y="18075"/>
                    <a:pt x="1701" y="18628"/>
                    <a:pt x="3275" y="18628"/>
                  </a:cubicBezTo>
                  <a:cubicBezTo>
                    <a:pt x="5071" y="18628"/>
                    <a:pt x="6894" y="17882"/>
                    <a:pt x="8185" y="16445"/>
                  </a:cubicBezTo>
                  <a:cubicBezTo>
                    <a:pt x="9345" y="15202"/>
                    <a:pt x="9898" y="13580"/>
                    <a:pt x="9898" y="11998"/>
                  </a:cubicBezTo>
                  <a:cubicBezTo>
                    <a:pt x="9898" y="10203"/>
                    <a:pt x="9159" y="8387"/>
                    <a:pt x="7723" y="7089"/>
                  </a:cubicBezTo>
                  <a:lnTo>
                    <a:pt x="2502" y="2372"/>
                  </a:lnTo>
                  <a:lnTo>
                    <a:pt x="8385" y="2372"/>
                  </a:lnTo>
                  <a:cubicBezTo>
                    <a:pt x="9242" y="2372"/>
                    <a:pt x="9898" y="1675"/>
                    <a:pt x="9898" y="818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6A9342D4-DAF5-EC44-96C7-38FECB24A0BF}"/>
                </a:ext>
              </a:extLst>
            </p:cNvPr>
            <p:cNvSpPr/>
            <p:nvPr/>
          </p:nvSpPr>
          <p:spPr>
            <a:xfrm flipV="1">
              <a:off x="8420441" y="3980830"/>
              <a:ext cx="12471" cy="19328"/>
            </a:xfrm>
            <a:custGeom>
              <a:avLst/>
              <a:gdLst>
                <a:gd name="connsiteX0" fmla="*/ 9386 w 12471"/>
                <a:gd name="connsiteY0" fmla="*/ 16528 h 19328"/>
                <a:gd name="connsiteX1" fmla="*/ 2481 w 12471"/>
                <a:gd name="connsiteY1" fmla="*/ 211 h 19328"/>
                <a:gd name="connsiteX2" fmla="*/ 1079 w 12471"/>
                <a:gd name="connsiteY2" fmla="*/ -701 h 19328"/>
                <a:gd name="connsiteX3" fmla="*/ 499 w 12471"/>
                <a:gd name="connsiteY3" fmla="*/ -583 h 19328"/>
                <a:gd name="connsiteX4" fmla="*/ -330 w 12471"/>
                <a:gd name="connsiteY4" fmla="*/ 1398 h 19328"/>
                <a:gd name="connsiteX5" fmla="*/ 5636 w 12471"/>
                <a:gd name="connsiteY5" fmla="*/ 15562 h 19328"/>
                <a:gd name="connsiteX6" fmla="*/ -1490 w 12471"/>
                <a:gd name="connsiteY6" fmla="*/ 15562 h 19328"/>
                <a:gd name="connsiteX7" fmla="*/ -3002 w 12471"/>
                <a:gd name="connsiteY7" fmla="*/ 17108 h 19328"/>
                <a:gd name="connsiteX8" fmla="*/ -1490 w 12471"/>
                <a:gd name="connsiteY8" fmla="*/ 18628 h 19328"/>
                <a:gd name="connsiteX9" fmla="*/ 7977 w 12471"/>
                <a:gd name="connsiteY9" fmla="*/ 18628 h 19328"/>
                <a:gd name="connsiteX10" fmla="*/ 8254 w 12471"/>
                <a:gd name="connsiteY10" fmla="*/ 18600 h 19328"/>
                <a:gd name="connsiteX11" fmla="*/ 8834 w 12471"/>
                <a:gd name="connsiteY11" fmla="*/ 18379 h 19328"/>
                <a:gd name="connsiteX12" fmla="*/ 8917 w 12471"/>
                <a:gd name="connsiteY12" fmla="*/ 18296 h 19328"/>
                <a:gd name="connsiteX13" fmla="*/ 9034 w 12471"/>
                <a:gd name="connsiteY13" fmla="*/ 18186 h 19328"/>
                <a:gd name="connsiteX14" fmla="*/ 9138 w 12471"/>
                <a:gd name="connsiteY14" fmla="*/ 18075 h 19328"/>
                <a:gd name="connsiteX15" fmla="*/ 9221 w 12471"/>
                <a:gd name="connsiteY15" fmla="*/ 17965 h 19328"/>
                <a:gd name="connsiteX16" fmla="*/ 9276 w 12471"/>
                <a:gd name="connsiteY16" fmla="*/ 17827 h 19328"/>
                <a:gd name="connsiteX17" fmla="*/ 9386 w 12471"/>
                <a:gd name="connsiteY17" fmla="*/ 17688 h 19328"/>
                <a:gd name="connsiteX18" fmla="*/ 9414 w 12471"/>
                <a:gd name="connsiteY18" fmla="*/ 17550 h 19328"/>
                <a:gd name="connsiteX19" fmla="*/ 9469 w 12471"/>
                <a:gd name="connsiteY19" fmla="*/ 17412 h 19328"/>
                <a:gd name="connsiteX20" fmla="*/ 9469 w 12471"/>
                <a:gd name="connsiteY20" fmla="*/ 16805 h 19328"/>
                <a:gd name="connsiteX21" fmla="*/ 9386 w 12471"/>
                <a:gd name="connsiteY21" fmla="*/ 16528 h 19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471" h="19328">
                  <a:moveTo>
                    <a:pt x="9386" y="16528"/>
                  </a:moveTo>
                  <a:lnTo>
                    <a:pt x="2481" y="211"/>
                  </a:lnTo>
                  <a:cubicBezTo>
                    <a:pt x="2267" y="-369"/>
                    <a:pt x="1714" y="-701"/>
                    <a:pt x="1079" y="-701"/>
                  </a:cubicBezTo>
                  <a:lnTo>
                    <a:pt x="499" y="-583"/>
                  </a:lnTo>
                  <a:cubicBezTo>
                    <a:pt x="-275" y="-224"/>
                    <a:pt x="-634" y="660"/>
                    <a:pt x="-330" y="1398"/>
                  </a:cubicBezTo>
                  <a:lnTo>
                    <a:pt x="5636" y="15562"/>
                  </a:lnTo>
                  <a:lnTo>
                    <a:pt x="-1490" y="15562"/>
                  </a:lnTo>
                  <a:cubicBezTo>
                    <a:pt x="-2319" y="15562"/>
                    <a:pt x="-3002" y="16280"/>
                    <a:pt x="-3002" y="17108"/>
                  </a:cubicBezTo>
                  <a:cubicBezTo>
                    <a:pt x="-3002" y="17965"/>
                    <a:pt x="-2319" y="18628"/>
                    <a:pt x="-1490" y="18628"/>
                  </a:cubicBezTo>
                  <a:lnTo>
                    <a:pt x="7977" y="18628"/>
                  </a:lnTo>
                  <a:lnTo>
                    <a:pt x="8254" y="18600"/>
                  </a:lnTo>
                  <a:lnTo>
                    <a:pt x="8834" y="18379"/>
                  </a:lnTo>
                  <a:lnTo>
                    <a:pt x="8917" y="18296"/>
                  </a:lnTo>
                  <a:lnTo>
                    <a:pt x="9034" y="18186"/>
                  </a:lnTo>
                  <a:lnTo>
                    <a:pt x="9138" y="18075"/>
                  </a:lnTo>
                  <a:lnTo>
                    <a:pt x="9221" y="17965"/>
                  </a:lnTo>
                  <a:lnTo>
                    <a:pt x="9276" y="17827"/>
                  </a:lnTo>
                  <a:lnTo>
                    <a:pt x="9386" y="17688"/>
                  </a:lnTo>
                  <a:lnTo>
                    <a:pt x="9414" y="17550"/>
                  </a:lnTo>
                  <a:lnTo>
                    <a:pt x="9469" y="17412"/>
                  </a:lnTo>
                  <a:lnTo>
                    <a:pt x="9469" y="16805"/>
                  </a:lnTo>
                  <a:lnTo>
                    <a:pt x="9386" y="16528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3F893FDB-F963-A3BB-8835-FBA9B9E5DF85}"/>
                </a:ext>
              </a:extLst>
            </p:cNvPr>
            <p:cNvSpPr/>
            <p:nvPr/>
          </p:nvSpPr>
          <p:spPr>
            <a:xfrm flipV="1">
              <a:off x="8404178" y="3882641"/>
              <a:ext cx="761560" cy="12250"/>
            </a:xfrm>
            <a:custGeom>
              <a:avLst/>
              <a:gdLst>
                <a:gd name="connsiteX0" fmla="*/ 379198 w 382410"/>
                <a:gd name="connsiteY0" fmla="*/ -868 h 12250"/>
                <a:gd name="connsiteX1" fmla="*/ -3212 w 382410"/>
                <a:gd name="connsiteY1" fmla="*/ -868 h 12250"/>
                <a:gd name="connsiteX2" fmla="*/ -3212 w 382410"/>
                <a:gd name="connsiteY2" fmla="*/ 11382 h 12250"/>
                <a:gd name="connsiteX3" fmla="*/ 379198 w 382410"/>
                <a:gd name="connsiteY3" fmla="*/ 11382 h 12250"/>
                <a:gd name="connsiteX4" fmla="*/ 379198 w 382410"/>
                <a:gd name="connsiteY4" fmla="*/ -868 h 1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2410" h="12250">
                  <a:moveTo>
                    <a:pt x="379198" y="-868"/>
                  </a:moveTo>
                  <a:lnTo>
                    <a:pt x="-3212" y="-868"/>
                  </a:lnTo>
                  <a:lnTo>
                    <a:pt x="-3212" y="11382"/>
                  </a:lnTo>
                  <a:lnTo>
                    <a:pt x="379198" y="11382"/>
                  </a:lnTo>
                  <a:lnTo>
                    <a:pt x="379198" y="-868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DD095907-D679-2A33-2E60-8A39F1601659}"/>
                </a:ext>
              </a:extLst>
            </p:cNvPr>
            <p:cNvSpPr/>
            <p:nvPr/>
          </p:nvSpPr>
          <p:spPr>
            <a:xfrm flipV="1">
              <a:off x="8404178" y="3882641"/>
              <a:ext cx="402975" cy="12250"/>
            </a:xfrm>
            <a:custGeom>
              <a:avLst/>
              <a:gdLst>
                <a:gd name="connsiteX0" fmla="*/ 199251 w 202350"/>
                <a:gd name="connsiteY0" fmla="*/ -868 h 12250"/>
                <a:gd name="connsiteX1" fmla="*/ -3099 w 202350"/>
                <a:gd name="connsiteY1" fmla="*/ -868 h 12250"/>
                <a:gd name="connsiteX2" fmla="*/ -3099 w 202350"/>
                <a:gd name="connsiteY2" fmla="*/ 11382 h 12250"/>
                <a:gd name="connsiteX3" fmla="*/ 199251 w 202350"/>
                <a:gd name="connsiteY3" fmla="*/ 11382 h 12250"/>
                <a:gd name="connsiteX4" fmla="*/ 199251 w 202350"/>
                <a:gd name="connsiteY4" fmla="*/ -868 h 1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0" h="12250">
                  <a:moveTo>
                    <a:pt x="199251" y="-868"/>
                  </a:moveTo>
                  <a:lnTo>
                    <a:pt x="-3099" y="-868"/>
                  </a:lnTo>
                  <a:lnTo>
                    <a:pt x="-3099" y="11382"/>
                  </a:lnTo>
                  <a:lnTo>
                    <a:pt x="199251" y="11382"/>
                  </a:lnTo>
                  <a:lnTo>
                    <a:pt x="199251" y="-86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2618FE85-A09E-38B6-FB18-BF2F66AB0FE8}"/>
                </a:ext>
              </a:extLst>
            </p:cNvPr>
            <p:cNvSpPr/>
            <p:nvPr/>
          </p:nvSpPr>
          <p:spPr>
            <a:xfrm flipV="1">
              <a:off x="8404178" y="4008811"/>
              <a:ext cx="761560" cy="12243"/>
            </a:xfrm>
            <a:custGeom>
              <a:avLst/>
              <a:gdLst>
                <a:gd name="connsiteX0" fmla="*/ 379198 w 382410"/>
                <a:gd name="connsiteY0" fmla="*/ -661 h 12243"/>
                <a:gd name="connsiteX1" fmla="*/ -3212 w 382410"/>
                <a:gd name="connsiteY1" fmla="*/ -661 h 12243"/>
                <a:gd name="connsiteX2" fmla="*/ -3212 w 382410"/>
                <a:gd name="connsiteY2" fmla="*/ 11583 h 12243"/>
                <a:gd name="connsiteX3" fmla="*/ 379198 w 382410"/>
                <a:gd name="connsiteY3" fmla="*/ 11583 h 12243"/>
                <a:gd name="connsiteX4" fmla="*/ 379198 w 382410"/>
                <a:gd name="connsiteY4" fmla="*/ -661 h 12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2410" h="12243">
                  <a:moveTo>
                    <a:pt x="379198" y="-661"/>
                  </a:moveTo>
                  <a:lnTo>
                    <a:pt x="-3212" y="-661"/>
                  </a:lnTo>
                  <a:lnTo>
                    <a:pt x="-3212" y="11583"/>
                  </a:lnTo>
                  <a:lnTo>
                    <a:pt x="379198" y="11583"/>
                  </a:lnTo>
                  <a:lnTo>
                    <a:pt x="379198" y="-661"/>
                  </a:ln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6281B7EC-2D9B-B89F-BC9C-D25FD3707007}"/>
                </a:ext>
              </a:extLst>
            </p:cNvPr>
            <p:cNvSpPr/>
            <p:nvPr/>
          </p:nvSpPr>
          <p:spPr>
            <a:xfrm flipV="1">
              <a:off x="8404178" y="4008811"/>
              <a:ext cx="540152" cy="12243"/>
            </a:xfrm>
            <a:custGeom>
              <a:avLst/>
              <a:gdLst>
                <a:gd name="connsiteX0" fmla="*/ 268090 w 271232"/>
                <a:gd name="connsiteY0" fmla="*/ -661 h 12243"/>
                <a:gd name="connsiteX1" fmla="*/ -3143 w 271232"/>
                <a:gd name="connsiteY1" fmla="*/ -661 h 12243"/>
                <a:gd name="connsiteX2" fmla="*/ -3143 w 271232"/>
                <a:gd name="connsiteY2" fmla="*/ 11583 h 12243"/>
                <a:gd name="connsiteX3" fmla="*/ 268090 w 271232"/>
                <a:gd name="connsiteY3" fmla="*/ 11583 h 12243"/>
                <a:gd name="connsiteX4" fmla="*/ 268090 w 271232"/>
                <a:gd name="connsiteY4" fmla="*/ -661 h 12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1232" h="12243">
                  <a:moveTo>
                    <a:pt x="268090" y="-661"/>
                  </a:moveTo>
                  <a:lnTo>
                    <a:pt x="-3143" y="-661"/>
                  </a:lnTo>
                  <a:lnTo>
                    <a:pt x="-3143" y="11583"/>
                  </a:lnTo>
                  <a:lnTo>
                    <a:pt x="268090" y="11583"/>
                  </a:lnTo>
                  <a:lnTo>
                    <a:pt x="268090" y="-661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FD51D1C5-9D28-34E1-C13C-8512C060CC14}"/>
                </a:ext>
              </a:extLst>
            </p:cNvPr>
            <p:cNvSpPr/>
            <p:nvPr/>
          </p:nvSpPr>
          <p:spPr>
            <a:xfrm flipV="1">
              <a:off x="9391283" y="3936193"/>
              <a:ext cx="98519" cy="130297"/>
            </a:xfrm>
            <a:custGeom>
              <a:avLst/>
              <a:gdLst>
                <a:gd name="connsiteX0" fmla="*/ 72109 w 98519"/>
                <a:gd name="connsiteY0" fmla="*/ 35203 h 130297"/>
                <a:gd name="connsiteX1" fmla="*/ 72109 w 98519"/>
                <a:gd name="connsiteY1" fmla="*/ 111847 h 130297"/>
                <a:gd name="connsiteX2" fmla="*/ 10236 w 98519"/>
                <a:gd name="connsiteY2" fmla="*/ 35203 h 130297"/>
                <a:gd name="connsiteX3" fmla="*/ 72109 w 98519"/>
                <a:gd name="connsiteY3" fmla="*/ 26233 h 130297"/>
                <a:gd name="connsiteX4" fmla="*/ 1266 w 98519"/>
                <a:gd name="connsiteY4" fmla="*/ 26233 h 130297"/>
                <a:gd name="connsiteX5" fmla="*/ 1080 w 98519"/>
                <a:gd name="connsiteY5" fmla="*/ 26233 h 130297"/>
                <a:gd name="connsiteX6" fmla="*/ 700 w 98519"/>
                <a:gd name="connsiteY6" fmla="*/ 26233 h 130297"/>
                <a:gd name="connsiteX7" fmla="*/ -2097 w 98519"/>
                <a:gd name="connsiteY7" fmla="*/ 27165 h 130297"/>
                <a:gd name="connsiteX8" fmla="*/ -2663 w 98519"/>
                <a:gd name="connsiteY8" fmla="*/ 33525 h 130297"/>
                <a:gd name="connsiteX9" fmla="*/ 73048 w 98519"/>
                <a:gd name="connsiteY9" fmla="*/ 127729 h 130297"/>
                <a:gd name="connsiteX10" fmla="*/ 73228 w 98519"/>
                <a:gd name="connsiteY10" fmla="*/ 127916 h 130297"/>
                <a:gd name="connsiteX11" fmla="*/ 79588 w 98519"/>
                <a:gd name="connsiteY11" fmla="*/ 128482 h 130297"/>
                <a:gd name="connsiteX12" fmla="*/ 81079 w 98519"/>
                <a:gd name="connsiteY12" fmla="*/ 126238 h 130297"/>
                <a:gd name="connsiteX13" fmla="*/ 81266 w 98519"/>
                <a:gd name="connsiteY13" fmla="*/ 125485 h 130297"/>
                <a:gd name="connsiteX14" fmla="*/ 81266 w 98519"/>
                <a:gd name="connsiteY14" fmla="*/ 124926 h 130297"/>
                <a:gd name="connsiteX15" fmla="*/ 81266 w 98519"/>
                <a:gd name="connsiteY15" fmla="*/ 35203 h 130297"/>
                <a:gd name="connsiteX16" fmla="*/ 90050 w 98519"/>
                <a:gd name="connsiteY16" fmla="*/ 35203 h 130297"/>
                <a:gd name="connsiteX17" fmla="*/ 94725 w 98519"/>
                <a:gd name="connsiteY17" fmla="*/ 30722 h 130297"/>
                <a:gd name="connsiteX18" fmla="*/ 90050 w 98519"/>
                <a:gd name="connsiteY18" fmla="*/ 26233 h 130297"/>
                <a:gd name="connsiteX19" fmla="*/ 81266 w 98519"/>
                <a:gd name="connsiteY19" fmla="*/ 26233 h 130297"/>
                <a:gd name="connsiteX20" fmla="*/ 81266 w 98519"/>
                <a:gd name="connsiteY20" fmla="*/ 3797 h 130297"/>
                <a:gd name="connsiteX21" fmla="*/ 76591 w 98519"/>
                <a:gd name="connsiteY21" fmla="*/ -683 h 130297"/>
                <a:gd name="connsiteX22" fmla="*/ 72109 w 98519"/>
                <a:gd name="connsiteY22" fmla="*/ 3797 h 130297"/>
                <a:gd name="connsiteX23" fmla="*/ 72109 w 98519"/>
                <a:gd name="connsiteY23" fmla="*/ 26233 h 130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8519" h="130297">
                  <a:moveTo>
                    <a:pt x="72109" y="35203"/>
                  </a:moveTo>
                  <a:lnTo>
                    <a:pt x="72109" y="111847"/>
                  </a:lnTo>
                  <a:lnTo>
                    <a:pt x="10236" y="35203"/>
                  </a:lnTo>
                  <a:close/>
                  <a:moveTo>
                    <a:pt x="72109" y="26233"/>
                  </a:moveTo>
                  <a:lnTo>
                    <a:pt x="1266" y="26233"/>
                  </a:lnTo>
                  <a:lnTo>
                    <a:pt x="1080" y="26233"/>
                  </a:lnTo>
                  <a:lnTo>
                    <a:pt x="700" y="26233"/>
                  </a:lnTo>
                  <a:cubicBezTo>
                    <a:pt x="-233" y="26233"/>
                    <a:pt x="-1351" y="26420"/>
                    <a:pt x="-2097" y="27165"/>
                  </a:cubicBezTo>
                  <a:cubicBezTo>
                    <a:pt x="-4155" y="28664"/>
                    <a:pt x="-4341" y="31647"/>
                    <a:pt x="-2663" y="33525"/>
                  </a:cubicBezTo>
                  <a:lnTo>
                    <a:pt x="73048" y="127729"/>
                  </a:lnTo>
                  <a:lnTo>
                    <a:pt x="73228" y="127916"/>
                  </a:lnTo>
                  <a:cubicBezTo>
                    <a:pt x="74913" y="129974"/>
                    <a:pt x="77530" y="130160"/>
                    <a:pt x="79588" y="128482"/>
                  </a:cubicBezTo>
                  <a:cubicBezTo>
                    <a:pt x="80334" y="127916"/>
                    <a:pt x="80707" y="126984"/>
                    <a:pt x="81079" y="126238"/>
                  </a:cubicBezTo>
                  <a:lnTo>
                    <a:pt x="81266" y="125485"/>
                  </a:lnTo>
                  <a:lnTo>
                    <a:pt x="81266" y="124926"/>
                  </a:lnTo>
                  <a:lnTo>
                    <a:pt x="81266" y="35203"/>
                  </a:lnTo>
                  <a:lnTo>
                    <a:pt x="90050" y="35203"/>
                  </a:lnTo>
                  <a:cubicBezTo>
                    <a:pt x="92667" y="35203"/>
                    <a:pt x="94725" y="33145"/>
                    <a:pt x="94725" y="30722"/>
                  </a:cubicBezTo>
                  <a:cubicBezTo>
                    <a:pt x="94725" y="28284"/>
                    <a:pt x="92667" y="26233"/>
                    <a:pt x="90050" y="26233"/>
                  </a:cubicBezTo>
                  <a:lnTo>
                    <a:pt x="81266" y="26233"/>
                  </a:lnTo>
                  <a:lnTo>
                    <a:pt x="81266" y="3797"/>
                  </a:lnTo>
                  <a:cubicBezTo>
                    <a:pt x="81266" y="1373"/>
                    <a:pt x="79208" y="-683"/>
                    <a:pt x="76591" y="-683"/>
                  </a:cubicBezTo>
                  <a:cubicBezTo>
                    <a:pt x="74167" y="-683"/>
                    <a:pt x="72109" y="1373"/>
                    <a:pt x="72109" y="3797"/>
                  </a:cubicBezTo>
                  <a:lnTo>
                    <a:pt x="72109" y="26233"/>
                  </a:ln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0EE75047-7FFB-18E9-8EE4-79B659109B54}"/>
                </a:ext>
              </a:extLst>
            </p:cNvPr>
            <p:cNvSpPr/>
            <p:nvPr/>
          </p:nvSpPr>
          <p:spPr>
            <a:xfrm flipV="1">
              <a:off x="9514753" y="3935647"/>
              <a:ext cx="82740" cy="130843"/>
            </a:xfrm>
            <a:custGeom>
              <a:avLst/>
              <a:gdLst>
                <a:gd name="connsiteX0" fmla="*/ -2511 w 82740"/>
                <a:gd name="connsiteY0" fmla="*/ 7353 h 130843"/>
                <a:gd name="connsiteX1" fmla="*/ 58609 w 82740"/>
                <a:gd name="connsiteY1" fmla="*/ 62493 h 130843"/>
                <a:gd name="connsiteX2" fmla="*/ 69823 w 82740"/>
                <a:gd name="connsiteY2" fmla="*/ 87539 h 130843"/>
                <a:gd name="connsiteX3" fmla="*/ 61040 w 82740"/>
                <a:gd name="connsiteY3" fmla="*/ 109975 h 130843"/>
                <a:gd name="connsiteX4" fmla="*/ 36180 w 82740"/>
                <a:gd name="connsiteY4" fmla="*/ 121003 h 130843"/>
                <a:gd name="connsiteX5" fmla="*/ 13371 w 82740"/>
                <a:gd name="connsiteY5" fmla="*/ 112406 h 130843"/>
                <a:gd name="connsiteX6" fmla="*/ 7018 w 82740"/>
                <a:gd name="connsiteY6" fmla="*/ 106612 h 130843"/>
                <a:gd name="connsiteX7" fmla="*/ 665 w 82740"/>
                <a:gd name="connsiteY7" fmla="*/ 106792 h 130843"/>
                <a:gd name="connsiteX8" fmla="*/ 851 w 82740"/>
                <a:gd name="connsiteY8" fmla="*/ 113152 h 130843"/>
                <a:gd name="connsiteX9" fmla="*/ 7205 w 82740"/>
                <a:gd name="connsiteY9" fmla="*/ 119132 h 130843"/>
                <a:gd name="connsiteX10" fmla="*/ 36180 w 82740"/>
                <a:gd name="connsiteY10" fmla="*/ 130160 h 130843"/>
                <a:gd name="connsiteX11" fmla="*/ 67586 w 82740"/>
                <a:gd name="connsiteY11" fmla="*/ 116142 h 130843"/>
                <a:gd name="connsiteX12" fmla="*/ 78801 w 82740"/>
                <a:gd name="connsiteY12" fmla="*/ 87539 h 130843"/>
                <a:gd name="connsiteX13" fmla="*/ 64782 w 82740"/>
                <a:gd name="connsiteY13" fmla="*/ 55767 h 130843"/>
                <a:gd name="connsiteX14" fmla="*/ 12446 w 82740"/>
                <a:gd name="connsiteY14" fmla="*/ 8472 h 130843"/>
                <a:gd name="connsiteX15" fmla="*/ 74312 w 82740"/>
                <a:gd name="connsiteY15" fmla="*/ 8472 h 130843"/>
                <a:gd name="connsiteX16" fmla="*/ 78801 w 82740"/>
                <a:gd name="connsiteY16" fmla="*/ 3797 h 130843"/>
                <a:gd name="connsiteX17" fmla="*/ 74312 w 82740"/>
                <a:gd name="connsiteY17" fmla="*/ -683 h 130843"/>
                <a:gd name="connsiteX18" fmla="*/ 1411 w 82740"/>
                <a:gd name="connsiteY18" fmla="*/ -683 h 130843"/>
                <a:gd name="connsiteX19" fmla="*/ 665 w 82740"/>
                <a:gd name="connsiteY19" fmla="*/ -683 h 130843"/>
                <a:gd name="connsiteX20" fmla="*/ -2705 w 82740"/>
                <a:gd name="connsiteY20" fmla="*/ 619 h 130843"/>
                <a:gd name="connsiteX21" fmla="*/ -2511 w 82740"/>
                <a:gd name="connsiteY21" fmla="*/ 7353 h 130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2740" h="130843">
                  <a:moveTo>
                    <a:pt x="-2511" y="7353"/>
                  </a:moveTo>
                  <a:lnTo>
                    <a:pt x="58609" y="62493"/>
                  </a:lnTo>
                  <a:cubicBezTo>
                    <a:pt x="65901" y="69226"/>
                    <a:pt x="69823" y="78196"/>
                    <a:pt x="69823" y="87539"/>
                  </a:cubicBezTo>
                  <a:cubicBezTo>
                    <a:pt x="69823" y="95577"/>
                    <a:pt x="66840" y="103615"/>
                    <a:pt x="61040" y="109975"/>
                  </a:cubicBezTo>
                  <a:cubicBezTo>
                    <a:pt x="54493" y="117267"/>
                    <a:pt x="45336" y="121003"/>
                    <a:pt x="36180" y="121003"/>
                  </a:cubicBezTo>
                  <a:cubicBezTo>
                    <a:pt x="27955" y="121003"/>
                    <a:pt x="19918" y="118199"/>
                    <a:pt x="13371" y="112406"/>
                  </a:cubicBezTo>
                  <a:lnTo>
                    <a:pt x="7018" y="106612"/>
                  </a:lnTo>
                  <a:cubicBezTo>
                    <a:pt x="5154" y="104734"/>
                    <a:pt x="2157" y="104927"/>
                    <a:pt x="665" y="106792"/>
                  </a:cubicBezTo>
                  <a:cubicBezTo>
                    <a:pt x="-1206" y="108663"/>
                    <a:pt x="-1020" y="111653"/>
                    <a:pt x="851" y="113152"/>
                  </a:cubicBezTo>
                  <a:lnTo>
                    <a:pt x="7205" y="119132"/>
                  </a:lnTo>
                  <a:cubicBezTo>
                    <a:pt x="15429" y="126424"/>
                    <a:pt x="25898" y="130160"/>
                    <a:pt x="36180" y="130160"/>
                  </a:cubicBezTo>
                  <a:cubicBezTo>
                    <a:pt x="47581" y="130160"/>
                    <a:pt x="59168" y="125678"/>
                    <a:pt x="67586" y="116142"/>
                  </a:cubicBezTo>
                  <a:cubicBezTo>
                    <a:pt x="75244" y="107917"/>
                    <a:pt x="78801" y="97635"/>
                    <a:pt x="78801" y="87539"/>
                  </a:cubicBezTo>
                  <a:cubicBezTo>
                    <a:pt x="78801" y="75952"/>
                    <a:pt x="74126" y="64365"/>
                    <a:pt x="64782" y="55767"/>
                  </a:cubicBezTo>
                  <a:lnTo>
                    <a:pt x="12446" y="8472"/>
                  </a:lnTo>
                  <a:lnTo>
                    <a:pt x="74312" y="8472"/>
                  </a:lnTo>
                  <a:cubicBezTo>
                    <a:pt x="76742" y="8472"/>
                    <a:pt x="78801" y="6414"/>
                    <a:pt x="78801" y="3797"/>
                  </a:cubicBezTo>
                  <a:cubicBezTo>
                    <a:pt x="78801" y="1373"/>
                    <a:pt x="76742" y="-683"/>
                    <a:pt x="74312" y="-683"/>
                  </a:cubicBezTo>
                  <a:lnTo>
                    <a:pt x="1411" y="-683"/>
                  </a:lnTo>
                  <a:lnTo>
                    <a:pt x="665" y="-683"/>
                  </a:lnTo>
                  <a:cubicBezTo>
                    <a:pt x="-647" y="-683"/>
                    <a:pt x="-1952" y="-311"/>
                    <a:pt x="-2705" y="619"/>
                  </a:cubicBezTo>
                  <a:cubicBezTo>
                    <a:pt x="-4383" y="2678"/>
                    <a:pt x="-4383" y="5482"/>
                    <a:pt x="-2511" y="7353"/>
                  </a:cubicBezTo>
                </a:path>
              </a:pathLst>
            </a:custGeom>
            <a:solidFill>
              <a:srgbClr val="999B9B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1433CCBB-8C41-87F9-A467-652584BF1EEB}"/>
                </a:ext>
              </a:extLst>
            </p:cNvPr>
            <p:cNvSpPr/>
            <p:nvPr/>
          </p:nvSpPr>
          <p:spPr>
            <a:xfrm flipV="1">
              <a:off x="9726321" y="3838874"/>
              <a:ext cx="386982" cy="193497"/>
            </a:xfrm>
            <a:custGeom>
              <a:avLst/>
              <a:gdLst>
                <a:gd name="connsiteX0" fmla="*/ 189094 w 386982"/>
                <a:gd name="connsiteY0" fmla="*/ 192707 h 193497"/>
                <a:gd name="connsiteX1" fmla="*/ -4397 w 386982"/>
                <a:gd name="connsiteY1" fmla="*/ -791 h 193497"/>
                <a:gd name="connsiteX2" fmla="*/ 105884 w 386982"/>
                <a:gd name="connsiteY2" fmla="*/ -791 h 193497"/>
                <a:gd name="connsiteX3" fmla="*/ 189094 w 386982"/>
                <a:gd name="connsiteY3" fmla="*/ 82496 h 193497"/>
                <a:gd name="connsiteX4" fmla="*/ 272312 w 386982"/>
                <a:gd name="connsiteY4" fmla="*/ -791 h 193497"/>
                <a:gd name="connsiteX5" fmla="*/ 382585 w 386982"/>
                <a:gd name="connsiteY5" fmla="*/ -791 h 193497"/>
                <a:gd name="connsiteX6" fmla="*/ 189094 w 386982"/>
                <a:gd name="connsiteY6" fmla="*/ 192707 h 19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6982" h="193497">
                  <a:moveTo>
                    <a:pt x="189094" y="192707"/>
                  </a:moveTo>
                  <a:cubicBezTo>
                    <a:pt x="82267" y="192707"/>
                    <a:pt x="-4397" y="106112"/>
                    <a:pt x="-4397" y="-791"/>
                  </a:cubicBezTo>
                  <a:lnTo>
                    <a:pt x="105884" y="-791"/>
                  </a:lnTo>
                  <a:cubicBezTo>
                    <a:pt x="105884" y="45199"/>
                    <a:pt x="143111" y="82496"/>
                    <a:pt x="189094" y="82496"/>
                  </a:cubicBezTo>
                  <a:cubicBezTo>
                    <a:pt x="235085" y="82496"/>
                    <a:pt x="272312" y="45199"/>
                    <a:pt x="272312" y="-791"/>
                  </a:cubicBezTo>
                  <a:lnTo>
                    <a:pt x="382585" y="-791"/>
                  </a:lnTo>
                  <a:cubicBezTo>
                    <a:pt x="382585" y="106112"/>
                    <a:pt x="295922" y="192707"/>
                    <a:pt x="189094" y="192707"/>
                  </a:cubicBez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14683DDF-FB3C-FD3B-E2BF-A7DAF0648B15}"/>
                </a:ext>
              </a:extLst>
            </p:cNvPr>
            <p:cNvSpPr/>
            <p:nvPr/>
          </p:nvSpPr>
          <p:spPr>
            <a:xfrm flipV="1">
              <a:off x="9726321" y="3843991"/>
              <a:ext cx="174501" cy="188380"/>
            </a:xfrm>
            <a:custGeom>
              <a:avLst/>
              <a:gdLst>
                <a:gd name="connsiteX0" fmla="*/ 145171 w 174501"/>
                <a:gd name="connsiteY0" fmla="*/ 187594 h 188380"/>
                <a:gd name="connsiteX1" fmla="*/ -4263 w 174501"/>
                <a:gd name="connsiteY1" fmla="*/ -787 h 188380"/>
                <a:gd name="connsiteX2" fmla="*/ 106017 w 174501"/>
                <a:gd name="connsiteY2" fmla="*/ -787 h 188380"/>
                <a:gd name="connsiteX3" fmla="*/ 170238 w 174501"/>
                <a:gd name="connsiteY3" fmla="*/ 80283 h 188380"/>
                <a:gd name="connsiteX4" fmla="*/ 145171 w 174501"/>
                <a:gd name="connsiteY4" fmla="*/ 187594 h 188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501" h="188380">
                  <a:moveTo>
                    <a:pt x="145171" y="187594"/>
                  </a:moveTo>
                  <a:cubicBezTo>
                    <a:pt x="59543" y="167713"/>
                    <a:pt x="-4263" y="90918"/>
                    <a:pt x="-4263" y="-787"/>
                  </a:cubicBezTo>
                  <a:lnTo>
                    <a:pt x="106017" y="-787"/>
                  </a:lnTo>
                  <a:cubicBezTo>
                    <a:pt x="106017" y="38643"/>
                    <a:pt x="133439" y="71721"/>
                    <a:pt x="170238" y="80283"/>
                  </a:cubicBezTo>
                  <a:lnTo>
                    <a:pt x="145171" y="187594"/>
                  </a:lnTo>
                </a:path>
              </a:pathLst>
            </a:custGeom>
            <a:solidFill>
              <a:srgbClr val="14527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2C5FDFC3-368A-AAB4-FDD7-1239E51E8411}"/>
                </a:ext>
              </a:extLst>
            </p:cNvPr>
            <p:cNvSpPr/>
            <p:nvPr/>
          </p:nvSpPr>
          <p:spPr>
            <a:xfrm flipV="1">
              <a:off x="9875901" y="3843957"/>
              <a:ext cx="50644" cy="189975"/>
            </a:xfrm>
            <a:custGeom>
              <a:avLst/>
              <a:gdLst>
                <a:gd name="connsiteX0" fmla="*/ 32819 w 50644"/>
                <a:gd name="connsiteY0" fmla="*/ -785 h 189975"/>
                <a:gd name="connsiteX1" fmla="*/ -4373 w 50644"/>
                <a:gd name="connsiteY1" fmla="*/ 189191 h 189975"/>
                <a:gd name="connsiteX2" fmla="*/ 46271 w 50644"/>
                <a:gd name="connsiteY2" fmla="*/ 2350 h 189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644" h="189975">
                  <a:moveTo>
                    <a:pt x="32819" y="-785"/>
                  </a:moveTo>
                  <a:lnTo>
                    <a:pt x="-4373" y="189191"/>
                  </a:lnTo>
                  <a:lnTo>
                    <a:pt x="46271" y="2350"/>
                  </a:lnTo>
                  <a:close/>
                </a:path>
              </a:pathLst>
            </a:custGeom>
            <a:solidFill>
              <a:srgbClr val="17282F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FCF2F3F0-4C18-FEFD-DC57-E25CFCE6E2B7}"/>
                </a:ext>
              </a:extLst>
            </p:cNvPr>
            <p:cNvSpPr/>
            <p:nvPr/>
          </p:nvSpPr>
          <p:spPr>
            <a:xfrm flipV="1">
              <a:off x="9881253" y="3993798"/>
              <a:ext cx="77140" cy="77140"/>
            </a:xfrm>
            <a:custGeom>
              <a:avLst/>
              <a:gdLst>
                <a:gd name="connsiteX0" fmla="*/ 72744 w 77140"/>
                <a:gd name="connsiteY0" fmla="*/ 37935 h 77140"/>
                <a:gd name="connsiteX1" fmla="*/ 34177 w 77140"/>
                <a:gd name="connsiteY1" fmla="*/ -632 h 77140"/>
                <a:gd name="connsiteX2" fmla="*/ -4397 w 77140"/>
                <a:gd name="connsiteY2" fmla="*/ 37935 h 77140"/>
                <a:gd name="connsiteX3" fmla="*/ 34177 w 77140"/>
                <a:gd name="connsiteY3" fmla="*/ 76509 h 77140"/>
                <a:gd name="connsiteX4" fmla="*/ 72744 w 77140"/>
                <a:gd name="connsiteY4" fmla="*/ 37935 h 7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40" h="77140">
                  <a:moveTo>
                    <a:pt x="72744" y="37935"/>
                  </a:moveTo>
                  <a:cubicBezTo>
                    <a:pt x="72744" y="16632"/>
                    <a:pt x="55481" y="-632"/>
                    <a:pt x="34177" y="-632"/>
                  </a:cubicBezTo>
                  <a:cubicBezTo>
                    <a:pt x="12874" y="-632"/>
                    <a:pt x="-4397" y="16632"/>
                    <a:pt x="-4397" y="37935"/>
                  </a:cubicBezTo>
                  <a:cubicBezTo>
                    <a:pt x="-4397" y="59238"/>
                    <a:pt x="12874" y="76509"/>
                    <a:pt x="34177" y="76509"/>
                  </a:cubicBezTo>
                  <a:cubicBezTo>
                    <a:pt x="55481" y="76509"/>
                    <a:pt x="72744" y="59238"/>
                    <a:pt x="72744" y="37935"/>
                  </a:cubicBezTo>
                </a:path>
              </a:pathLst>
            </a:custGeom>
            <a:solidFill>
              <a:srgbClr val="E7E8E5"/>
            </a:solidFill>
            <a:ln w="690" cap="flat">
              <a:noFill/>
              <a:prstDash val="solid"/>
              <a:miter/>
            </a:ln>
          </p:spPr>
          <p:txBody>
            <a:bodyPr lIns="64008" tIns="32004" rIns="64008" bIns="32004"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BB482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E8254210-4FC9-476E-ABEC-EC1E6BA20F25}"/>
                </a:ext>
              </a:extLst>
            </p:cNvPr>
            <p:cNvGrpSpPr/>
            <p:nvPr/>
          </p:nvGrpSpPr>
          <p:grpSpPr>
            <a:xfrm>
              <a:off x="8428699" y="3301285"/>
              <a:ext cx="712519" cy="281300"/>
              <a:chOff x="8438108" y="3301285"/>
              <a:chExt cx="712519" cy="281300"/>
            </a:xfrm>
          </p:grpSpPr>
          <p:grpSp>
            <p:nvGrpSpPr>
              <p:cNvPr id="387" name="Group 386">
                <a:extLst>
                  <a:ext uri="{FF2B5EF4-FFF2-40B4-BE49-F238E27FC236}">
                    <a16:creationId xmlns:a16="http://schemas.microsoft.com/office/drawing/2014/main" id="{E0420728-F2A8-2E32-5539-3BC8CEE88800}"/>
                  </a:ext>
                </a:extLst>
              </p:cNvPr>
              <p:cNvGrpSpPr/>
              <p:nvPr/>
            </p:nvGrpSpPr>
            <p:grpSpPr>
              <a:xfrm>
                <a:off x="8896718" y="3301285"/>
                <a:ext cx="101040" cy="281300"/>
                <a:chOff x="8906644" y="3301285"/>
                <a:chExt cx="101040" cy="281300"/>
              </a:xfrm>
            </p:grpSpPr>
            <p:sp>
              <p:nvSpPr>
                <p:cNvPr id="400" name="Freeform: Shape 399">
                  <a:extLst>
                    <a:ext uri="{FF2B5EF4-FFF2-40B4-BE49-F238E27FC236}">
                      <a16:creationId xmlns:a16="http://schemas.microsoft.com/office/drawing/2014/main" id="{BC4A2D09-A0FE-E911-4557-DE6FF4F887EB}"/>
                    </a:ext>
                  </a:extLst>
                </p:cNvPr>
                <p:cNvSpPr/>
                <p:nvPr/>
              </p:nvSpPr>
              <p:spPr>
                <a:xfrm flipV="1">
                  <a:off x="8906644" y="3301285"/>
                  <a:ext cx="101040" cy="281300"/>
                </a:xfrm>
                <a:custGeom>
                  <a:avLst/>
                  <a:gdLst>
                    <a:gd name="connsiteX0" fmla="*/ 97852 w 101040"/>
                    <a:gd name="connsiteY0" fmla="*/ 279699 h 281300"/>
                    <a:gd name="connsiteX1" fmla="*/ -3188 w 101040"/>
                    <a:gd name="connsiteY1" fmla="*/ 279699 h 281300"/>
                    <a:gd name="connsiteX2" fmla="*/ -3188 w 101040"/>
                    <a:gd name="connsiteY2" fmla="*/ -1601 h 281300"/>
                    <a:gd name="connsiteX3" fmla="*/ 97852 w 101040"/>
                    <a:gd name="connsiteY3" fmla="*/ -1601 h 281300"/>
                    <a:gd name="connsiteX4" fmla="*/ 97852 w 101040"/>
                    <a:gd name="connsiteY4" fmla="*/ 279699 h 281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40" h="281300">
                      <a:moveTo>
                        <a:pt x="97852" y="279699"/>
                      </a:moveTo>
                      <a:lnTo>
                        <a:pt x="-3188" y="279699"/>
                      </a:lnTo>
                      <a:lnTo>
                        <a:pt x="-3188" y="-1601"/>
                      </a:lnTo>
                      <a:lnTo>
                        <a:pt x="97852" y="-1601"/>
                      </a:lnTo>
                      <a:lnTo>
                        <a:pt x="97852" y="279699"/>
                      </a:lnTo>
                    </a:path>
                  </a:pathLst>
                </a:custGeom>
                <a:solidFill>
                  <a:srgbClr val="E7E8E5"/>
                </a:solidFill>
                <a:ln w="690" cap="flat">
                  <a:noFill/>
                  <a:prstDash val="solid"/>
                  <a:miter/>
                </a:ln>
              </p:spPr>
              <p:txBody>
                <a:bodyPr lIns="64008" tIns="32004" rIns="64008" bIns="32004"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BB482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Freeform: Shape 400">
                  <a:extLst>
                    <a:ext uri="{FF2B5EF4-FFF2-40B4-BE49-F238E27FC236}">
                      <a16:creationId xmlns:a16="http://schemas.microsoft.com/office/drawing/2014/main" id="{29299AE2-1A4D-54B4-C747-069E5091596B}"/>
                    </a:ext>
                  </a:extLst>
                </p:cNvPr>
                <p:cNvSpPr/>
                <p:nvPr/>
              </p:nvSpPr>
              <p:spPr>
                <a:xfrm flipV="1">
                  <a:off x="8906644" y="3454565"/>
                  <a:ext cx="101040" cy="128020"/>
                </a:xfrm>
                <a:custGeom>
                  <a:avLst/>
                  <a:gdLst>
                    <a:gd name="connsiteX0" fmla="*/ 97852 w 101040"/>
                    <a:gd name="connsiteY0" fmla="*/ 126545 h 128020"/>
                    <a:gd name="connsiteX1" fmla="*/ -3188 w 101040"/>
                    <a:gd name="connsiteY1" fmla="*/ 126545 h 128020"/>
                    <a:gd name="connsiteX2" fmla="*/ -3188 w 101040"/>
                    <a:gd name="connsiteY2" fmla="*/ -1475 h 128020"/>
                    <a:gd name="connsiteX3" fmla="*/ 97852 w 101040"/>
                    <a:gd name="connsiteY3" fmla="*/ -1475 h 128020"/>
                    <a:gd name="connsiteX4" fmla="*/ 97852 w 101040"/>
                    <a:gd name="connsiteY4" fmla="*/ 126545 h 128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40" h="128020">
                      <a:moveTo>
                        <a:pt x="97852" y="126545"/>
                      </a:moveTo>
                      <a:lnTo>
                        <a:pt x="-3188" y="126545"/>
                      </a:lnTo>
                      <a:lnTo>
                        <a:pt x="-3188" y="-1475"/>
                      </a:lnTo>
                      <a:lnTo>
                        <a:pt x="97852" y="-1475"/>
                      </a:lnTo>
                      <a:lnTo>
                        <a:pt x="97852" y="126545"/>
                      </a:lnTo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90" cap="flat">
                  <a:noFill/>
                  <a:prstDash val="solid"/>
                  <a:miter/>
                </a:ln>
              </p:spPr>
              <p:txBody>
                <a:bodyPr lIns="64008" tIns="32004" rIns="64008" bIns="32004"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BB482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88" name="Group 387">
                <a:extLst>
                  <a:ext uri="{FF2B5EF4-FFF2-40B4-BE49-F238E27FC236}">
                    <a16:creationId xmlns:a16="http://schemas.microsoft.com/office/drawing/2014/main" id="{5EF838E2-1019-4A0F-2858-F78503435315}"/>
                  </a:ext>
                </a:extLst>
              </p:cNvPr>
              <p:cNvGrpSpPr/>
              <p:nvPr/>
            </p:nvGrpSpPr>
            <p:grpSpPr>
              <a:xfrm>
                <a:off x="9049587" y="3301285"/>
                <a:ext cx="101040" cy="281300"/>
                <a:chOff x="9049587" y="3301285"/>
                <a:chExt cx="101040" cy="281300"/>
              </a:xfrm>
            </p:grpSpPr>
            <p:sp>
              <p:nvSpPr>
                <p:cNvPr id="398" name="Freeform: Shape 397">
                  <a:extLst>
                    <a:ext uri="{FF2B5EF4-FFF2-40B4-BE49-F238E27FC236}">
                      <a16:creationId xmlns:a16="http://schemas.microsoft.com/office/drawing/2014/main" id="{32A7314E-02DD-7418-C657-41FDA6065CA9}"/>
                    </a:ext>
                  </a:extLst>
                </p:cNvPr>
                <p:cNvSpPr/>
                <p:nvPr/>
              </p:nvSpPr>
              <p:spPr>
                <a:xfrm flipV="1">
                  <a:off x="9049587" y="3301285"/>
                  <a:ext cx="101040" cy="281300"/>
                </a:xfrm>
                <a:custGeom>
                  <a:avLst/>
                  <a:gdLst>
                    <a:gd name="connsiteX0" fmla="*/ 97673 w 101040"/>
                    <a:gd name="connsiteY0" fmla="*/ 279699 h 281300"/>
                    <a:gd name="connsiteX1" fmla="*/ -3368 w 101040"/>
                    <a:gd name="connsiteY1" fmla="*/ 279699 h 281300"/>
                    <a:gd name="connsiteX2" fmla="*/ -3368 w 101040"/>
                    <a:gd name="connsiteY2" fmla="*/ -1601 h 281300"/>
                    <a:gd name="connsiteX3" fmla="*/ 97673 w 101040"/>
                    <a:gd name="connsiteY3" fmla="*/ -1601 h 281300"/>
                    <a:gd name="connsiteX4" fmla="*/ 97673 w 101040"/>
                    <a:gd name="connsiteY4" fmla="*/ 279699 h 281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40" h="281300">
                      <a:moveTo>
                        <a:pt x="97673" y="279699"/>
                      </a:moveTo>
                      <a:lnTo>
                        <a:pt x="-3368" y="279699"/>
                      </a:lnTo>
                      <a:lnTo>
                        <a:pt x="-3368" y="-1601"/>
                      </a:lnTo>
                      <a:lnTo>
                        <a:pt x="97673" y="-1601"/>
                      </a:lnTo>
                      <a:lnTo>
                        <a:pt x="97673" y="279699"/>
                      </a:lnTo>
                    </a:path>
                  </a:pathLst>
                </a:custGeom>
                <a:solidFill>
                  <a:srgbClr val="E7E8E5"/>
                </a:solidFill>
                <a:ln w="690" cap="flat">
                  <a:noFill/>
                  <a:prstDash val="solid"/>
                  <a:miter/>
                </a:ln>
              </p:spPr>
              <p:txBody>
                <a:bodyPr lIns="64008" tIns="32004" rIns="64008" bIns="32004"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BB482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Freeform: Shape 398">
                  <a:extLst>
                    <a:ext uri="{FF2B5EF4-FFF2-40B4-BE49-F238E27FC236}">
                      <a16:creationId xmlns:a16="http://schemas.microsoft.com/office/drawing/2014/main" id="{B8CCB5FC-55AF-C8D0-5DC6-CC5B639153A6}"/>
                    </a:ext>
                  </a:extLst>
                </p:cNvPr>
                <p:cNvSpPr/>
                <p:nvPr/>
              </p:nvSpPr>
              <p:spPr>
                <a:xfrm flipV="1">
                  <a:off x="9049587" y="3378204"/>
                  <a:ext cx="101040" cy="204380"/>
                </a:xfrm>
                <a:custGeom>
                  <a:avLst/>
                  <a:gdLst>
                    <a:gd name="connsiteX0" fmla="*/ 97673 w 101040"/>
                    <a:gd name="connsiteY0" fmla="*/ 202843 h 204380"/>
                    <a:gd name="connsiteX1" fmla="*/ -3368 w 101040"/>
                    <a:gd name="connsiteY1" fmla="*/ 202843 h 204380"/>
                    <a:gd name="connsiteX2" fmla="*/ -3368 w 101040"/>
                    <a:gd name="connsiteY2" fmla="*/ -1538 h 204380"/>
                    <a:gd name="connsiteX3" fmla="*/ 97673 w 101040"/>
                    <a:gd name="connsiteY3" fmla="*/ -1538 h 204380"/>
                    <a:gd name="connsiteX4" fmla="*/ 97673 w 101040"/>
                    <a:gd name="connsiteY4" fmla="*/ 202843 h 204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40" h="204380">
                      <a:moveTo>
                        <a:pt x="97673" y="202843"/>
                      </a:moveTo>
                      <a:lnTo>
                        <a:pt x="-3368" y="202843"/>
                      </a:lnTo>
                      <a:lnTo>
                        <a:pt x="-3368" y="-1538"/>
                      </a:lnTo>
                      <a:lnTo>
                        <a:pt x="97673" y="-1538"/>
                      </a:lnTo>
                      <a:lnTo>
                        <a:pt x="97673" y="202843"/>
                      </a:lnTo>
                    </a:path>
                  </a:pathLst>
                </a:custGeom>
                <a:solidFill>
                  <a:srgbClr val="145275"/>
                </a:solidFill>
                <a:ln w="690" cap="flat">
                  <a:noFill/>
                  <a:prstDash val="solid"/>
                  <a:miter/>
                </a:ln>
              </p:spPr>
              <p:txBody>
                <a:bodyPr lIns="64008" tIns="32004" rIns="64008" bIns="32004"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BB482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89" name="Group 388">
                <a:extLst>
                  <a:ext uri="{FF2B5EF4-FFF2-40B4-BE49-F238E27FC236}">
                    <a16:creationId xmlns:a16="http://schemas.microsoft.com/office/drawing/2014/main" id="{DC1BBE18-C2CA-F00E-F8E3-BE848E1E4531}"/>
                  </a:ext>
                </a:extLst>
              </p:cNvPr>
              <p:cNvGrpSpPr/>
              <p:nvPr/>
            </p:nvGrpSpPr>
            <p:grpSpPr>
              <a:xfrm>
                <a:off x="8743848" y="3301285"/>
                <a:ext cx="101040" cy="281300"/>
                <a:chOff x="8906644" y="3301285"/>
                <a:chExt cx="101040" cy="281300"/>
              </a:xfrm>
            </p:grpSpPr>
            <p:sp>
              <p:nvSpPr>
                <p:cNvPr id="396" name="Freeform: Shape 395">
                  <a:extLst>
                    <a:ext uri="{FF2B5EF4-FFF2-40B4-BE49-F238E27FC236}">
                      <a16:creationId xmlns:a16="http://schemas.microsoft.com/office/drawing/2014/main" id="{398EF205-34D9-5F01-DE44-3D8F2638914F}"/>
                    </a:ext>
                  </a:extLst>
                </p:cNvPr>
                <p:cNvSpPr/>
                <p:nvPr/>
              </p:nvSpPr>
              <p:spPr>
                <a:xfrm flipV="1">
                  <a:off x="8906644" y="3301285"/>
                  <a:ext cx="101040" cy="281300"/>
                </a:xfrm>
                <a:custGeom>
                  <a:avLst/>
                  <a:gdLst>
                    <a:gd name="connsiteX0" fmla="*/ 97852 w 101040"/>
                    <a:gd name="connsiteY0" fmla="*/ 279699 h 281300"/>
                    <a:gd name="connsiteX1" fmla="*/ -3188 w 101040"/>
                    <a:gd name="connsiteY1" fmla="*/ 279699 h 281300"/>
                    <a:gd name="connsiteX2" fmla="*/ -3188 w 101040"/>
                    <a:gd name="connsiteY2" fmla="*/ -1601 h 281300"/>
                    <a:gd name="connsiteX3" fmla="*/ 97852 w 101040"/>
                    <a:gd name="connsiteY3" fmla="*/ -1601 h 281300"/>
                    <a:gd name="connsiteX4" fmla="*/ 97852 w 101040"/>
                    <a:gd name="connsiteY4" fmla="*/ 279699 h 281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40" h="281300">
                      <a:moveTo>
                        <a:pt x="97852" y="279699"/>
                      </a:moveTo>
                      <a:lnTo>
                        <a:pt x="-3188" y="279699"/>
                      </a:lnTo>
                      <a:lnTo>
                        <a:pt x="-3188" y="-1601"/>
                      </a:lnTo>
                      <a:lnTo>
                        <a:pt x="97852" y="-1601"/>
                      </a:lnTo>
                      <a:lnTo>
                        <a:pt x="97852" y="279699"/>
                      </a:lnTo>
                    </a:path>
                  </a:pathLst>
                </a:custGeom>
                <a:solidFill>
                  <a:srgbClr val="E7E8E5"/>
                </a:solidFill>
                <a:ln w="690" cap="flat">
                  <a:noFill/>
                  <a:prstDash val="solid"/>
                  <a:miter/>
                </a:ln>
              </p:spPr>
              <p:txBody>
                <a:bodyPr lIns="64008" tIns="32004" rIns="64008" bIns="32004"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BB482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Freeform: Shape 396">
                  <a:extLst>
                    <a:ext uri="{FF2B5EF4-FFF2-40B4-BE49-F238E27FC236}">
                      <a16:creationId xmlns:a16="http://schemas.microsoft.com/office/drawing/2014/main" id="{82D5B2E9-E413-649F-056A-57EEF85C3FD9}"/>
                    </a:ext>
                  </a:extLst>
                </p:cNvPr>
                <p:cNvSpPr/>
                <p:nvPr/>
              </p:nvSpPr>
              <p:spPr>
                <a:xfrm flipV="1">
                  <a:off x="8906644" y="3454565"/>
                  <a:ext cx="101040" cy="128020"/>
                </a:xfrm>
                <a:custGeom>
                  <a:avLst/>
                  <a:gdLst>
                    <a:gd name="connsiteX0" fmla="*/ 97852 w 101040"/>
                    <a:gd name="connsiteY0" fmla="*/ 126545 h 128020"/>
                    <a:gd name="connsiteX1" fmla="*/ -3188 w 101040"/>
                    <a:gd name="connsiteY1" fmla="*/ 126545 h 128020"/>
                    <a:gd name="connsiteX2" fmla="*/ -3188 w 101040"/>
                    <a:gd name="connsiteY2" fmla="*/ -1475 h 128020"/>
                    <a:gd name="connsiteX3" fmla="*/ 97852 w 101040"/>
                    <a:gd name="connsiteY3" fmla="*/ -1475 h 128020"/>
                    <a:gd name="connsiteX4" fmla="*/ 97852 w 101040"/>
                    <a:gd name="connsiteY4" fmla="*/ 126545 h 128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40" h="128020">
                      <a:moveTo>
                        <a:pt x="97852" y="126545"/>
                      </a:moveTo>
                      <a:lnTo>
                        <a:pt x="-3188" y="126545"/>
                      </a:lnTo>
                      <a:lnTo>
                        <a:pt x="-3188" y="-1475"/>
                      </a:lnTo>
                      <a:lnTo>
                        <a:pt x="97852" y="-1475"/>
                      </a:lnTo>
                      <a:lnTo>
                        <a:pt x="97852" y="126545"/>
                      </a:lnTo>
                    </a:path>
                  </a:pathLst>
                </a:custGeom>
                <a:solidFill>
                  <a:srgbClr val="145275"/>
                </a:solidFill>
                <a:ln w="690" cap="flat">
                  <a:noFill/>
                  <a:prstDash val="solid"/>
                  <a:miter/>
                </a:ln>
              </p:spPr>
              <p:txBody>
                <a:bodyPr lIns="64008" tIns="32004" rIns="64008" bIns="32004"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BB482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90" name="Group 389">
                <a:extLst>
                  <a:ext uri="{FF2B5EF4-FFF2-40B4-BE49-F238E27FC236}">
                    <a16:creationId xmlns:a16="http://schemas.microsoft.com/office/drawing/2014/main" id="{BC66A9B6-91A8-D462-DA0A-7B5860539A18}"/>
                  </a:ext>
                </a:extLst>
              </p:cNvPr>
              <p:cNvGrpSpPr/>
              <p:nvPr/>
            </p:nvGrpSpPr>
            <p:grpSpPr>
              <a:xfrm>
                <a:off x="8590978" y="3301285"/>
                <a:ext cx="101040" cy="281300"/>
                <a:chOff x="8906644" y="3301285"/>
                <a:chExt cx="101040" cy="281300"/>
              </a:xfrm>
            </p:grpSpPr>
            <p:sp>
              <p:nvSpPr>
                <p:cNvPr id="394" name="Freeform: Shape 393">
                  <a:extLst>
                    <a:ext uri="{FF2B5EF4-FFF2-40B4-BE49-F238E27FC236}">
                      <a16:creationId xmlns:a16="http://schemas.microsoft.com/office/drawing/2014/main" id="{E0831E27-183C-8E2B-2BBC-ECFB72EC2E22}"/>
                    </a:ext>
                  </a:extLst>
                </p:cNvPr>
                <p:cNvSpPr/>
                <p:nvPr/>
              </p:nvSpPr>
              <p:spPr>
                <a:xfrm flipV="1">
                  <a:off x="8906644" y="3301285"/>
                  <a:ext cx="101040" cy="281300"/>
                </a:xfrm>
                <a:custGeom>
                  <a:avLst/>
                  <a:gdLst>
                    <a:gd name="connsiteX0" fmla="*/ 97852 w 101040"/>
                    <a:gd name="connsiteY0" fmla="*/ 279699 h 281300"/>
                    <a:gd name="connsiteX1" fmla="*/ -3188 w 101040"/>
                    <a:gd name="connsiteY1" fmla="*/ 279699 h 281300"/>
                    <a:gd name="connsiteX2" fmla="*/ -3188 w 101040"/>
                    <a:gd name="connsiteY2" fmla="*/ -1601 h 281300"/>
                    <a:gd name="connsiteX3" fmla="*/ 97852 w 101040"/>
                    <a:gd name="connsiteY3" fmla="*/ -1601 h 281300"/>
                    <a:gd name="connsiteX4" fmla="*/ 97852 w 101040"/>
                    <a:gd name="connsiteY4" fmla="*/ 279699 h 281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40" h="281300">
                      <a:moveTo>
                        <a:pt x="97852" y="279699"/>
                      </a:moveTo>
                      <a:lnTo>
                        <a:pt x="-3188" y="279699"/>
                      </a:lnTo>
                      <a:lnTo>
                        <a:pt x="-3188" y="-1601"/>
                      </a:lnTo>
                      <a:lnTo>
                        <a:pt x="97852" y="-1601"/>
                      </a:lnTo>
                      <a:lnTo>
                        <a:pt x="97852" y="279699"/>
                      </a:lnTo>
                    </a:path>
                  </a:pathLst>
                </a:custGeom>
                <a:solidFill>
                  <a:srgbClr val="E7E8E5"/>
                </a:solidFill>
                <a:ln w="690" cap="flat">
                  <a:noFill/>
                  <a:prstDash val="solid"/>
                  <a:miter/>
                </a:ln>
              </p:spPr>
              <p:txBody>
                <a:bodyPr lIns="64008" tIns="32004" rIns="64008" bIns="32004"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BB482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Freeform: Shape 394">
                  <a:extLst>
                    <a:ext uri="{FF2B5EF4-FFF2-40B4-BE49-F238E27FC236}">
                      <a16:creationId xmlns:a16="http://schemas.microsoft.com/office/drawing/2014/main" id="{A7E87060-76B9-59B4-F24E-98D2FF30D5BA}"/>
                    </a:ext>
                  </a:extLst>
                </p:cNvPr>
                <p:cNvSpPr/>
                <p:nvPr/>
              </p:nvSpPr>
              <p:spPr>
                <a:xfrm flipV="1">
                  <a:off x="8906644" y="3454565"/>
                  <a:ext cx="101040" cy="128020"/>
                </a:xfrm>
                <a:custGeom>
                  <a:avLst/>
                  <a:gdLst>
                    <a:gd name="connsiteX0" fmla="*/ 97852 w 101040"/>
                    <a:gd name="connsiteY0" fmla="*/ 126545 h 128020"/>
                    <a:gd name="connsiteX1" fmla="*/ -3188 w 101040"/>
                    <a:gd name="connsiteY1" fmla="*/ 126545 h 128020"/>
                    <a:gd name="connsiteX2" fmla="*/ -3188 w 101040"/>
                    <a:gd name="connsiteY2" fmla="*/ -1475 h 128020"/>
                    <a:gd name="connsiteX3" fmla="*/ 97852 w 101040"/>
                    <a:gd name="connsiteY3" fmla="*/ -1475 h 128020"/>
                    <a:gd name="connsiteX4" fmla="*/ 97852 w 101040"/>
                    <a:gd name="connsiteY4" fmla="*/ 126545 h 128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40" h="128020">
                      <a:moveTo>
                        <a:pt x="97852" y="126545"/>
                      </a:moveTo>
                      <a:lnTo>
                        <a:pt x="-3188" y="126545"/>
                      </a:lnTo>
                      <a:lnTo>
                        <a:pt x="-3188" y="-1475"/>
                      </a:lnTo>
                      <a:lnTo>
                        <a:pt x="97852" y="-1475"/>
                      </a:lnTo>
                      <a:lnTo>
                        <a:pt x="97852" y="126545"/>
                      </a:lnTo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90" cap="flat">
                  <a:noFill/>
                  <a:prstDash val="solid"/>
                  <a:miter/>
                </a:ln>
              </p:spPr>
              <p:txBody>
                <a:bodyPr lIns="64008" tIns="32004" rIns="64008" bIns="32004"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BB482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91" name="Group 390">
                <a:extLst>
                  <a:ext uri="{FF2B5EF4-FFF2-40B4-BE49-F238E27FC236}">
                    <a16:creationId xmlns:a16="http://schemas.microsoft.com/office/drawing/2014/main" id="{B7ABC760-1EA5-D53E-4137-8CC5FE5E2F38}"/>
                  </a:ext>
                </a:extLst>
              </p:cNvPr>
              <p:cNvGrpSpPr/>
              <p:nvPr/>
            </p:nvGrpSpPr>
            <p:grpSpPr>
              <a:xfrm>
                <a:off x="8438108" y="3301285"/>
                <a:ext cx="101040" cy="281300"/>
                <a:chOff x="8906644" y="3301285"/>
                <a:chExt cx="101040" cy="281300"/>
              </a:xfrm>
            </p:grpSpPr>
            <p:sp>
              <p:nvSpPr>
                <p:cNvPr id="392" name="Freeform: Shape 391">
                  <a:extLst>
                    <a:ext uri="{FF2B5EF4-FFF2-40B4-BE49-F238E27FC236}">
                      <a16:creationId xmlns:a16="http://schemas.microsoft.com/office/drawing/2014/main" id="{E2E14269-DB1C-44AF-AADD-1C6445C0E9E4}"/>
                    </a:ext>
                  </a:extLst>
                </p:cNvPr>
                <p:cNvSpPr/>
                <p:nvPr/>
              </p:nvSpPr>
              <p:spPr>
                <a:xfrm flipV="1">
                  <a:off x="8906644" y="3301285"/>
                  <a:ext cx="101040" cy="281300"/>
                </a:xfrm>
                <a:custGeom>
                  <a:avLst/>
                  <a:gdLst>
                    <a:gd name="connsiteX0" fmla="*/ 97852 w 101040"/>
                    <a:gd name="connsiteY0" fmla="*/ 279699 h 281300"/>
                    <a:gd name="connsiteX1" fmla="*/ -3188 w 101040"/>
                    <a:gd name="connsiteY1" fmla="*/ 279699 h 281300"/>
                    <a:gd name="connsiteX2" fmla="*/ -3188 w 101040"/>
                    <a:gd name="connsiteY2" fmla="*/ -1601 h 281300"/>
                    <a:gd name="connsiteX3" fmla="*/ 97852 w 101040"/>
                    <a:gd name="connsiteY3" fmla="*/ -1601 h 281300"/>
                    <a:gd name="connsiteX4" fmla="*/ 97852 w 101040"/>
                    <a:gd name="connsiteY4" fmla="*/ 279699 h 281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40" h="281300">
                      <a:moveTo>
                        <a:pt x="97852" y="279699"/>
                      </a:moveTo>
                      <a:lnTo>
                        <a:pt x="-3188" y="279699"/>
                      </a:lnTo>
                      <a:lnTo>
                        <a:pt x="-3188" y="-1601"/>
                      </a:lnTo>
                      <a:lnTo>
                        <a:pt x="97852" y="-1601"/>
                      </a:lnTo>
                      <a:lnTo>
                        <a:pt x="97852" y="279699"/>
                      </a:lnTo>
                    </a:path>
                  </a:pathLst>
                </a:custGeom>
                <a:solidFill>
                  <a:srgbClr val="E7E8E5"/>
                </a:solidFill>
                <a:ln w="690" cap="flat">
                  <a:noFill/>
                  <a:prstDash val="solid"/>
                  <a:miter/>
                </a:ln>
              </p:spPr>
              <p:txBody>
                <a:bodyPr lIns="64008" tIns="32004" rIns="64008" bIns="32004"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BB482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Freeform: Shape 392">
                  <a:extLst>
                    <a:ext uri="{FF2B5EF4-FFF2-40B4-BE49-F238E27FC236}">
                      <a16:creationId xmlns:a16="http://schemas.microsoft.com/office/drawing/2014/main" id="{8A7A899E-4722-91EF-5E8C-39F1F7488CC9}"/>
                    </a:ext>
                  </a:extLst>
                </p:cNvPr>
                <p:cNvSpPr/>
                <p:nvPr/>
              </p:nvSpPr>
              <p:spPr>
                <a:xfrm flipV="1">
                  <a:off x="8906644" y="3454565"/>
                  <a:ext cx="101040" cy="128020"/>
                </a:xfrm>
                <a:custGeom>
                  <a:avLst/>
                  <a:gdLst>
                    <a:gd name="connsiteX0" fmla="*/ 97852 w 101040"/>
                    <a:gd name="connsiteY0" fmla="*/ 126545 h 128020"/>
                    <a:gd name="connsiteX1" fmla="*/ -3188 w 101040"/>
                    <a:gd name="connsiteY1" fmla="*/ 126545 h 128020"/>
                    <a:gd name="connsiteX2" fmla="*/ -3188 w 101040"/>
                    <a:gd name="connsiteY2" fmla="*/ -1475 h 128020"/>
                    <a:gd name="connsiteX3" fmla="*/ 97852 w 101040"/>
                    <a:gd name="connsiteY3" fmla="*/ -1475 h 128020"/>
                    <a:gd name="connsiteX4" fmla="*/ 97852 w 101040"/>
                    <a:gd name="connsiteY4" fmla="*/ 126545 h 128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040" h="128020">
                      <a:moveTo>
                        <a:pt x="97852" y="126545"/>
                      </a:moveTo>
                      <a:lnTo>
                        <a:pt x="-3188" y="126545"/>
                      </a:lnTo>
                      <a:lnTo>
                        <a:pt x="-3188" y="-1475"/>
                      </a:lnTo>
                      <a:lnTo>
                        <a:pt x="97852" y="-1475"/>
                      </a:lnTo>
                      <a:lnTo>
                        <a:pt x="97852" y="126545"/>
                      </a:lnTo>
                    </a:path>
                  </a:pathLst>
                </a:custGeom>
                <a:solidFill>
                  <a:srgbClr val="145275"/>
                </a:solidFill>
                <a:ln w="690" cap="flat">
                  <a:noFill/>
                  <a:prstDash val="solid"/>
                  <a:miter/>
                </a:ln>
              </p:spPr>
              <p:txBody>
                <a:bodyPr lIns="64008" tIns="32004" rIns="64008" bIns="32004" rtlCol="0" anchor="ctr"/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BB482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97435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5FFD05-DA13-4586-8689-F7C5A1E64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5FFD05-DA13-4586-8689-F7C5A1E64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CE9BFC-8864-4B3F-B888-5F528EA261BC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fld id="{00000000-1234-1234-1234-123412341234}" type="slidenum">
              <a:rPr kumimoji="0" lang="nl-NL" sz="1733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Ubuntu Ligh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  <a:tabLst/>
                <a:defRPr/>
              </a:pPr>
              <a:t>4</a:t>
            </a:fld>
            <a:endParaRPr kumimoji="0" lang="nl-NL" sz="1733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Ubuntu Light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27C0868B-A5FC-4E71-9B18-BB6D27B302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440" y="336182"/>
            <a:ext cx="11705119" cy="1318998"/>
          </a:xfrm>
        </p:spPr>
        <p:txBody>
          <a:bodyPr vert="horz" tIns="0" bIns="0" anchor="t"/>
          <a:lstStyle/>
          <a:p>
            <a:pPr algn="l"/>
            <a:r>
              <a:rPr lang="en-US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me Series Forecasting (CRISP-DM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EE3682B-36DD-8122-AD41-A50E944C57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30" y="6146867"/>
            <a:ext cx="1279999" cy="5248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6445B68-8578-CEF1-BEC4-5F4CFBBB43EB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220" y="6441734"/>
            <a:ext cx="1905000" cy="207708"/>
          </a:xfrm>
          <a:prstGeom prst="rect">
            <a:avLst/>
          </a:prstGeom>
        </p:spPr>
      </p:pic>
      <p:grpSp>
        <p:nvGrpSpPr>
          <p:cNvPr id="402" name="Group 401">
            <a:extLst>
              <a:ext uri="{FF2B5EF4-FFF2-40B4-BE49-F238E27FC236}">
                <a16:creationId xmlns:a16="http://schemas.microsoft.com/office/drawing/2014/main" id="{6F04B63D-62D0-5A0C-81C6-1E47E423DB94}"/>
              </a:ext>
            </a:extLst>
          </p:cNvPr>
          <p:cNvGrpSpPr/>
          <p:nvPr/>
        </p:nvGrpSpPr>
        <p:grpSpPr>
          <a:xfrm>
            <a:off x="9219999" y="3045399"/>
            <a:ext cx="2349065" cy="3101468"/>
            <a:chOff x="4953134" y="1836052"/>
            <a:chExt cx="2443737" cy="3226463"/>
          </a:xfrm>
        </p:grpSpPr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79B02943-6DB6-A9C8-B7C2-ADD56C1A2461}"/>
                </a:ext>
              </a:extLst>
            </p:cNvPr>
            <p:cNvSpPr/>
            <p:nvPr/>
          </p:nvSpPr>
          <p:spPr>
            <a:xfrm flipV="1">
              <a:off x="5055882" y="4176439"/>
              <a:ext cx="2332102" cy="886076"/>
            </a:xfrm>
            <a:custGeom>
              <a:avLst/>
              <a:gdLst>
                <a:gd name="connsiteX0" fmla="*/ 1712457 w 2332102"/>
                <a:gd name="connsiteY0" fmla="*/ 886044 h 886076"/>
                <a:gd name="connsiteX1" fmla="*/ 2152586 w 2332102"/>
                <a:gd name="connsiteY1" fmla="*/ 872320 h 886076"/>
                <a:gd name="connsiteX2" fmla="*/ 2221154 w 2332102"/>
                <a:gd name="connsiteY2" fmla="*/ 789096 h 886076"/>
                <a:gd name="connsiteX3" fmla="*/ 2168943 w 2332102"/>
                <a:gd name="connsiteY3" fmla="*/ 456940 h 886076"/>
                <a:gd name="connsiteX4" fmla="*/ 2139469 w 2332102"/>
                <a:gd name="connsiteY4" fmla="*/ 269450 h 886076"/>
                <a:gd name="connsiteX5" fmla="*/ 2180692 w 2332102"/>
                <a:gd name="connsiteY5" fmla="*/ 192622 h 886076"/>
                <a:gd name="connsiteX6" fmla="*/ 2289976 w 2332102"/>
                <a:gd name="connsiteY6" fmla="*/ 143100 h 886076"/>
                <a:gd name="connsiteX7" fmla="*/ 2331704 w 2332102"/>
                <a:gd name="connsiteY7" fmla="*/ 70182 h 886076"/>
                <a:gd name="connsiteX8" fmla="*/ 2324248 w 2332102"/>
                <a:gd name="connsiteY8" fmla="*/ 0 h 886076"/>
                <a:gd name="connsiteX9" fmla="*/ 0 w 2332102"/>
                <a:gd name="connsiteY9" fmla="*/ 0 h 886076"/>
                <a:gd name="connsiteX10" fmla="*/ 73708 w 2332102"/>
                <a:gd name="connsiteY10" fmla="*/ 102957 h 886076"/>
                <a:gd name="connsiteX11" fmla="*/ 128062 w 2332102"/>
                <a:gd name="connsiteY11" fmla="*/ 127913 h 886076"/>
                <a:gd name="connsiteX12" fmla="*/ 182815 w 2332102"/>
                <a:gd name="connsiteY12" fmla="*/ 191498 h 886076"/>
                <a:gd name="connsiteX13" fmla="*/ 237169 w 2332102"/>
                <a:gd name="connsiteY13" fmla="*/ 216454 h 886076"/>
                <a:gd name="connsiteX14" fmla="*/ 523722 w 2332102"/>
                <a:gd name="connsiteY14" fmla="*/ 226284 h 886076"/>
                <a:gd name="connsiteX15" fmla="*/ 586725 w 2332102"/>
                <a:gd name="connsiteY15" fmla="*/ 263698 h 886076"/>
                <a:gd name="connsiteX16" fmla="*/ 658272 w 2332102"/>
                <a:gd name="connsiteY16" fmla="*/ 399715 h 886076"/>
                <a:gd name="connsiteX17" fmla="*/ 721279 w 2332102"/>
                <a:gd name="connsiteY17" fmla="*/ 437174 h 886076"/>
                <a:gd name="connsiteX18" fmla="*/ 914729 w 2332102"/>
                <a:gd name="connsiteY18" fmla="*/ 437174 h 886076"/>
                <a:gd name="connsiteX19" fmla="*/ 980219 w 2332102"/>
                <a:gd name="connsiteY19" fmla="*/ 479668 h 886076"/>
                <a:gd name="connsiteX20" fmla="*/ 1333903 w 2332102"/>
                <a:gd name="connsiteY20" fmla="*/ 795588 h 886076"/>
                <a:gd name="connsiteX21" fmla="*/ 1395199 w 2332102"/>
                <a:gd name="connsiteY21" fmla="*/ 837985 h 886076"/>
                <a:gd name="connsiteX22" fmla="*/ 1620492 w 2332102"/>
                <a:gd name="connsiteY22" fmla="*/ 851173 h 886076"/>
                <a:gd name="connsiteX23" fmla="*/ 1663274 w 2332102"/>
                <a:gd name="connsiteY23" fmla="*/ 868558 h 886076"/>
                <a:gd name="connsiteX24" fmla="*/ 1712457 w 2332102"/>
                <a:gd name="connsiteY24" fmla="*/ 886044 h 886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332102" h="886076">
                  <a:moveTo>
                    <a:pt x="1712457" y="886044"/>
                  </a:moveTo>
                  <a:lnTo>
                    <a:pt x="2152586" y="872320"/>
                  </a:lnTo>
                  <a:cubicBezTo>
                    <a:pt x="2195884" y="870953"/>
                    <a:pt x="2228092" y="831833"/>
                    <a:pt x="2221154" y="789096"/>
                  </a:cubicBezTo>
                  <a:lnTo>
                    <a:pt x="2168943" y="456940"/>
                  </a:lnTo>
                  <a:lnTo>
                    <a:pt x="2139469" y="269450"/>
                  </a:lnTo>
                  <a:cubicBezTo>
                    <a:pt x="2134304" y="237455"/>
                    <a:pt x="2151168" y="205956"/>
                    <a:pt x="2180692" y="192622"/>
                  </a:cubicBezTo>
                  <a:lnTo>
                    <a:pt x="2289976" y="143100"/>
                  </a:lnTo>
                  <a:cubicBezTo>
                    <a:pt x="2318183" y="130354"/>
                    <a:pt x="2334945" y="100951"/>
                    <a:pt x="2331704" y="70182"/>
                  </a:cubicBezTo>
                  <a:lnTo>
                    <a:pt x="2324248" y="0"/>
                  </a:lnTo>
                  <a:lnTo>
                    <a:pt x="0" y="0"/>
                  </a:lnTo>
                  <a:lnTo>
                    <a:pt x="73708" y="102957"/>
                  </a:lnTo>
                  <a:cubicBezTo>
                    <a:pt x="94603" y="102957"/>
                    <a:pt x="114439" y="112087"/>
                    <a:pt x="128062" y="127913"/>
                  </a:cubicBezTo>
                  <a:lnTo>
                    <a:pt x="182815" y="191498"/>
                  </a:lnTo>
                  <a:cubicBezTo>
                    <a:pt x="196438" y="207324"/>
                    <a:pt x="216314" y="216454"/>
                    <a:pt x="237169" y="216454"/>
                  </a:cubicBezTo>
                  <a:lnTo>
                    <a:pt x="523722" y="226284"/>
                  </a:lnTo>
                  <a:cubicBezTo>
                    <a:pt x="549995" y="226284"/>
                    <a:pt x="574126" y="240646"/>
                    <a:pt x="586725" y="263698"/>
                  </a:cubicBezTo>
                  <a:lnTo>
                    <a:pt x="658272" y="399715"/>
                  </a:lnTo>
                  <a:cubicBezTo>
                    <a:pt x="670830" y="422818"/>
                    <a:pt x="695002" y="437174"/>
                    <a:pt x="721279" y="437174"/>
                  </a:cubicBezTo>
                  <a:lnTo>
                    <a:pt x="914729" y="437174"/>
                  </a:lnTo>
                  <a:cubicBezTo>
                    <a:pt x="943007" y="437174"/>
                    <a:pt x="968698" y="453830"/>
                    <a:pt x="980219" y="479668"/>
                  </a:cubicBezTo>
                  <a:lnTo>
                    <a:pt x="1333903" y="795588"/>
                  </a:lnTo>
                  <a:cubicBezTo>
                    <a:pt x="1344796" y="820063"/>
                    <a:pt x="1368435" y="836421"/>
                    <a:pt x="1395199" y="837985"/>
                  </a:cubicBezTo>
                  <a:lnTo>
                    <a:pt x="1620492" y="851173"/>
                  </a:lnTo>
                  <a:cubicBezTo>
                    <a:pt x="1636267" y="852099"/>
                    <a:pt x="1651313" y="858206"/>
                    <a:pt x="1663274" y="868558"/>
                  </a:cubicBezTo>
                  <a:cubicBezTo>
                    <a:pt x="1676901" y="880377"/>
                    <a:pt x="1694438" y="886581"/>
                    <a:pt x="1712457" y="886044"/>
                  </a:cubicBez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5C64E0CF-98FD-02A4-D9F3-C36D90BCB663}"/>
                </a:ext>
              </a:extLst>
            </p:cNvPr>
            <p:cNvSpPr/>
            <p:nvPr/>
          </p:nvSpPr>
          <p:spPr>
            <a:xfrm flipV="1">
              <a:off x="5031388" y="4140655"/>
              <a:ext cx="2264931" cy="921860"/>
            </a:xfrm>
            <a:custGeom>
              <a:avLst/>
              <a:gdLst>
                <a:gd name="connsiteX0" fmla="*/ 1738049 w 2264931"/>
                <a:gd name="connsiteY0" fmla="*/ 921811 h 921860"/>
                <a:gd name="connsiteX1" fmla="*/ 2226935 w 2264931"/>
                <a:gd name="connsiteY1" fmla="*/ 908087 h 921860"/>
                <a:gd name="connsiteX2" fmla="*/ 2264916 w 2264931"/>
                <a:gd name="connsiteY2" fmla="*/ 867944 h 921860"/>
                <a:gd name="connsiteX3" fmla="*/ 2224758 w 2264931"/>
                <a:gd name="connsiteY3" fmla="*/ 829948 h 921860"/>
                <a:gd name="connsiteX4" fmla="*/ 1735800 w 2264931"/>
                <a:gd name="connsiteY4" fmla="*/ 843671 h 921860"/>
                <a:gd name="connsiteX5" fmla="*/ 1713285 w 2264931"/>
                <a:gd name="connsiteY5" fmla="*/ 835756 h 921860"/>
                <a:gd name="connsiteX6" fmla="*/ 1647204 w 2264931"/>
                <a:gd name="connsiteY6" fmla="*/ 808896 h 921860"/>
                <a:gd name="connsiteX7" fmla="*/ 1421911 w 2264931"/>
                <a:gd name="connsiteY7" fmla="*/ 795709 h 921860"/>
                <a:gd name="connsiteX8" fmla="*/ 1394124 w 2264931"/>
                <a:gd name="connsiteY8" fmla="*/ 776663 h 921860"/>
                <a:gd name="connsiteX9" fmla="*/ 1040328 w 2264931"/>
                <a:gd name="connsiteY9" fmla="*/ 460428 h 921860"/>
                <a:gd name="connsiteX10" fmla="*/ 939136 w 2264931"/>
                <a:gd name="connsiteY10" fmla="*/ 394837 h 921860"/>
                <a:gd name="connsiteX11" fmla="*/ 745681 w 2264931"/>
                <a:gd name="connsiteY11" fmla="*/ 394837 h 921860"/>
                <a:gd name="connsiteX12" fmla="*/ 717110 w 2264931"/>
                <a:gd name="connsiteY12" fmla="*/ 377938 h 921860"/>
                <a:gd name="connsiteX13" fmla="*/ 645417 w 2264931"/>
                <a:gd name="connsiteY13" fmla="*/ 241678 h 921860"/>
                <a:gd name="connsiteX14" fmla="*/ 548125 w 2264931"/>
                <a:gd name="connsiteY14" fmla="*/ 183896 h 921860"/>
                <a:gd name="connsiteX15" fmla="*/ 261586 w 2264931"/>
                <a:gd name="connsiteY15" fmla="*/ 174082 h 921860"/>
                <a:gd name="connsiteX16" fmla="*/ 248009 w 2264931"/>
                <a:gd name="connsiteY16" fmla="*/ 171104 h 921860"/>
                <a:gd name="connsiteX17" fmla="*/ 178821 w 2264931"/>
                <a:gd name="connsiteY17" fmla="*/ 77495 h 921860"/>
                <a:gd name="connsiteX18" fmla="*/ 118999 w 2264931"/>
                <a:gd name="connsiteY18" fmla="*/ 0 h 921860"/>
                <a:gd name="connsiteX19" fmla="*/ 0 w 2264931"/>
                <a:gd name="connsiteY19" fmla="*/ 0 h 921860"/>
                <a:gd name="connsiteX20" fmla="*/ 12032 w 2264931"/>
                <a:gd name="connsiteY20" fmla="*/ 15450 h 921860"/>
                <a:gd name="connsiteX21" fmla="*/ 157123 w 2264931"/>
                <a:gd name="connsiteY21" fmla="*/ 196794 h 921860"/>
                <a:gd name="connsiteX22" fmla="*/ 172847 w 2264931"/>
                <a:gd name="connsiteY22" fmla="*/ 208128 h 921860"/>
                <a:gd name="connsiteX23" fmla="*/ 177632 w 2264931"/>
                <a:gd name="connsiteY23" fmla="*/ 213693 h 921860"/>
                <a:gd name="connsiteX24" fmla="*/ 261586 w 2264931"/>
                <a:gd name="connsiteY24" fmla="*/ 252226 h 921860"/>
                <a:gd name="connsiteX25" fmla="*/ 548125 w 2264931"/>
                <a:gd name="connsiteY25" fmla="*/ 262041 h 921860"/>
                <a:gd name="connsiteX26" fmla="*/ 576747 w 2264931"/>
                <a:gd name="connsiteY26" fmla="*/ 278940 h 921860"/>
                <a:gd name="connsiteX27" fmla="*/ 648344 w 2264931"/>
                <a:gd name="connsiteY27" fmla="*/ 415104 h 921860"/>
                <a:gd name="connsiteX28" fmla="*/ 745681 w 2264931"/>
                <a:gd name="connsiteY28" fmla="*/ 472977 h 921860"/>
                <a:gd name="connsiteX29" fmla="*/ 939136 w 2264931"/>
                <a:gd name="connsiteY29" fmla="*/ 472977 h 921860"/>
                <a:gd name="connsiteX30" fmla="*/ 968827 w 2264931"/>
                <a:gd name="connsiteY30" fmla="*/ 492028 h 921860"/>
                <a:gd name="connsiteX31" fmla="*/ 1322623 w 2264931"/>
                <a:gd name="connsiteY31" fmla="*/ 808162 h 921860"/>
                <a:gd name="connsiteX32" fmla="*/ 1417368 w 2264931"/>
                <a:gd name="connsiteY32" fmla="*/ 873707 h 921860"/>
                <a:gd name="connsiteX33" fmla="*/ 1642615 w 2264931"/>
                <a:gd name="connsiteY33" fmla="*/ 886894 h 921860"/>
                <a:gd name="connsiteX34" fmla="*/ 1662148 w 2264931"/>
                <a:gd name="connsiteY34" fmla="*/ 894804 h 921860"/>
                <a:gd name="connsiteX35" fmla="*/ 1738049 w 2264931"/>
                <a:gd name="connsiteY35" fmla="*/ 921811 h 921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264931" h="921860">
                  <a:moveTo>
                    <a:pt x="1738049" y="921811"/>
                  </a:moveTo>
                  <a:lnTo>
                    <a:pt x="2226935" y="908087"/>
                  </a:lnTo>
                  <a:cubicBezTo>
                    <a:pt x="2248509" y="907454"/>
                    <a:pt x="2265524" y="889482"/>
                    <a:pt x="2264916" y="867944"/>
                  </a:cubicBezTo>
                  <a:cubicBezTo>
                    <a:pt x="2264309" y="846355"/>
                    <a:pt x="2246432" y="829309"/>
                    <a:pt x="2224758" y="829948"/>
                  </a:cubicBezTo>
                  <a:lnTo>
                    <a:pt x="1735800" y="843671"/>
                  </a:lnTo>
                  <a:cubicBezTo>
                    <a:pt x="1727500" y="843960"/>
                    <a:pt x="1719489" y="841129"/>
                    <a:pt x="1713285" y="835756"/>
                  </a:cubicBezTo>
                  <a:cubicBezTo>
                    <a:pt x="1694872" y="819840"/>
                    <a:pt x="1671425" y="810314"/>
                    <a:pt x="1647204" y="808896"/>
                  </a:cubicBezTo>
                  <a:lnTo>
                    <a:pt x="1421911" y="795709"/>
                  </a:lnTo>
                  <a:cubicBezTo>
                    <a:pt x="1409751" y="794975"/>
                    <a:pt x="1399152" y="787698"/>
                    <a:pt x="1394124" y="776663"/>
                  </a:cubicBezTo>
                  <a:lnTo>
                    <a:pt x="1040328" y="460428"/>
                  </a:lnTo>
                  <a:cubicBezTo>
                    <a:pt x="1022502" y="420578"/>
                    <a:pt x="982794" y="394837"/>
                    <a:pt x="939136" y="394837"/>
                  </a:cubicBezTo>
                  <a:lnTo>
                    <a:pt x="745681" y="394837"/>
                  </a:lnTo>
                  <a:cubicBezTo>
                    <a:pt x="733766" y="394837"/>
                    <a:pt x="722873" y="388345"/>
                    <a:pt x="717110" y="377938"/>
                  </a:cubicBezTo>
                  <a:lnTo>
                    <a:pt x="645417" y="241678"/>
                  </a:lnTo>
                  <a:cubicBezTo>
                    <a:pt x="625975" y="206026"/>
                    <a:pt x="588663" y="183896"/>
                    <a:pt x="548125" y="183896"/>
                  </a:cubicBezTo>
                  <a:lnTo>
                    <a:pt x="261586" y="174082"/>
                  </a:lnTo>
                  <a:cubicBezTo>
                    <a:pt x="256846" y="174082"/>
                    <a:pt x="252207" y="173059"/>
                    <a:pt x="248009" y="171104"/>
                  </a:cubicBezTo>
                  <a:cubicBezTo>
                    <a:pt x="246421" y="166769"/>
                    <a:pt x="219239" y="130274"/>
                    <a:pt x="178821" y="77495"/>
                  </a:cubicBezTo>
                  <a:lnTo>
                    <a:pt x="118999" y="0"/>
                  </a:lnTo>
                  <a:lnTo>
                    <a:pt x="0" y="0"/>
                  </a:lnTo>
                  <a:lnTo>
                    <a:pt x="12032" y="15450"/>
                  </a:lnTo>
                  <a:cubicBezTo>
                    <a:pt x="87829" y="112485"/>
                    <a:pt x="150528" y="191703"/>
                    <a:pt x="157123" y="196794"/>
                  </a:cubicBezTo>
                  <a:cubicBezTo>
                    <a:pt x="162005" y="200557"/>
                    <a:pt x="167281" y="204512"/>
                    <a:pt x="172847" y="208128"/>
                  </a:cubicBezTo>
                  <a:lnTo>
                    <a:pt x="177632" y="213693"/>
                  </a:lnTo>
                  <a:cubicBezTo>
                    <a:pt x="198730" y="238209"/>
                    <a:pt x="229307" y="252226"/>
                    <a:pt x="261586" y="252226"/>
                  </a:cubicBezTo>
                  <a:lnTo>
                    <a:pt x="548125" y="262041"/>
                  </a:lnTo>
                  <a:cubicBezTo>
                    <a:pt x="559995" y="262041"/>
                    <a:pt x="570933" y="268538"/>
                    <a:pt x="576747" y="278940"/>
                  </a:cubicBezTo>
                  <a:lnTo>
                    <a:pt x="648344" y="415104"/>
                  </a:lnTo>
                  <a:cubicBezTo>
                    <a:pt x="667785" y="450761"/>
                    <a:pt x="705047" y="472977"/>
                    <a:pt x="745681" y="472977"/>
                  </a:cubicBezTo>
                  <a:lnTo>
                    <a:pt x="939136" y="472977"/>
                  </a:lnTo>
                  <a:cubicBezTo>
                    <a:pt x="951928" y="472977"/>
                    <a:pt x="963551" y="480452"/>
                    <a:pt x="968827" y="492028"/>
                  </a:cubicBezTo>
                  <a:lnTo>
                    <a:pt x="1322623" y="808162"/>
                  </a:lnTo>
                  <a:cubicBezTo>
                    <a:pt x="1339517" y="846158"/>
                    <a:pt x="1375801" y="871261"/>
                    <a:pt x="1417368" y="873707"/>
                  </a:cubicBezTo>
                  <a:lnTo>
                    <a:pt x="1642615" y="886894"/>
                  </a:lnTo>
                  <a:cubicBezTo>
                    <a:pt x="1649796" y="887284"/>
                    <a:pt x="1656729" y="890115"/>
                    <a:pt x="1662148" y="894804"/>
                  </a:cubicBezTo>
                  <a:cubicBezTo>
                    <a:pt x="1683154" y="913020"/>
                    <a:pt x="1710110" y="922642"/>
                    <a:pt x="1738049" y="921811"/>
                  </a:cubicBez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AF685C71-18D8-FE22-7A3A-148470757868}"/>
                </a:ext>
              </a:extLst>
            </p:cNvPr>
            <p:cNvSpPr/>
            <p:nvPr/>
          </p:nvSpPr>
          <p:spPr>
            <a:xfrm flipV="1">
              <a:off x="6043587" y="4605097"/>
              <a:ext cx="1343972" cy="457418"/>
            </a:xfrm>
            <a:custGeom>
              <a:avLst/>
              <a:gdLst>
                <a:gd name="connsiteX0" fmla="*/ 1180805 w 1343972"/>
                <a:gd name="connsiteY0" fmla="*/ 457418 h 457418"/>
                <a:gd name="connsiteX1" fmla="*/ 1151332 w 1343972"/>
                <a:gd name="connsiteY1" fmla="*/ 269928 h 457418"/>
                <a:gd name="connsiteX2" fmla="*/ 1150370 w 1343972"/>
                <a:gd name="connsiteY2" fmla="*/ 258357 h 457418"/>
                <a:gd name="connsiteX3" fmla="*/ 1192554 w 1343972"/>
                <a:gd name="connsiteY3" fmla="*/ 193100 h 457418"/>
                <a:gd name="connsiteX4" fmla="*/ 1301838 w 1343972"/>
                <a:gd name="connsiteY4" fmla="*/ 143578 h 457418"/>
                <a:gd name="connsiteX5" fmla="*/ 1343972 w 1343972"/>
                <a:gd name="connsiteY5" fmla="*/ 78200 h 457418"/>
                <a:gd name="connsiteX6" fmla="*/ 1343567 w 1343972"/>
                <a:gd name="connsiteY6" fmla="*/ 70660 h 457418"/>
                <a:gd name="connsiteX7" fmla="*/ 1336046 w 1343972"/>
                <a:gd name="connsiteY7" fmla="*/ 0 h 457418"/>
                <a:gd name="connsiteX8" fmla="*/ 0 w 1343972"/>
                <a:gd name="connsiteY8" fmla="*/ 0 h 457418"/>
                <a:gd name="connsiteX9" fmla="*/ 17226 w 1343972"/>
                <a:gd name="connsiteY9" fmla="*/ 12174 h 457418"/>
                <a:gd name="connsiteX10" fmla="*/ 1180805 w 1343972"/>
                <a:gd name="connsiteY10" fmla="*/ 457418 h 457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3972" h="457418">
                  <a:moveTo>
                    <a:pt x="1180805" y="457418"/>
                  </a:moveTo>
                  <a:lnTo>
                    <a:pt x="1151332" y="269928"/>
                  </a:lnTo>
                  <a:cubicBezTo>
                    <a:pt x="1150674" y="266054"/>
                    <a:pt x="1150370" y="262185"/>
                    <a:pt x="1150370" y="258357"/>
                  </a:cubicBezTo>
                  <a:cubicBezTo>
                    <a:pt x="1150421" y="230575"/>
                    <a:pt x="1166626" y="204819"/>
                    <a:pt x="1192554" y="193100"/>
                  </a:cubicBezTo>
                  <a:lnTo>
                    <a:pt x="1301838" y="143578"/>
                  </a:lnTo>
                  <a:cubicBezTo>
                    <a:pt x="1327716" y="131880"/>
                    <a:pt x="1343972" y="106144"/>
                    <a:pt x="1343972" y="78200"/>
                  </a:cubicBezTo>
                  <a:cubicBezTo>
                    <a:pt x="1343972" y="75699"/>
                    <a:pt x="1343820" y="73187"/>
                    <a:pt x="1343567" y="70660"/>
                  </a:cubicBezTo>
                  <a:lnTo>
                    <a:pt x="1336046" y="0"/>
                  </a:lnTo>
                  <a:lnTo>
                    <a:pt x="0" y="0"/>
                  </a:lnTo>
                  <a:lnTo>
                    <a:pt x="17226" y="12174"/>
                  </a:lnTo>
                  <a:cubicBezTo>
                    <a:pt x="366552" y="242481"/>
                    <a:pt x="767068" y="393832"/>
                    <a:pt x="1180805" y="457418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59E0D9F7-34E4-76C4-A8B2-55FECA6CF2D2}"/>
                </a:ext>
              </a:extLst>
            </p:cNvPr>
            <p:cNvSpPr/>
            <p:nvPr/>
          </p:nvSpPr>
          <p:spPr>
            <a:xfrm flipV="1">
              <a:off x="6032041" y="3282869"/>
              <a:ext cx="116207" cy="90242"/>
            </a:xfrm>
            <a:custGeom>
              <a:avLst/>
              <a:gdLst>
                <a:gd name="connsiteX0" fmla="*/ 108333 w 116207"/>
                <a:gd name="connsiteY0" fmla="*/ 78109 h 90242"/>
                <a:gd name="connsiteX1" fmla="*/ 103891 w 116207"/>
                <a:gd name="connsiteY1" fmla="*/ 61493 h 90242"/>
                <a:gd name="connsiteX2" fmla="*/ 99299 w 116207"/>
                <a:gd name="connsiteY2" fmla="*/ 28759 h 90242"/>
                <a:gd name="connsiteX3" fmla="*/ 97217 w 116207"/>
                <a:gd name="connsiteY3" fmla="*/ 23148 h 90242"/>
                <a:gd name="connsiteX4" fmla="*/ 83230 w 116207"/>
                <a:gd name="connsiteY4" fmla="*/ 10670 h 90242"/>
                <a:gd name="connsiteX5" fmla="*/ 74216 w 116207"/>
                <a:gd name="connsiteY5" fmla="*/ 7611 h 90242"/>
                <a:gd name="connsiteX6" fmla="*/ 45771 w 116207"/>
                <a:gd name="connsiteY6" fmla="*/ 4375 h 90242"/>
                <a:gd name="connsiteX7" fmla="*/ 19872 w 116207"/>
                <a:gd name="connsiteY7" fmla="*/ -6518 h 90242"/>
                <a:gd name="connsiteX8" fmla="*/ -7135 w 116207"/>
                <a:gd name="connsiteY8" fmla="*/ 31048 h 90242"/>
                <a:gd name="connsiteX9" fmla="*/ 27438 w 116207"/>
                <a:gd name="connsiteY9" fmla="*/ 59305 h 90242"/>
                <a:gd name="connsiteX10" fmla="*/ 36888 w 116207"/>
                <a:gd name="connsiteY10" fmla="*/ 68857 h 90242"/>
                <a:gd name="connsiteX11" fmla="*/ 46986 w 116207"/>
                <a:gd name="connsiteY11" fmla="*/ 74088 h 90242"/>
                <a:gd name="connsiteX12" fmla="*/ 59211 w 116207"/>
                <a:gd name="connsiteY12" fmla="*/ 79375 h 90242"/>
                <a:gd name="connsiteX13" fmla="*/ 90720 w 116207"/>
                <a:gd name="connsiteY13" fmla="*/ 82910 h 90242"/>
                <a:gd name="connsiteX14" fmla="*/ 103076 w 116207"/>
                <a:gd name="connsiteY14" fmla="*/ 82783 h 90242"/>
                <a:gd name="connsiteX15" fmla="*/ 108333 w 116207"/>
                <a:gd name="connsiteY15" fmla="*/ 78109 h 90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6207" h="90242">
                  <a:moveTo>
                    <a:pt x="108333" y="78109"/>
                  </a:moveTo>
                  <a:cubicBezTo>
                    <a:pt x="110855" y="72584"/>
                    <a:pt x="106322" y="66922"/>
                    <a:pt x="103891" y="61493"/>
                  </a:cubicBezTo>
                  <a:cubicBezTo>
                    <a:pt x="99405" y="51411"/>
                    <a:pt x="102013" y="39262"/>
                    <a:pt x="99299" y="28759"/>
                  </a:cubicBezTo>
                  <a:cubicBezTo>
                    <a:pt x="98822" y="26819"/>
                    <a:pt x="98133" y="24946"/>
                    <a:pt x="97217" y="23148"/>
                  </a:cubicBezTo>
                  <a:cubicBezTo>
                    <a:pt x="94265" y="17481"/>
                    <a:pt x="89119" y="13389"/>
                    <a:pt x="83230" y="10670"/>
                  </a:cubicBezTo>
                  <a:cubicBezTo>
                    <a:pt x="80349" y="9333"/>
                    <a:pt x="77279" y="8310"/>
                    <a:pt x="74216" y="7611"/>
                  </a:cubicBezTo>
                  <a:cubicBezTo>
                    <a:pt x="64898" y="5464"/>
                    <a:pt x="55235" y="5595"/>
                    <a:pt x="45771" y="4375"/>
                  </a:cubicBezTo>
                  <a:cubicBezTo>
                    <a:pt x="36291" y="3170"/>
                    <a:pt x="26532" y="318"/>
                    <a:pt x="19872" y="-6518"/>
                  </a:cubicBezTo>
                  <a:cubicBezTo>
                    <a:pt x="17791" y="5069"/>
                    <a:pt x="1991" y="23603"/>
                    <a:pt x="-7135" y="31048"/>
                  </a:cubicBezTo>
                  <a:cubicBezTo>
                    <a:pt x="4558" y="39540"/>
                    <a:pt x="20612" y="46559"/>
                    <a:pt x="27438" y="59305"/>
                  </a:cubicBezTo>
                  <a:cubicBezTo>
                    <a:pt x="29591" y="63321"/>
                    <a:pt x="32902" y="66648"/>
                    <a:pt x="36888" y="68857"/>
                  </a:cubicBezTo>
                  <a:cubicBezTo>
                    <a:pt x="40220" y="70705"/>
                    <a:pt x="43588" y="72462"/>
                    <a:pt x="46986" y="74088"/>
                  </a:cubicBezTo>
                  <a:cubicBezTo>
                    <a:pt x="50991" y="75992"/>
                    <a:pt x="55048" y="77785"/>
                    <a:pt x="59211" y="79375"/>
                  </a:cubicBezTo>
                  <a:cubicBezTo>
                    <a:pt x="69040" y="83218"/>
                    <a:pt x="80318" y="80955"/>
                    <a:pt x="90720" y="82910"/>
                  </a:cubicBezTo>
                  <a:cubicBezTo>
                    <a:pt x="94816" y="83679"/>
                    <a:pt x="99050" y="84327"/>
                    <a:pt x="103076" y="82783"/>
                  </a:cubicBezTo>
                  <a:cubicBezTo>
                    <a:pt x="105350" y="81917"/>
                    <a:pt x="107310" y="80337"/>
                    <a:pt x="108333" y="78109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CAC34D72-24DB-E917-02AA-34F264839047}"/>
                </a:ext>
              </a:extLst>
            </p:cNvPr>
            <p:cNvSpPr/>
            <p:nvPr/>
          </p:nvSpPr>
          <p:spPr>
            <a:xfrm flipV="1">
              <a:off x="6079523" y="3292450"/>
              <a:ext cx="22221" cy="33139"/>
            </a:xfrm>
            <a:custGeom>
              <a:avLst/>
              <a:gdLst>
                <a:gd name="connsiteX0" fmla="*/ 15086 w 22221"/>
                <a:gd name="connsiteY0" fmla="*/ 26143 h 33139"/>
                <a:gd name="connsiteX1" fmla="*/ -7135 w 22221"/>
                <a:gd name="connsiteY1" fmla="*/ -6561 h 33139"/>
                <a:gd name="connsiteX2" fmla="*/ 592 w 22221"/>
                <a:gd name="connsiteY2" fmla="*/ 21292 h 33139"/>
                <a:gd name="connsiteX3" fmla="*/ 12817 w 22221"/>
                <a:gd name="connsiteY3" fmla="*/ 26579 h 33139"/>
                <a:gd name="connsiteX4" fmla="*/ 15086 w 22221"/>
                <a:gd name="connsiteY4" fmla="*/ 26143 h 33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21" h="33139">
                  <a:moveTo>
                    <a:pt x="15086" y="26143"/>
                  </a:moveTo>
                  <a:cubicBezTo>
                    <a:pt x="10078" y="1071"/>
                    <a:pt x="-7135" y="-6561"/>
                    <a:pt x="-7135" y="-6561"/>
                  </a:cubicBezTo>
                  <a:lnTo>
                    <a:pt x="592" y="21292"/>
                  </a:lnTo>
                  <a:cubicBezTo>
                    <a:pt x="4598" y="23196"/>
                    <a:pt x="8665" y="24989"/>
                    <a:pt x="12817" y="26579"/>
                  </a:cubicBezTo>
                  <a:lnTo>
                    <a:pt x="15086" y="26143"/>
                  </a:lnTo>
                </a:path>
              </a:pathLst>
            </a:custGeom>
            <a:solidFill>
              <a:srgbClr val="FFFFFF">
                <a:lumMod val="6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38F7967B-6513-BBF1-7D38-B706B9366D62}"/>
                </a:ext>
              </a:extLst>
            </p:cNvPr>
            <p:cNvSpPr/>
            <p:nvPr/>
          </p:nvSpPr>
          <p:spPr>
            <a:xfrm flipV="1">
              <a:off x="6091783" y="3334900"/>
              <a:ext cx="46691" cy="21023"/>
            </a:xfrm>
            <a:custGeom>
              <a:avLst/>
              <a:gdLst>
                <a:gd name="connsiteX0" fmla="*/ 39514 w 46691"/>
                <a:gd name="connsiteY0" fmla="*/ 11610 h 21023"/>
                <a:gd name="connsiteX1" fmla="*/ 37433 w 46691"/>
                <a:gd name="connsiteY1" fmla="*/ 5999 h 21023"/>
                <a:gd name="connsiteX2" fmla="*/ 23445 w 46691"/>
                <a:gd name="connsiteY2" fmla="*/ -6479 h 21023"/>
                <a:gd name="connsiteX3" fmla="*/ -7177 w 46691"/>
                <a:gd name="connsiteY3" fmla="*/ 1659 h 21023"/>
                <a:gd name="connsiteX4" fmla="*/ 39514 w 46691"/>
                <a:gd name="connsiteY4" fmla="*/ 11610 h 21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91" h="21023">
                  <a:moveTo>
                    <a:pt x="39514" y="11610"/>
                  </a:moveTo>
                  <a:cubicBezTo>
                    <a:pt x="39038" y="9670"/>
                    <a:pt x="38349" y="7797"/>
                    <a:pt x="37433" y="5999"/>
                  </a:cubicBezTo>
                  <a:cubicBezTo>
                    <a:pt x="34480" y="332"/>
                    <a:pt x="29335" y="-3760"/>
                    <a:pt x="23445" y="-6479"/>
                  </a:cubicBezTo>
                  <a:lnTo>
                    <a:pt x="-7177" y="1659"/>
                  </a:lnTo>
                  <a:cubicBezTo>
                    <a:pt x="-7177" y="1659"/>
                    <a:pt x="7651" y="21946"/>
                    <a:pt x="39514" y="11610"/>
                  </a:cubicBezTo>
                </a:path>
              </a:pathLst>
            </a:custGeom>
            <a:solidFill>
              <a:srgbClr val="FFFFFF">
                <a:lumMod val="6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D282E240-A30E-AACF-A842-CB429B389830}"/>
                </a:ext>
              </a:extLst>
            </p:cNvPr>
            <p:cNvSpPr/>
            <p:nvPr/>
          </p:nvSpPr>
          <p:spPr>
            <a:xfrm flipV="1">
              <a:off x="5443751" y="3300284"/>
              <a:ext cx="101201" cy="47007"/>
            </a:xfrm>
            <a:custGeom>
              <a:avLst/>
              <a:gdLst>
                <a:gd name="connsiteX0" fmla="*/ -6115 w 101201"/>
                <a:gd name="connsiteY0" fmla="*/ 39720 h 47007"/>
                <a:gd name="connsiteX1" fmla="*/ 95087 w 101201"/>
                <a:gd name="connsiteY1" fmla="*/ 40480 h 47007"/>
                <a:gd name="connsiteX2" fmla="*/ 90048 w 101201"/>
                <a:gd name="connsiteY2" fmla="*/ -6505 h 47007"/>
                <a:gd name="connsiteX3" fmla="*/ -5269 w 101201"/>
                <a:gd name="connsiteY3" fmla="*/ 17565 h 47007"/>
                <a:gd name="connsiteX4" fmla="*/ -6115 w 101201"/>
                <a:gd name="connsiteY4" fmla="*/ 39720 h 4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01" h="47007">
                  <a:moveTo>
                    <a:pt x="-6115" y="39720"/>
                  </a:moveTo>
                  <a:lnTo>
                    <a:pt x="95087" y="40480"/>
                  </a:lnTo>
                  <a:cubicBezTo>
                    <a:pt x="95087" y="40480"/>
                    <a:pt x="90068" y="-7720"/>
                    <a:pt x="90048" y="-6505"/>
                  </a:cubicBezTo>
                  <a:cubicBezTo>
                    <a:pt x="90033" y="-5290"/>
                    <a:pt x="-5269" y="17565"/>
                    <a:pt x="-5269" y="17565"/>
                  </a:cubicBezTo>
                  <a:lnTo>
                    <a:pt x="-6115" y="39720"/>
                  </a:ln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21EF6459-132E-B5F2-8E45-3B0DC28CF8E5}"/>
                </a:ext>
              </a:extLst>
            </p:cNvPr>
            <p:cNvSpPr/>
            <p:nvPr/>
          </p:nvSpPr>
          <p:spPr>
            <a:xfrm flipV="1">
              <a:off x="5098757" y="3780134"/>
              <a:ext cx="121687" cy="76054"/>
            </a:xfrm>
            <a:custGeom>
              <a:avLst/>
              <a:gdLst>
                <a:gd name="connsiteX0" fmla="*/ 940 w 121687"/>
                <a:gd name="connsiteY0" fmla="*/ 52599 h 76054"/>
                <a:gd name="connsiteX1" fmla="*/ -5542 w 121687"/>
                <a:gd name="connsiteY1" fmla="*/ 14263 h 76054"/>
                <a:gd name="connsiteX2" fmla="*/ 11463 w 121687"/>
                <a:gd name="connsiteY2" fmla="*/ 11387 h 76054"/>
                <a:gd name="connsiteX3" fmla="*/ 17946 w 121687"/>
                <a:gd name="connsiteY3" fmla="*/ 49722 h 76054"/>
                <a:gd name="connsiteX4" fmla="*/ 23015 w 121687"/>
                <a:gd name="connsiteY4" fmla="*/ 53328 h 76054"/>
                <a:gd name="connsiteX5" fmla="*/ 95234 w 121687"/>
                <a:gd name="connsiteY5" fmla="*/ 40855 h 76054"/>
                <a:gd name="connsiteX6" fmla="*/ 98835 w 121687"/>
                <a:gd name="connsiteY6" fmla="*/ 35791 h 76054"/>
                <a:gd name="connsiteX7" fmla="*/ 92353 w 121687"/>
                <a:gd name="connsiteY7" fmla="*/ -2550 h 76054"/>
                <a:gd name="connsiteX8" fmla="*/ 109358 w 121687"/>
                <a:gd name="connsiteY8" fmla="*/ -5421 h 76054"/>
                <a:gd name="connsiteX9" fmla="*/ 115840 w 121687"/>
                <a:gd name="connsiteY9" fmla="*/ 32914 h 76054"/>
                <a:gd name="connsiteX10" fmla="*/ 98111 w 121687"/>
                <a:gd name="connsiteY10" fmla="*/ 57860 h 76054"/>
                <a:gd name="connsiteX11" fmla="*/ 25886 w 121687"/>
                <a:gd name="connsiteY11" fmla="*/ 70328 h 76054"/>
                <a:gd name="connsiteX12" fmla="*/ 940 w 121687"/>
                <a:gd name="connsiteY12" fmla="*/ 52599 h 76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687" h="76054">
                  <a:moveTo>
                    <a:pt x="940" y="52599"/>
                  </a:moveTo>
                  <a:lnTo>
                    <a:pt x="-5542" y="14263"/>
                  </a:lnTo>
                  <a:lnTo>
                    <a:pt x="11463" y="11387"/>
                  </a:lnTo>
                  <a:lnTo>
                    <a:pt x="17946" y="49722"/>
                  </a:lnTo>
                  <a:cubicBezTo>
                    <a:pt x="18346" y="52107"/>
                    <a:pt x="20635" y="53728"/>
                    <a:pt x="23015" y="53328"/>
                  </a:cubicBezTo>
                  <a:lnTo>
                    <a:pt x="95234" y="40855"/>
                  </a:lnTo>
                  <a:cubicBezTo>
                    <a:pt x="97614" y="40455"/>
                    <a:pt x="99240" y="38171"/>
                    <a:pt x="98835" y="35791"/>
                  </a:cubicBezTo>
                  <a:lnTo>
                    <a:pt x="92353" y="-2550"/>
                  </a:lnTo>
                  <a:lnTo>
                    <a:pt x="109358" y="-5421"/>
                  </a:lnTo>
                  <a:lnTo>
                    <a:pt x="115840" y="32914"/>
                  </a:lnTo>
                  <a:cubicBezTo>
                    <a:pt x="117830" y="44689"/>
                    <a:pt x="109885" y="55870"/>
                    <a:pt x="98111" y="57860"/>
                  </a:cubicBezTo>
                  <a:lnTo>
                    <a:pt x="25886" y="70328"/>
                  </a:lnTo>
                  <a:cubicBezTo>
                    <a:pt x="14112" y="72318"/>
                    <a:pt x="2930" y="64373"/>
                    <a:pt x="940" y="52599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DD4B7F8C-6E22-2451-4C0F-C51446895EA1}"/>
                </a:ext>
              </a:extLst>
            </p:cNvPr>
            <p:cNvSpPr/>
            <p:nvPr/>
          </p:nvSpPr>
          <p:spPr>
            <a:xfrm flipV="1">
              <a:off x="5095364" y="3820953"/>
              <a:ext cx="25867" cy="13146"/>
            </a:xfrm>
            <a:custGeom>
              <a:avLst/>
              <a:gdLst>
                <a:gd name="connsiteX0" fmla="*/ 17420 w 25867"/>
                <a:gd name="connsiteY0" fmla="*/ 4348 h 13146"/>
                <a:gd name="connsiteX1" fmla="*/ -51 w 25867"/>
                <a:gd name="connsiteY1" fmla="*/ 7681 h 13146"/>
                <a:gd name="connsiteX2" fmla="*/ -4355 w 25867"/>
                <a:gd name="connsiteY2" fmla="*/ 4753 h 13146"/>
                <a:gd name="connsiteX3" fmla="*/ -5454 w 25867"/>
                <a:gd name="connsiteY3" fmla="*/ -1020 h 13146"/>
                <a:gd name="connsiteX4" fmla="*/ 19309 w 25867"/>
                <a:gd name="connsiteY4" fmla="*/ -5400 h 13146"/>
                <a:gd name="connsiteX5" fmla="*/ 20347 w 25867"/>
                <a:gd name="connsiteY5" fmla="*/ 44 h 13146"/>
                <a:gd name="connsiteX6" fmla="*/ 17420 w 25867"/>
                <a:gd name="connsiteY6" fmla="*/ 4348 h 1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67" h="13146">
                  <a:moveTo>
                    <a:pt x="17420" y="4348"/>
                  </a:moveTo>
                  <a:lnTo>
                    <a:pt x="-51" y="7681"/>
                  </a:lnTo>
                  <a:cubicBezTo>
                    <a:pt x="-2046" y="8060"/>
                    <a:pt x="-3971" y="6754"/>
                    <a:pt x="-4355" y="4753"/>
                  </a:cubicBezTo>
                  <a:lnTo>
                    <a:pt x="-5454" y="-1020"/>
                  </a:lnTo>
                  <a:lnTo>
                    <a:pt x="19309" y="-5400"/>
                  </a:lnTo>
                  <a:lnTo>
                    <a:pt x="20347" y="44"/>
                  </a:lnTo>
                  <a:cubicBezTo>
                    <a:pt x="20727" y="2039"/>
                    <a:pt x="19416" y="3968"/>
                    <a:pt x="17420" y="4348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B770F4D0-D976-E6AA-C73D-F9056FD077D7}"/>
                </a:ext>
              </a:extLst>
            </p:cNvPr>
            <p:cNvSpPr/>
            <p:nvPr/>
          </p:nvSpPr>
          <p:spPr>
            <a:xfrm flipV="1">
              <a:off x="5193760" y="3837675"/>
              <a:ext cx="25867" cy="13146"/>
            </a:xfrm>
            <a:custGeom>
              <a:avLst/>
              <a:gdLst>
                <a:gd name="connsiteX0" fmla="*/ 17252 w 25867"/>
                <a:gd name="connsiteY0" fmla="*/ 4386 h 13146"/>
                <a:gd name="connsiteX1" fmla="*/ -219 w 25867"/>
                <a:gd name="connsiteY1" fmla="*/ 7718 h 13146"/>
                <a:gd name="connsiteX2" fmla="*/ -4519 w 25867"/>
                <a:gd name="connsiteY2" fmla="*/ 4796 h 13146"/>
                <a:gd name="connsiteX3" fmla="*/ -5623 w 25867"/>
                <a:gd name="connsiteY3" fmla="*/ -977 h 13146"/>
                <a:gd name="connsiteX4" fmla="*/ 19136 w 25867"/>
                <a:gd name="connsiteY4" fmla="*/ -5363 h 13146"/>
                <a:gd name="connsiteX5" fmla="*/ 20179 w 25867"/>
                <a:gd name="connsiteY5" fmla="*/ 86 h 13146"/>
                <a:gd name="connsiteX6" fmla="*/ 17252 w 25867"/>
                <a:gd name="connsiteY6" fmla="*/ 4386 h 1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67" h="13146">
                  <a:moveTo>
                    <a:pt x="17252" y="4386"/>
                  </a:moveTo>
                  <a:lnTo>
                    <a:pt x="-219" y="7718"/>
                  </a:lnTo>
                  <a:cubicBezTo>
                    <a:pt x="-2215" y="8098"/>
                    <a:pt x="-4139" y="6791"/>
                    <a:pt x="-4519" y="4796"/>
                  </a:cubicBezTo>
                  <a:lnTo>
                    <a:pt x="-5623" y="-977"/>
                  </a:lnTo>
                  <a:lnTo>
                    <a:pt x="19136" y="-5363"/>
                  </a:lnTo>
                  <a:lnTo>
                    <a:pt x="20179" y="86"/>
                  </a:lnTo>
                  <a:cubicBezTo>
                    <a:pt x="20559" y="2082"/>
                    <a:pt x="19247" y="4001"/>
                    <a:pt x="17252" y="4386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FD910FB8-BD86-5971-F9C0-F1E1A6960112}"/>
                </a:ext>
              </a:extLst>
            </p:cNvPr>
            <p:cNvSpPr/>
            <p:nvPr/>
          </p:nvSpPr>
          <p:spPr>
            <a:xfrm flipV="1">
              <a:off x="4953134" y="3825465"/>
              <a:ext cx="352877" cy="281448"/>
            </a:xfrm>
            <a:custGeom>
              <a:avLst/>
              <a:gdLst>
                <a:gd name="connsiteX0" fmla="*/ 339132 w 352877"/>
                <a:gd name="connsiteY0" fmla="*/ 129302 h 281448"/>
                <a:gd name="connsiteX1" fmla="*/ 347387 w 352877"/>
                <a:gd name="connsiteY1" fmla="*/ 226011 h 281448"/>
                <a:gd name="connsiteX2" fmla="*/ 49682 w 352877"/>
                <a:gd name="connsiteY2" fmla="*/ 276359 h 281448"/>
                <a:gd name="connsiteX3" fmla="*/ 25678 w 352877"/>
                <a:gd name="connsiteY3" fmla="*/ 182313 h 281448"/>
                <a:gd name="connsiteX4" fmla="*/ -5148 w 352877"/>
                <a:gd name="connsiteY4" fmla="*/ 61392 h 281448"/>
                <a:gd name="connsiteX5" fmla="*/ 3674 w 352877"/>
                <a:gd name="connsiteY5" fmla="*/ 47830 h 281448"/>
                <a:gd name="connsiteX6" fmla="*/ 315691 w 352877"/>
                <a:gd name="connsiteY6" fmla="*/ -4933 h 281448"/>
                <a:gd name="connsiteX7" fmla="*/ 328478 w 352877"/>
                <a:gd name="connsiteY7" fmla="*/ 4967 h 281448"/>
                <a:gd name="connsiteX8" fmla="*/ 339132 w 352877"/>
                <a:gd name="connsiteY8" fmla="*/ 129302 h 281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877" h="281448">
                  <a:moveTo>
                    <a:pt x="339132" y="129302"/>
                  </a:moveTo>
                  <a:lnTo>
                    <a:pt x="347387" y="226011"/>
                  </a:lnTo>
                  <a:lnTo>
                    <a:pt x="49682" y="276359"/>
                  </a:lnTo>
                  <a:lnTo>
                    <a:pt x="25678" y="182313"/>
                  </a:lnTo>
                  <a:lnTo>
                    <a:pt x="-5148" y="61392"/>
                  </a:lnTo>
                  <a:cubicBezTo>
                    <a:pt x="-6733" y="55158"/>
                    <a:pt x="-2661" y="48904"/>
                    <a:pt x="3674" y="47830"/>
                  </a:cubicBezTo>
                  <a:lnTo>
                    <a:pt x="315691" y="-4933"/>
                  </a:lnTo>
                  <a:cubicBezTo>
                    <a:pt x="322026" y="-6007"/>
                    <a:pt x="327931" y="-1434"/>
                    <a:pt x="328478" y="4967"/>
                  </a:cubicBezTo>
                  <a:lnTo>
                    <a:pt x="339132" y="129302"/>
                  </a:lnTo>
                </a:path>
              </a:pathLst>
            </a:custGeom>
            <a:solidFill>
              <a:srgbClr val="4DA5C3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59B5CA09-8761-5AE0-ACB2-D0EC66F81E58}"/>
                </a:ext>
              </a:extLst>
            </p:cNvPr>
            <p:cNvSpPr/>
            <p:nvPr/>
          </p:nvSpPr>
          <p:spPr>
            <a:xfrm flipV="1">
              <a:off x="4976775" y="3813776"/>
              <a:ext cx="340513" cy="187232"/>
            </a:xfrm>
            <a:custGeom>
              <a:avLst/>
              <a:gdLst>
                <a:gd name="connsiteX0" fmla="*/ 327854 w 340513"/>
                <a:gd name="connsiteY0" fmla="*/ 36760 h 187232"/>
                <a:gd name="connsiteX1" fmla="*/ 334954 w 340513"/>
                <a:gd name="connsiteY1" fmla="*/ 119893 h 187232"/>
                <a:gd name="connsiteX2" fmla="*/ 326030 w 340513"/>
                <a:gd name="connsiteY2" fmla="*/ 131414 h 187232"/>
                <a:gd name="connsiteX3" fmla="*/ 27743 w 340513"/>
                <a:gd name="connsiteY3" fmla="*/ 181858 h 187232"/>
                <a:gd name="connsiteX4" fmla="*/ 15528 w 340513"/>
                <a:gd name="connsiteY4" fmla="*/ 173917 h 187232"/>
                <a:gd name="connsiteX5" fmla="*/ -5103 w 340513"/>
                <a:gd name="connsiteY5" fmla="*/ 93068 h 187232"/>
                <a:gd name="connsiteX6" fmla="*/ 1313 w 340513"/>
                <a:gd name="connsiteY6" fmla="*/ 78078 h 187232"/>
                <a:gd name="connsiteX7" fmla="*/ 149515 w 340513"/>
                <a:gd name="connsiteY7" fmla="*/ -5221 h 187232"/>
                <a:gd name="connsiteX8" fmla="*/ 316870 w 340513"/>
                <a:gd name="connsiteY8" fmla="*/ 24713 h 187232"/>
                <a:gd name="connsiteX9" fmla="*/ 327854 w 340513"/>
                <a:gd name="connsiteY9" fmla="*/ 36760 h 187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0513" h="187232">
                  <a:moveTo>
                    <a:pt x="327854" y="36760"/>
                  </a:moveTo>
                  <a:lnTo>
                    <a:pt x="334954" y="119893"/>
                  </a:lnTo>
                  <a:cubicBezTo>
                    <a:pt x="335430" y="125473"/>
                    <a:pt x="331550" y="130477"/>
                    <a:pt x="326030" y="131414"/>
                  </a:cubicBezTo>
                  <a:lnTo>
                    <a:pt x="27743" y="181858"/>
                  </a:lnTo>
                  <a:cubicBezTo>
                    <a:pt x="22223" y="182795"/>
                    <a:pt x="16911" y="179336"/>
                    <a:pt x="15528" y="173917"/>
                  </a:cubicBezTo>
                  <a:lnTo>
                    <a:pt x="-5103" y="93068"/>
                  </a:lnTo>
                  <a:cubicBezTo>
                    <a:pt x="-6602" y="87194"/>
                    <a:pt x="-3974" y="81051"/>
                    <a:pt x="1313" y="78078"/>
                  </a:cubicBezTo>
                  <a:lnTo>
                    <a:pt x="149515" y="-5221"/>
                  </a:lnTo>
                  <a:lnTo>
                    <a:pt x="316870" y="24713"/>
                  </a:lnTo>
                  <a:cubicBezTo>
                    <a:pt x="322835" y="25781"/>
                    <a:pt x="327342" y="30719"/>
                    <a:pt x="327854" y="36760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6DCC972B-0DEB-F74D-9A2C-2261706E51A6}"/>
                </a:ext>
              </a:extLst>
            </p:cNvPr>
            <p:cNvSpPr/>
            <p:nvPr/>
          </p:nvSpPr>
          <p:spPr>
            <a:xfrm flipV="1">
              <a:off x="5110946" y="3973581"/>
              <a:ext cx="47248" cy="40123"/>
            </a:xfrm>
            <a:custGeom>
              <a:avLst/>
              <a:gdLst>
                <a:gd name="connsiteX0" fmla="*/ 41749 w 47248"/>
                <a:gd name="connsiteY0" fmla="*/ 27640 h 40123"/>
                <a:gd name="connsiteX1" fmla="*/ 39136 w 47248"/>
                <a:gd name="connsiteY1" fmla="*/ 11972 h 40123"/>
                <a:gd name="connsiteX2" fmla="*/ 25721 w 47248"/>
                <a:gd name="connsiteY2" fmla="*/ -5028 h 40123"/>
                <a:gd name="connsiteX3" fmla="*/ 1661 w 47248"/>
                <a:gd name="connsiteY3" fmla="*/ -1008 h 40123"/>
                <a:gd name="connsiteX4" fmla="*/ -5499 w 47248"/>
                <a:gd name="connsiteY4" fmla="*/ 19421 h 40123"/>
                <a:gd name="connsiteX5" fmla="*/ -2886 w 47248"/>
                <a:gd name="connsiteY5" fmla="*/ 35095 h 40123"/>
                <a:gd name="connsiteX6" fmla="*/ 41749 w 47248"/>
                <a:gd name="connsiteY6" fmla="*/ 27640 h 4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48" h="40123">
                  <a:moveTo>
                    <a:pt x="41749" y="27640"/>
                  </a:moveTo>
                  <a:lnTo>
                    <a:pt x="39136" y="11972"/>
                  </a:lnTo>
                  <a:cubicBezTo>
                    <a:pt x="39136" y="11972"/>
                    <a:pt x="27104" y="10453"/>
                    <a:pt x="25721" y="-5028"/>
                  </a:cubicBezTo>
                  <a:lnTo>
                    <a:pt x="1661" y="-1008"/>
                  </a:lnTo>
                  <a:cubicBezTo>
                    <a:pt x="5389" y="14079"/>
                    <a:pt x="-5499" y="19421"/>
                    <a:pt x="-5499" y="19421"/>
                  </a:cubicBezTo>
                  <a:lnTo>
                    <a:pt x="-2886" y="35095"/>
                  </a:lnTo>
                  <a:lnTo>
                    <a:pt x="41749" y="27640"/>
                  </a:ln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15E39918-37CE-8AB2-9026-50B339782273}"/>
                </a:ext>
              </a:extLst>
            </p:cNvPr>
            <p:cNvSpPr/>
            <p:nvPr/>
          </p:nvSpPr>
          <p:spPr>
            <a:xfrm flipV="1">
              <a:off x="5106164" y="3999150"/>
              <a:ext cx="47766" cy="34574"/>
            </a:xfrm>
            <a:custGeom>
              <a:avLst/>
              <a:gdLst>
                <a:gd name="connsiteX0" fmla="*/ -2365 w 47766"/>
                <a:gd name="connsiteY0" fmla="*/ 29597 h 34574"/>
                <a:gd name="connsiteX1" fmla="*/ -5338 w 47766"/>
                <a:gd name="connsiteY1" fmla="*/ 11802 h 34574"/>
                <a:gd name="connsiteX2" fmla="*/ 3828 w 47766"/>
                <a:gd name="connsiteY2" fmla="*/ -1041 h 34574"/>
                <a:gd name="connsiteX3" fmla="*/ 26460 w 47766"/>
                <a:gd name="connsiteY3" fmla="*/ -4824 h 34574"/>
                <a:gd name="connsiteX4" fmla="*/ 39302 w 47766"/>
                <a:gd name="connsiteY4" fmla="*/ 4342 h 34574"/>
                <a:gd name="connsiteX5" fmla="*/ 42275 w 47766"/>
                <a:gd name="connsiteY5" fmla="*/ 22143 h 34574"/>
                <a:gd name="connsiteX6" fmla="*/ -2365 w 47766"/>
                <a:gd name="connsiteY6" fmla="*/ 29597 h 34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766" h="34574">
                  <a:moveTo>
                    <a:pt x="-2365" y="29597"/>
                  </a:moveTo>
                  <a:lnTo>
                    <a:pt x="-5338" y="11802"/>
                  </a:lnTo>
                  <a:cubicBezTo>
                    <a:pt x="-6351" y="5720"/>
                    <a:pt x="-2249" y="-28"/>
                    <a:pt x="3828" y="-1041"/>
                  </a:cubicBezTo>
                  <a:lnTo>
                    <a:pt x="26460" y="-4824"/>
                  </a:lnTo>
                  <a:cubicBezTo>
                    <a:pt x="32537" y="-5837"/>
                    <a:pt x="38290" y="-1735"/>
                    <a:pt x="39302" y="4342"/>
                  </a:cubicBezTo>
                  <a:lnTo>
                    <a:pt x="42275" y="22143"/>
                  </a:lnTo>
                  <a:lnTo>
                    <a:pt x="-2365" y="29597"/>
                  </a:ln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C8C4A20D-CC5E-B1E3-88E3-D44D0FA0D418}"/>
                </a:ext>
              </a:extLst>
            </p:cNvPr>
            <p:cNvSpPr/>
            <p:nvPr/>
          </p:nvSpPr>
          <p:spPr>
            <a:xfrm flipV="1">
              <a:off x="5131322" y="3731785"/>
              <a:ext cx="71237" cy="92774"/>
            </a:xfrm>
            <a:custGeom>
              <a:avLst/>
              <a:gdLst>
                <a:gd name="connsiteX0" fmla="*/ 64622 w 71237"/>
                <a:gd name="connsiteY0" fmla="*/ 26652 h 92774"/>
                <a:gd name="connsiteX1" fmla="*/ 53658 w 71237"/>
                <a:gd name="connsiteY1" fmla="*/ 27128 h 92774"/>
                <a:gd name="connsiteX2" fmla="*/ 54645 w 71237"/>
                <a:gd name="connsiteY2" fmla="*/ 10543 h 92774"/>
                <a:gd name="connsiteX3" fmla="*/ 37265 w 71237"/>
                <a:gd name="connsiteY3" fmla="*/ 1114 h 92774"/>
                <a:gd name="connsiteX4" fmla="*/ 30150 w 71237"/>
                <a:gd name="connsiteY4" fmla="*/ 3939 h 92774"/>
                <a:gd name="connsiteX5" fmla="*/ 16456 w 71237"/>
                <a:gd name="connsiteY5" fmla="*/ 7029 h 92774"/>
                <a:gd name="connsiteX6" fmla="*/ 7701 w 71237"/>
                <a:gd name="connsiteY6" fmla="*/ 9095 h 92774"/>
                <a:gd name="connsiteX7" fmla="*/ 9503 w 71237"/>
                <a:gd name="connsiteY7" fmla="*/ 85401 h 92774"/>
                <a:gd name="connsiteX8" fmla="*/ 47140 w 71237"/>
                <a:gd name="connsiteY8" fmla="*/ 80388 h 92774"/>
                <a:gd name="connsiteX9" fmla="*/ 64622 w 71237"/>
                <a:gd name="connsiteY9" fmla="*/ 26652 h 9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237" h="92774">
                  <a:moveTo>
                    <a:pt x="64622" y="26652"/>
                  </a:moveTo>
                  <a:cubicBezTo>
                    <a:pt x="64196" y="26348"/>
                    <a:pt x="65275" y="26449"/>
                    <a:pt x="53658" y="27128"/>
                  </a:cubicBezTo>
                  <a:cubicBezTo>
                    <a:pt x="50675" y="20327"/>
                    <a:pt x="53845" y="16073"/>
                    <a:pt x="54645" y="10543"/>
                  </a:cubicBezTo>
                  <a:cubicBezTo>
                    <a:pt x="52564" y="-7870"/>
                    <a:pt x="45140" y="-9627"/>
                    <a:pt x="37265" y="1114"/>
                  </a:cubicBezTo>
                  <a:cubicBezTo>
                    <a:pt x="35614" y="3352"/>
                    <a:pt x="32864" y="4486"/>
                    <a:pt x="30150" y="3939"/>
                  </a:cubicBezTo>
                  <a:cubicBezTo>
                    <a:pt x="22103" y="2329"/>
                    <a:pt x="25440" y="10376"/>
                    <a:pt x="16456" y="7029"/>
                  </a:cubicBezTo>
                  <a:cubicBezTo>
                    <a:pt x="13413" y="5899"/>
                    <a:pt x="9914" y="6730"/>
                    <a:pt x="7701" y="9095"/>
                  </a:cubicBezTo>
                  <a:cubicBezTo>
                    <a:pt x="2095" y="14923"/>
                    <a:pt x="-20091" y="-6711"/>
                    <a:pt x="9503" y="85401"/>
                  </a:cubicBezTo>
                  <a:cubicBezTo>
                    <a:pt x="22073" y="89883"/>
                    <a:pt x="34774" y="85507"/>
                    <a:pt x="47140" y="80388"/>
                  </a:cubicBezTo>
                  <a:cubicBezTo>
                    <a:pt x="52701" y="62121"/>
                    <a:pt x="70126" y="36937"/>
                    <a:pt x="64622" y="26652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B8A1C1A2-E597-F644-9465-AA3329FD561B}"/>
                </a:ext>
              </a:extLst>
            </p:cNvPr>
            <p:cNvSpPr/>
            <p:nvPr/>
          </p:nvSpPr>
          <p:spPr>
            <a:xfrm flipV="1">
              <a:off x="5139118" y="3317673"/>
              <a:ext cx="917323" cy="451168"/>
            </a:xfrm>
            <a:custGeom>
              <a:avLst/>
              <a:gdLst>
                <a:gd name="connsiteX0" fmla="*/ 910220 w 917323"/>
                <a:gd name="connsiteY0" fmla="*/ 385227 h 451168"/>
                <a:gd name="connsiteX1" fmla="*/ 675163 w 917323"/>
                <a:gd name="connsiteY1" fmla="*/ 299349 h 451168"/>
                <a:gd name="connsiteX2" fmla="*/ 623215 w 917323"/>
                <a:gd name="connsiteY2" fmla="*/ 295683 h 451168"/>
                <a:gd name="connsiteX3" fmla="*/ 490287 w 917323"/>
                <a:gd name="connsiteY3" fmla="*/ 322867 h 451168"/>
                <a:gd name="connsiteX4" fmla="*/ 505773 w 917323"/>
                <a:gd name="connsiteY4" fmla="*/ 233921 h 451168"/>
                <a:gd name="connsiteX5" fmla="*/ 514549 w 917323"/>
                <a:gd name="connsiteY5" fmla="*/ 95412 h 451168"/>
                <a:gd name="connsiteX6" fmla="*/ 514655 w 917323"/>
                <a:gd name="connsiteY6" fmla="*/ 95630 h 451168"/>
                <a:gd name="connsiteX7" fmla="*/ 517066 w 917323"/>
                <a:gd name="connsiteY7" fmla="*/ 66749 h 451168"/>
                <a:gd name="connsiteX8" fmla="*/ 521239 w 917323"/>
                <a:gd name="connsiteY8" fmla="*/ 45338 h 451168"/>
                <a:gd name="connsiteX9" fmla="*/ 510715 w 917323"/>
                <a:gd name="connsiteY9" fmla="*/ 7250 h 451168"/>
                <a:gd name="connsiteX10" fmla="*/ 511379 w 917323"/>
                <a:gd name="connsiteY10" fmla="*/ -3055 h 451168"/>
                <a:gd name="connsiteX11" fmla="*/ 407681 w 917323"/>
                <a:gd name="connsiteY11" fmla="*/ -4711 h 451168"/>
                <a:gd name="connsiteX12" fmla="*/ 301607 w 917323"/>
                <a:gd name="connsiteY12" fmla="*/ 10633 h 451168"/>
                <a:gd name="connsiteX13" fmla="*/ 302949 w 917323"/>
                <a:gd name="connsiteY13" fmla="*/ 24089 h 451168"/>
                <a:gd name="connsiteX14" fmla="*/ 300407 w 917323"/>
                <a:gd name="connsiteY14" fmla="*/ 27664 h 451168"/>
                <a:gd name="connsiteX15" fmla="*/ 290031 w 917323"/>
                <a:gd name="connsiteY15" fmla="*/ 55228 h 451168"/>
                <a:gd name="connsiteX16" fmla="*/ 295490 w 917323"/>
                <a:gd name="connsiteY16" fmla="*/ 80543 h 451168"/>
                <a:gd name="connsiteX17" fmla="*/ 295535 w 917323"/>
                <a:gd name="connsiteY17" fmla="*/ 80918 h 451168"/>
                <a:gd name="connsiteX18" fmla="*/ 247320 w 917323"/>
                <a:gd name="connsiteY18" fmla="*/ 292199 h 451168"/>
                <a:gd name="connsiteX19" fmla="*/ 97984 w 917323"/>
                <a:gd name="connsiteY19" fmla="*/ 236063 h 451168"/>
                <a:gd name="connsiteX20" fmla="*/ 50588 w 917323"/>
                <a:gd name="connsiteY20" fmla="*/ 19997 h 451168"/>
                <a:gd name="connsiteX21" fmla="*/ -6292 w 917323"/>
                <a:gd name="connsiteY21" fmla="*/ 28570 h 451168"/>
                <a:gd name="connsiteX22" fmla="*/ 28595 w 917323"/>
                <a:gd name="connsiteY22" fmla="*/ 260386 h 451168"/>
                <a:gd name="connsiteX23" fmla="*/ 77803 w 917323"/>
                <a:gd name="connsiteY23" fmla="*/ 322118 h 451168"/>
                <a:gd name="connsiteX24" fmla="*/ 228390 w 917323"/>
                <a:gd name="connsiteY24" fmla="*/ 402880 h 451168"/>
                <a:gd name="connsiteX25" fmla="*/ 229069 w 917323"/>
                <a:gd name="connsiteY25" fmla="*/ 403270 h 451168"/>
                <a:gd name="connsiteX26" fmla="*/ 412497 w 917323"/>
                <a:gd name="connsiteY26" fmla="*/ 444528 h 451168"/>
                <a:gd name="connsiteX27" fmla="*/ 474168 w 917323"/>
                <a:gd name="connsiteY27" fmla="*/ 439276 h 451168"/>
                <a:gd name="connsiteX28" fmla="*/ 654628 w 917323"/>
                <a:gd name="connsiteY28" fmla="*/ 384645 h 451168"/>
                <a:gd name="connsiteX29" fmla="*/ 892181 w 917323"/>
                <a:gd name="connsiteY29" fmla="*/ 439033 h 451168"/>
                <a:gd name="connsiteX30" fmla="*/ 910220 w 917323"/>
                <a:gd name="connsiteY30" fmla="*/ 385227 h 4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17323" h="451168">
                  <a:moveTo>
                    <a:pt x="910220" y="385227"/>
                  </a:moveTo>
                  <a:lnTo>
                    <a:pt x="675163" y="299349"/>
                  </a:lnTo>
                  <a:cubicBezTo>
                    <a:pt x="658391" y="293824"/>
                    <a:pt x="640560" y="292609"/>
                    <a:pt x="623215" y="295683"/>
                  </a:cubicBezTo>
                  <a:lnTo>
                    <a:pt x="490287" y="322867"/>
                  </a:lnTo>
                  <a:cubicBezTo>
                    <a:pt x="499772" y="294371"/>
                    <a:pt x="505013" y="264437"/>
                    <a:pt x="505773" y="233921"/>
                  </a:cubicBezTo>
                  <a:lnTo>
                    <a:pt x="514549" y="95412"/>
                  </a:lnTo>
                  <a:lnTo>
                    <a:pt x="514655" y="95630"/>
                  </a:lnTo>
                  <a:cubicBezTo>
                    <a:pt x="514893" y="86418"/>
                    <a:pt x="516038" y="75261"/>
                    <a:pt x="517066" y="66749"/>
                  </a:cubicBezTo>
                  <a:cubicBezTo>
                    <a:pt x="517942" y="59517"/>
                    <a:pt x="519487" y="52412"/>
                    <a:pt x="521239" y="45338"/>
                  </a:cubicBezTo>
                  <a:cubicBezTo>
                    <a:pt x="529463" y="12066"/>
                    <a:pt x="510715" y="7250"/>
                    <a:pt x="510715" y="7250"/>
                  </a:cubicBezTo>
                  <a:lnTo>
                    <a:pt x="511379" y="-3055"/>
                  </a:lnTo>
                  <a:cubicBezTo>
                    <a:pt x="478568" y="-6276"/>
                    <a:pt x="443666" y="-6980"/>
                    <a:pt x="407681" y="-4711"/>
                  </a:cubicBezTo>
                  <a:cubicBezTo>
                    <a:pt x="370409" y="-2372"/>
                    <a:pt x="334671" y="2951"/>
                    <a:pt x="301607" y="10633"/>
                  </a:cubicBezTo>
                  <a:cubicBezTo>
                    <a:pt x="302089" y="15135"/>
                    <a:pt x="302514" y="19637"/>
                    <a:pt x="302949" y="24089"/>
                  </a:cubicBezTo>
                  <a:lnTo>
                    <a:pt x="300407" y="27664"/>
                  </a:lnTo>
                  <a:cubicBezTo>
                    <a:pt x="294766" y="35766"/>
                    <a:pt x="287580" y="45763"/>
                    <a:pt x="290031" y="55228"/>
                  </a:cubicBezTo>
                  <a:cubicBezTo>
                    <a:pt x="291753" y="61791"/>
                    <a:pt x="293748" y="70395"/>
                    <a:pt x="295490" y="80543"/>
                  </a:cubicBezTo>
                  <a:lnTo>
                    <a:pt x="295535" y="80918"/>
                  </a:lnTo>
                  <a:cubicBezTo>
                    <a:pt x="296305" y="87031"/>
                    <a:pt x="310510" y="168269"/>
                    <a:pt x="247320" y="292199"/>
                  </a:cubicBezTo>
                  <a:lnTo>
                    <a:pt x="97984" y="236063"/>
                  </a:lnTo>
                  <a:lnTo>
                    <a:pt x="50588" y="19997"/>
                  </a:lnTo>
                  <a:cubicBezTo>
                    <a:pt x="18213" y="14274"/>
                    <a:pt x="-6292" y="28570"/>
                    <a:pt x="-6292" y="28570"/>
                  </a:cubicBezTo>
                  <a:lnTo>
                    <a:pt x="28595" y="260386"/>
                  </a:lnTo>
                  <a:cubicBezTo>
                    <a:pt x="33198" y="288087"/>
                    <a:pt x="51849" y="311407"/>
                    <a:pt x="77803" y="322118"/>
                  </a:cubicBezTo>
                  <a:lnTo>
                    <a:pt x="228390" y="402880"/>
                  </a:lnTo>
                  <a:lnTo>
                    <a:pt x="229069" y="403270"/>
                  </a:lnTo>
                  <a:cubicBezTo>
                    <a:pt x="277051" y="428019"/>
                    <a:pt x="370915" y="441110"/>
                    <a:pt x="412497" y="444528"/>
                  </a:cubicBezTo>
                  <a:cubicBezTo>
                    <a:pt x="433204" y="446189"/>
                    <a:pt x="453992" y="444422"/>
                    <a:pt x="474168" y="439276"/>
                  </a:cubicBezTo>
                  <a:lnTo>
                    <a:pt x="654628" y="384645"/>
                  </a:lnTo>
                  <a:lnTo>
                    <a:pt x="892181" y="439033"/>
                  </a:lnTo>
                  <a:cubicBezTo>
                    <a:pt x="892181" y="439033"/>
                    <a:pt x="915633" y="414710"/>
                    <a:pt x="910220" y="385227"/>
                  </a:cubicBezTo>
                </a:path>
              </a:pathLst>
            </a:custGeom>
            <a:solidFill>
              <a:srgbClr val="4DA5C3">
                <a:lumMod val="20000"/>
                <a:lumOff val="8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F5B06556-543A-20FA-9ED1-B0ECC0081B06}"/>
                </a:ext>
              </a:extLst>
            </p:cNvPr>
            <p:cNvSpPr/>
            <p:nvPr/>
          </p:nvSpPr>
          <p:spPr>
            <a:xfrm flipV="1">
              <a:off x="5608115" y="3395182"/>
              <a:ext cx="32373" cy="52058"/>
            </a:xfrm>
            <a:custGeom>
              <a:avLst/>
              <a:gdLst>
                <a:gd name="connsiteX0" fmla="*/ 872 w 32373"/>
                <a:gd name="connsiteY0" fmla="*/ 44156 h 52058"/>
                <a:gd name="connsiteX1" fmla="*/ -4739 w 32373"/>
                <a:gd name="connsiteY1" fmla="*/ 44946 h 52058"/>
                <a:gd name="connsiteX2" fmla="*/ -5529 w 32373"/>
                <a:gd name="connsiteY2" fmla="*/ 39330 h 52058"/>
                <a:gd name="connsiteX3" fmla="*/ 18080 w 32373"/>
                <a:gd name="connsiteY3" fmla="*/ -3017 h 52058"/>
                <a:gd name="connsiteX4" fmla="*/ 22111 w 32373"/>
                <a:gd name="connsiteY4" fmla="*/ -6308 h 52058"/>
                <a:gd name="connsiteX5" fmla="*/ 22719 w 32373"/>
                <a:gd name="connsiteY5" fmla="*/ -6248 h 52058"/>
                <a:gd name="connsiteX6" fmla="*/ 25975 w 32373"/>
                <a:gd name="connsiteY6" fmla="*/ -1609 h 52058"/>
                <a:gd name="connsiteX7" fmla="*/ 872 w 32373"/>
                <a:gd name="connsiteY7" fmla="*/ 44156 h 5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373" h="52058">
                  <a:moveTo>
                    <a:pt x="872" y="44156"/>
                  </a:moveTo>
                  <a:cubicBezTo>
                    <a:pt x="-465" y="45928"/>
                    <a:pt x="-2977" y="46267"/>
                    <a:pt x="-4739" y="44946"/>
                  </a:cubicBezTo>
                  <a:cubicBezTo>
                    <a:pt x="-6512" y="43609"/>
                    <a:pt x="-6861" y="41097"/>
                    <a:pt x="-5529" y="39330"/>
                  </a:cubicBezTo>
                  <a:cubicBezTo>
                    <a:pt x="15041" y="12069"/>
                    <a:pt x="18044" y="-2814"/>
                    <a:pt x="18080" y="-3017"/>
                  </a:cubicBezTo>
                  <a:cubicBezTo>
                    <a:pt x="18439" y="-4987"/>
                    <a:pt x="20171" y="-6354"/>
                    <a:pt x="22111" y="-6308"/>
                  </a:cubicBezTo>
                  <a:lnTo>
                    <a:pt x="22719" y="-6248"/>
                  </a:lnTo>
                  <a:cubicBezTo>
                    <a:pt x="24901" y="-5868"/>
                    <a:pt x="26360" y="-3786"/>
                    <a:pt x="25975" y="-1609"/>
                  </a:cubicBezTo>
                  <a:cubicBezTo>
                    <a:pt x="25863" y="-940"/>
                    <a:pt x="22860" y="15017"/>
                    <a:pt x="872" y="44156"/>
                  </a:cubicBez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BD987F62-D6B4-508B-C2BB-93B7049B5B5E}"/>
                </a:ext>
              </a:extLst>
            </p:cNvPr>
            <p:cNvSpPr/>
            <p:nvPr/>
          </p:nvSpPr>
          <p:spPr>
            <a:xfrm flipV="1">
              <a:off x="5388684" y="3456227"/>
              <a:ext cx="35579" cy="18380"/>
            </a:xfrm>
            <a:custGeom>
              <a:avLst/>
              <a:gdLst>
                <a:gd name="connsiteX0" fmla="*/ 24192 w 35579"/>
                <a:gd name="connsiteY0" fmla="*/ 11915 h 18380"/>
                <a:gd name="connsiteX1" fmla="*/ -3362 w 35579"/>
                <a:gd name="connsiteY1" fmla="*/ 1554 h 18380"/>
                <a:gd name="connsiteX2" fmla="*/ -5707 w 35579"/>
                <a:gd name="connsiteY2" fmla="*/ -3612 h 18380"/>
                <a:gd name="connsiteX3" fmla="*/ -1858 w 35579"/>
                <a:gd name="connsiteY3" fmla="*/ -6210 h 18380"/>
                <a:gd name="connsiteX4" fmla="*/ -546 w 35579"/>
                <a:gd name="connsiteY4" fmla="*/ -5951 h 18380"/>
                <a:gd name="connsiteX5" fmla="*/ 27013 w 35579"/>
                <a:gd name="connsiteY5" fmla="*/ 4410 h 18380"/>
                <a:gd name="connsiteX6" fmla="*/ 29357 w 35579"/>
                <a:gd name="connsiteY6" fmla="*/ 9575 h 18380"/>
                <a:gd name="connsiteX7" fmla="*/ 24192 w 35579"/>
                <a:gd name="connsiteY7" fmla="*/ 11915 h 18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579" h="18380">
                  <a:moveTo>
                    <a:pt x="24192" y="11915"/>
                  </a:moveTo>
                  <a:lnTo>
                    <a:pt x="-3362" y="1554"/>
                  </a:lnTo>
                  <a:cubicBezTo>
                    <a:pt x="-5438" y="774"/>
                    <a:pt x="-6487" y="-1535"/>
                    <a:pt x="-5707" y="-3612"/>
                  </a:cubicBezTo>
                  <a:cubicBezTo>
                    <a:pt x="-5089" y="-5248"/>
                    <a:pt x="-3519" y="-6245"/>
                    <a:pt x="-1858" y="-6210"/>
                  </a:cubicBezTo>
                  <a:lnTo>
                    <a:pt x="-546" y="-5951"/>
                  </a:lnTo>
                  <a:lnTo>
                    <a:pt x="27013" y="4410"/>
                  </a:lnTo>
                  <a:cubicBezTo>
                    <a:pt x="29089" y="5190"/>
                    <a:pt x="30137" y="7499"/>
                    <a:pt x="29357" y="9575"/>
                  </a:cubicBezTo>
                  <a:cubicBezTo>
                    <a:pt x="28572" y="11641"/>
                    <a:pt x="26268" y="12690"/>
                    <a:pt x="24192" y="11915"/>
                  </a:cubicBez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198D78E4-CC0C-BDE9-5522-1D9AA5C64C8D}"/>
                </a:ext>
              </a:extLst>
            </p:cNvPr>
            <p:cNvSpPr/>
            <p:nvPr/>
          </p:nvSpPr>
          <p:spPr>
            <a:xfrm flipV="1">
              <a:off x="5440836" y="3250509"/>
              <a:ext cx="90085" cy="72834"/>
            </a:xfrm>
            <a:custGeom>
              <a:avLst/>
              <a:gdLst>
                <a:gd name="connsiteX0" fmla="*/ -1332 w 90085"/>
                <a:gd name="connsiteY0" fmla="*/ -3103 h 72834"/>
                <a:gd name="connsiteX1" fmla="*/ -5930 w 90085"/>
                <a:gd name="connsiteY1" fmla="*/ -2460 h 72834"/>
                <a:gd name="connsiteX2" fmla="*/ -5793 w 90085"/>
                <a:gd name="connsiteY2" fmla="*/ 22668 h 72834"/>
                <a:gd name="connsiteX3" fmla="*/ -5803 w 90085"/>
                <a:gd name="connsiteY3" fmla="*/ 22749 h 72834"/>
                <a:gd name="connsiteX4" fmla="*/ 60734 w 90085"/>
                <a:gd name="connsiteY4" fmla="*/ 43851 h 72834"/>
                <a:gd name="connsiteX5" fmla="*/ 61165 w 90085"/>
                <a:gd name="connsiteY5" fmla="*/ 42216 h 72834"/>
                <a:gd name="connsiteX6" fmla="*/ 83948 w 90085"/>
                <a:gd name="connsiteY6" fmla="*/ -5721 h 72834"/>
                <a:gd name="connsiteX7" fmla="*/ -1332 w 90085"/>
                <a:gd name="connsiteY7" fmla="*/ -3103 h 72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085" h="72834">
                  <a:moveTo>
                    <a:pt x="-1332" y="-3103"/>
                  </a:moveTo>
                  <a:lnTo>
                    <a:pt x="-5930" y="-2460"/>
                  </a:lnTo>
                  <a:lnTo>
                    <a:pt x="-5793" y="22668"/>
                  </a:lnTo>
                  <a:lnTo>
                    <a:pt x="-5803" y="22749"/>
                  </a:lnTo>
                  <a:cubicBezTo>
                    <a:pt x="-11278" y="106191"/>
                    <a:pt x="60734" y="43851"/>
                    <a:pt x="60734" y="43851"/>
                  </a:cubicBezTo>
                  <a:cubicBezTo>
                    <a:pt x="60876" y="43305"/>
                    <a:pt x="61023" y="42763"/>
                    <a:pt x="61165" y="42216"/>
                  </a:cubicBezTo>
                  <a:cubicBezTo>
                    <a:pt x="66659" y="23068"/>
                    <a:pt x="75476" y="6772"/>
                    <a:pt x="83948" y="-5721"/>
                  </a:cubicBezTo>
                  <a:cubicBezTo>
                    <a:pt x="86030" y="-8739"/>
                    <a:pt x="-1332" y="-3103"/>
                    <a:pt x="-1332" y="-3103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C204BF09-E1EC-5F4B-2AE3-401AE10E8F16}"/>
                </a:ext>
              </a:extLst>
            </p:cNvPr>
            <p:cNvSpPr/>
            <p:nvPr/>
          </p:nvSpPr>
          <p:spPr>
            <a:xfrm flipV="1">
              <a:off x="5471335" y="3274498"/>
              <a:ext cx="59554" cy="47972"/>
            </a:xfrm>
            <a:custGeom>
              <a:avLst/>
              <a:gdLst>
                <a:gd name="connsiteX0" fmla="*/ -6127 w 59554"/>
                <a:gd name="connsiteY0" fmla="*/ 32470 h 47972"/>
                <a:gd name="connsiteX1" fmla="*/ 53428 w 59554"/>
                <a:gd name="connsiteY1" fmla="*/ -6584 h 47972"/>
                <a:gd name="connsiteX2" fmla="*/ 30649 w 59554"/>
                <a:gd name="connsiteY2" fmla="*/ 41388 h 47972"/>
                <a:gd name="connsiteX3" fmla="*/ -6127 w 59554"/>
                <a:gd name="connsiteY3" fmla="*/ 32470 h 4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54" h="47972">
                  <a:moveTo>
                    <a:pt x="-6127" y="32470"/>
                  </a:moveTo>
                  <a:lnTo>
                    <a:pt x="53428" y="-6584"/>
                  </a:lnTo>
                  <a:cubicBezTo>
                    <a:pt x="44966" y="5929"/>
                    <a:pt x="36124" y="22205"/>
                    <a:pt x="30649" y="41388"/>
                  </a:cubicBezTo>
                  <a:lnTo>
                    <a:pt x="-6127" y="32470"/>
                  </a:ln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4911CDFE-F2D4-5DDB-336B-F17F44F986DC}"/>
                </a:ext>
              </a:extLst>
            </p:cNvPr>
            <p:cNvSpPr/>
            <p:nvPr/>
          </p:nvSpPr>
          <p:spPr>
            <a:xfrm flipV="1">
              <a:off x="5395105" y="3144430"/>
              <a:ext cx="159030" cy="146358"/>
            </a:xfrm>
            <a:custGeom>
              <a:avLst/>
              <a:gdLst>
                <a:gd name="connsiteX0" fmla="*/ 141290 w 159030"/>
                <a:gd name="connsiteY0" fmla="*/ 6655 h 146358"/>
                <a:gd name="connsiteX1" fmla="*/ 139472 w 159030"/>
                <a:gd name="connsiteY1" fmla="*/ 5040 h 146358"/>
                <a:gd name="connsiteX2" fmla="*/ 114607 w 159030"/>
                <a:gd name="connsiteY2" fmla="*/ -5636 h 146358"/>
                <a:gd name="connsiteX3" fmla="*/ 68959 w 159030"/>
                <a:gd name="connsiteY3" fmla="*/ 168 h 146358"/>
                <a:gd name="connsiteX4" fmla="*/ 64801 w 159030"/>
                <a:gd name="connsiteY4" fmla="*/ 4082 h 146358"/>
                <a:gd name="connsiteX5" fmla="*/ 43436 w 159030"/>
                <a:gd name="connsiteY5" fmla="*/ 19108 h 146358"/>
                <a:gd name="connsiteX6" fmla="*/ -6081 w 159030"/>
                <a:gd name="connsiteY6" fmla="*/ 82116 h 146358"/>
                <a:gd name="connsiteX7" fmla="*/ 56917 w 159030"/>
                <a:gd name="connsiteY7" fmla="*/ 120249 h 146358"/>
                <a:gd name="connsiteX8" fmla="*/ 89965 w 159030"/>
                <a:gd name="connsiteY8" fmla="*/ 139594 h 146358"/>
                <a:gd name="connsiteX9" fmla="*/ 101334 w 159030"/>
                <a:gd name="connsiteY9" fmla="*/ 130265 h 146358"/>
                <a:gd name="connsiteX10" fmla="*/ 110693 w 159030"/>
                <a:gd name="connsiteY10" fmla="*/ 117737 h 146358"/>
                <a:gd name="connsiteX11" fmla="*/ 122659 w 159030"/>
                <a:gd name="connsiteY11" fmla="*/ 87230 h 146358"/>
                <a:gd name="connsiteX12" fmla="*/ 122644 w 159030"/>
                <a:gd name="connsiteY12" fmla="*/ 87175 h 146358"/>
                <a:gd name="connsiteX13" fmla="*/ 122694 w 159030"/>
                <a:gd name="connsiteY13" fmla="*/ 87165 h 146358"/>
                <a:gd name="connsiteX14" fmla="*/ 147696 w 159030"/>
                <a:gd name="connsiteY14" fmla="*/ 65698 h 146358"/>
                <a:gd name="connsiteX15" fmla="*/ 148061 w 159030"/>
                <a:gd name="connsiteY15" fmla="*/ 60071 h 146358"/>
                <a:gd name="connsiteX16" fmla="*/ 141346 w 159030"/>
                <a:gd name="connsiteY16" fmla="*/ 53959 h 146358"/>
                <a:gd name="connsiteX17" fmla="*/ 141290 w 159030"/>
                <a:gd name="connsiteY17" fmla="*/ 6655 h 146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9030" h="146358">
                  <a:moveTo>
                    <a:pt x="141290" y="6655"/>
                  </a:moveTo>
                  <a:cubicBezTo>
                    <a:pt x="140758" y="6098"/>
                    <a:pt x="140115" y="5571"/>
                    <a:pt x="139472" y="5040"/>
                  </a:cubicBezTo>
                  <a:cubicBezTo>
                    <a:pt x="132448" y="-804"/>
                    <a:pt x="123586" y="-4030"/>
                    <a:pt x="114607" y="-5636"/>
                  </a:cubicBezTo>
                  <a:cubicBezTo>
                    <a:pt x="99283" y="-8335"/>
                    <a:pt x="83199" y="-6117"/>
                    <a:pt x="68959" y="168"/>
                  </a:cubicBezTo>
                  <a:cubicBezTo>
                    <a:pt x="67531" y="1373"/>
                    <a:pt x="66123" y="2680"/>
                    <a:pt x="64801" y="4082"/>
                  </a:cubicBezTo>
                  <a:cubicBezTo>
                    <a:pt x="57342" y="8564"/>
                    <a:pt x="50186" y="13598"/>
                    <a:pt x="43436" y="19108"/>
                  </a:cubicBezTo>
                  <a:cubicBezTo>
                    <a:pt x="22480" y="36083"/>
                    <a:pt x="5348" y="57732"/>
                    <a:pt x="-6081" y="82116"/>
                  </a:cubicBezTo>
                  <a:cubicBezTo>
                    <a:pt x="12124" y="98220"/>
                    <a:pt x="33794" y="111321"/>
                    <a:pt x="56917" y="120249"/>
                  </a:cubicBezTo>
                  <a:cubicBezTo>
                    <a:pt x="69987" y="125262"/>
                    <a:pt x="89965" y="139594"/>
                    <a:pt x="89965" y="139594"/>
                  </a:cubicBezTo>
                  <a:cubicBezTo>
                    <a:pt x="91621" y="138849"/>
                    <a:pt x="99810" y="131547"/>
                    <a:pt x="101334" y="130265"/>
                  </a:cubicBezTo>
                  <a:cubicBezTo>
                    <a:pt x="104823" y="127141"/>
                    <a:pt x="107983" y="122669"/>
                    <a:pt x="110693" y="117737"/>
                  </a:cubicBezTo>
                  <a:cubicBezTo>
                    <a:pt x="118111" y="104529"/>
                    <a:pt x="122375" y="88208"/>
                    <a:pt x="122659" y="87230"/>
                  </a:cubicBezTo>
                  <a:lnTo>
                    <a:pt x="122644" y="87175"/>
                  </a:lnTo>
                  <a:lnTo>
                    <a:pt x="122694" y="87165"/>
                  </a:lnTo>
                  <a:lnTo>
                    <a:pt x="147696" y="65698"/>
                  </a:lnTo>
                  <a:cubicBezTo>
                    <a:pt x="149225" y="64189"/>
                    <a:pt x="149327" y="61768"/>
                    <a:pt x="148061" y="60071"/>
                  </a:cubicBezTo>
                  <a:lnTo>
                    <a:pt x="141346" y="53959"/>
                  </a:lnTo>
                  <a:cubicBezTo>
                    <a:pt x="141346" y="53959"/>
                    <a:pt x="167492" y="30482"/>
                    <a:pt x="141290" y="6655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3CBC893B-E099-5D68-F318-028FD1D8905C}"/>
                </a:ext>
              </a:extLst>
            </p:cNvPr>
            <p:cNvSpPr/>
            <p:nvPr/>
          </p:nvSpPr>
          <p:spPr>
            <a:xfrm flipV="1">
              <a:off x="5503223" y="3188822"/>
              <a:ext cx="10594" cy="14913"/>
            </a:xfrm>
            <a:custGeom>
              <a:avLst/>
              <a:gdLst>
                <a:gd name="connsiteX0" fmla="*/ -5227 w 10594"/>
                <a:gd name="connsiteY0" fmla="*/ -1157 h 14913"/>
                <a:gd name="connsiteX1" fmla="*/ 2131 w 10594"/>
                <a:gd name="connsiteY1" fmla="*/ -6591 h 14913"/>
                <a:gd name="connsiteX2" fmla="*/ 3539 w 10594"/>
                <a:gd name="connsiteY2" fmla="*/ 2444 h 14913"/>
                <a:gd name="connsiteX3" fmla="*/ -3819 w 10594"/>
                <a:gd name="connsiteY3" fmla="*/ 7877 h 14913"/>
                <a:gd name="connsiteX4" fmla="*/ -5227 w 10594"/>
                <a:gd name="connsiteY4" fmla="*/ -1157 h 14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94" h="14913">
                  <a:moveTo>
                    <a:pt x="-5227" y="-1157"/>
                  </a:moveTo>
                  <a:cubicBezTo>
                    <a:pt x="-3586" y="-5153"/>
                    <a:pt x="-289" y="-7584"/>
                    <a:pt x="2131" y="-6591"/>
                  </a:cubicBezTo>
                  <a:cubicBezTo>
                    <a:pt x="4552" y="-5593"/>
                    <a:pt x="5185" y="-1547"/>
                    <a:pt x="3539" y="2444"/>
                  </a:cubicBezTo>
                  <a:cubicBezTo>
                    <a:pt x="1899" y="6439"/>
                    <a:pt x="-1393" y="8875"/>
                    <a:pt x="-3819" y="7877"/>
                  </a:cubicBezTo>
                  <a:cubicBezTo>
                    <a:pt x="-6234" y="6885"/>
                    <a:pt x="-6867" y="2838"/>
                    <a:pt x="-5227" y="-1157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219D4D04-D17C-66F9-8241-44374590B4A6}"/>
                </a:ext>
              </a:extLst>
            </p:cNvPr>
            <p:cNvSpPr/>
            <p:nvPr/>
          </p:nvSpPr>
          <p:spPr>
            <a:xfrm flipV="1">
              <a:off x="5488472" y="3167499"/>
              <a:ext cx="14234" cy="24828"/>
            </a:xfrm>
            <a:custGeom>
              <a:avLst/>
              <a:gdLst>
                <a:gd name="connsiteX0" fmla="*/ -5934 w 14234"/>
                <a:gd name="connsiteY0" fmla="*/ -3881 h 24828"/>
                <a:gd name="connsiteX1" fmla="*/ 3278 w 14234"/>
                <a:gd name="connsiteY1" fmla="*/ 17333 h 24828"/>
                <a:gd name="connsiteX2" fmla="*/ 6777 w 14234"/>
                <a:gd name="connsiteY2" fmla="*/ 11869 h 24828"/>
                <a:gd name="connsiteX3" fmla="*/ 553 w 14234"/>
                <a:gd name="connsiteY3" fmla="*/ -3618 h 24828"/>
                <a:gd name="connsiteX4" fmla="*/ -5934 w 14234"/>
                <a:gd name="connsiteY4" fmla="*/ -3881 h 24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34" h="24828">
                  <a:moveTo>
                    <a:pt x="-5934" y="-3881"/>
                  </a:moveTo>
                  <a:cubicBezTo>
                    <a:pt x="-7003" y="4404"/>
                    <a:pt x="-3326" y="12355"/>
                    <a:pt x="3278" y="17333"/>
                  </a:cubicBezTo>
                  <a:cubicBezTo>
                    <a:pt x="6615" y="19850"/>
                    <a:pt x="10094" y="14375"/>
                    <a:pt x="6777" y="11869"/>
                  </a:cubicBezTo>
                  <a:cubicBezTo>
                    <a:pt x="1926" y="8212"/>
                    <a:pt x="-217" y="2328"/>
                    <a:pt x="553" y="-3618"/>
                  </a:cubicBezTo>
                  <a:cubicBezTo>
                    <a:pt x="1085" y="-7755"/>
                    <a:pt x="-5402" y="-8003"/>
                    <a:pt x="-5934" y="-3881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BA3778D3-471E-CF80-9D72-F82DC4E717E1}"/>
                </a:ext>
              </a:extLst>
            </p:cNvPr>
            <p:cNvSpPr/>
            <p:nvPr/>
          </p:nvSpPr>
          <p:spPr>
            <a:xfrm flipV="1">
              <a:off x="5446519" y="3224755"/>
              <a:ext cx="22186" cy="17705"/>
            </a:xfrm>
            <a:custGeom>
              <a:avLst/>
              <a:gdLst>
                <a:gd name="connsiteX0" fmla="*/ 15837 w 22186"/>
                <a:gd name="connsiteY0" fmla="*/ -6290 h 17705"/>
                <a:gd name="connsiteX1" fmla="*/ 14647 w 22186"/>
                <a:gd name="connsiteY1" fmla="*/ -6705 h 17705"/>
                <a:gd name="connsiteX2" fmla="*/ 7785 w 22186"/>
                <a:gd name="connsiteY2" fmla="*/ -2705 h 17705"/>
                <a:gd name="connsiteX3" fmla="*/ 10697 w 22186"/>
                <a:gd name="connsiteY3" fmla="*/ 1848 h 17705"/>
                <a:gd name="connsiteX4" fmla="*/ -4328 w 22186"/>
                <a:gd name="connsiteY4" fmla="*/ 7945 h 17705"/>
                <a:gd name="connsiteX5" fmla="*/ -5954 w 22186"/>
                <a:gd name="connsiteY5" fmla="*/ 8619 h 17705"/>
                <a:gd name="connsiteX6" fmla="*/ -5280 w 22186"/>
                <a:gd name="connsiteY6" fmla="*/ 10250 h 17705"/>
                <a:gd name="connsiteX7" fmla="*/ 12718 w 22186"/>
                <a:gd name="connsiteY7" fmla="*/ 3241 h 17705"/>
                <a:gd name="connsiteX8" fmla="*/ 13138 w 22186"/>
                <a:gd name="connsiteY8" fmla="*/ 1372 h 17705"/>
                <a:gd name="connsiteX9" fmla="*/ 12069 w 22186"/>
                <a:gd name="connsiteY9" fmla="*/ -243 h 17705"/>
                <a:gd name="connsiteX10" fmla="*/ 10241 w 22186"/>
                <a:gd name="connsiteY10" fmla="*/ -2223 h 17705"/>
                <a:gd name="connsiteX11" fmla="*/ 15128 w 22186"/>
                <a:gd name="connsiteY11" fmla="*/ -4259 h 17705"/>
                <a:gd name="connsiteX12" fmla="*/ 16111 w 22186"/>
                <a:gd name="connsiteY12" fmla="*/ -5723 h 17705"/>
                <a:gd name="connsiteX13" fmla="*/ 15837 w 22186"/>
                <a:gd name="connsiteY13" fmla="*/ -6290 h 17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186" h="17705">
                  <a:moveTo>
                    <a:pt x="15837" y="-6290"/>
                  </a:moveTo>
                  <a:cubicBezTo>
                    <a:pt x="15559" y="-6624"/>
                    <a:pt x="15108" y="-6796"/>
                    <a:pt x="14647" y="-6705"/>
                  </a:cubicBezTo>
                  <a:cubicBezTo>
                    <a:pt x="10338" y="-5864"/>
                    <a:pt x="8160" y="-4593"/>
                    <a:pt x="7785" y="-2705"/>
                  </a:cubicBezTo>
                  <a:cubicBezTo>
                    <a:pt x="7578" y="-1641"/>
                    <a:pt x="7917" y="10"/>
                    <a:pt x="10697" y="1848"/>
                  </a:cubicBezTo>
                  <a:cubicBezTo>
                    <a:pt x="3906" y="11202"/>
                    <a:pt x="-4247" y="7976"/>
                    <a:pt x="-4328" y="7945"/>
                  </a:cubicBezTo>
                  <a:cubicBezTo>
                    <a:pt x="-4966" y="7677"/>
                    <a:pt x="-5695" y="7981"/>
                    <a:pt x="-5954" y="8619"/>
                  </a:cubicBezTo>
                  <a:cubicBezTo>
                    <a:pt x="-6222" y="9257"/>
                    <a:pt x="-5923" y="9986"/>
                    <a:pt x="-5280" y="10250"/>
                  </a:cubicBezTo>
                  <a:cubicBezTo>
                    <a:pt x="-5179" y="10295"/>
                    <a:pt x="4797" y="14245"/>
                    <a:pt x="12718" y="3241"/>
                  </a:cubicBezTo>
                  <a:cubicBezTo>
                    <a:pt x="13103" y="2709"/>
                    <a:pt x="13255" y="2025"/>
                    <a:pt x="13138" y="1372"/>
                  </a:cubicBezTo>
                  <a:cubicBezTo>
                    <a:pt x="13017" y="709"/>
                    <a:pt x="12627" y="131"/>
                    <a:pt x="12069" y="-243"/>
                  </a:cubicBezTo>
                  <a:cubicBezTo>
                    <a:pt x="10631" y="-1190"/>
                    <a:pt x="10186" y="-1955"/>
                    <a:pt x="10241" y="-2223"/>
                  </a:cubicBezTo>
                  <a:cubicBezTo>
                    <a:pt x="10252" y="-2269"/>
                    <a:pt x="10510" y="-3353"/>
                    <a:pt x="15128" y="-4259"/>
                  </a:cubicBezTo>
                  <a:cubicBezTo>
                    <a:pt x="15802" y="-4391"/>
                    <a:pt x="16242" y="-5044"/>
                    <a:pt x="16111" y="-5723"/>
                  </a:cubicBezTo>
                  <a:lnTo>
                    <a:pt x="15837" y="-6290"/>
                  </a:lnTo>
                </a:path>
              </a:pathLst>
            </a:custGeom>
            <a:solidFill>
              <a:srgbClr val="E8E4E2">
                <a:lumMod val="5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A815255C-587A-C9D7-8A9A-AD58951EF85B}"/>
                </a:ext>
              </a:extLst>
            </p:cNvPr>
            <p:cNvSpPr/>
            <p:nvPr/>
          </p:nvSpPr>
          <p:spPr>
            <a:xfrm flipV="1">
              <a:off x="5454629" y="3254560"/>
              <a:ext cx="21588" cy="8618"/>
            </a:xfrm>
            <a:custGeom>
              <a:avLst/>
              <a:gdLst>
                <a:gd name="connsiteX0" fmla="*/ 15523 w 21588"/>
                <a:gd name="connsiteY0" fmla="*/ 1945 h 8618"/>
                <a:gd name="connsiteX1" fmla="*/ -6065 w 21588"/>
                <a:gd name="connsiteY1" fmla="*/ -4912 h 8618"/>
                <a:gd name="connsiteX2" fmla="*/ -733 w 21588"/>
                <a:gd name="connsiteY2" fmla="*/ 56 h 8618"/>
                <a:gd name="connsiteX3" fmla="*/ 15523 w 21588"/>
                <a:gd name="connsiteY3" fmla="*/ 1945 h 8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88" h="8618">
                  <a:moveTo>
                    <a:pt x="15523" y="1945"/>
                  </a:moveTo>
                  <a:cubicBezTo>
                    <a:pt x="14328" y="-2526"/>
                    <a:pt x="7856" y="-10128"/>
                    <a:pt x="-6065" y="-4912"/>
                  </a:cubicBezTo>
                  <a:cubicBezTo>
                    <a:pt x="-6065" y="-4912"/>
                    <a:pt x="-5372" y="522"/>
                    <a:pt x="-733" y="56"/>
                  </a:cubicBezTo>
                  <a:cubicBezTo>
                    <a:pt x="-733" y="56"/>
                    <a:pt x="13356" y="-2405"/>
                    <a:pt x="15523" y="1945"/>
                  </a:cubicBezTo>
                </a:path>
              </a:pathLst>
            </a:custGeom>
            <a:solidFill>
              <a:srgbClr val="E8E4E2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A3E170E2-E2B4-1E89-4C66-8379941C920E}"/>
                </a:ext>
              </a:extLst>
            </p:cNvPr>
            <p:cNvSpPr/>
            <p:nvPr/>
          </p:nvSpPr>
          <p:spPr>
            <a:xfrm flipV="1">
              <a:off x="5513051" y="3244779"/>
              <a:ext cx="24947" cy="19270"/>
            </a:xfrm>
            <a:custGeom>
              <a:avLst/>
              <a:gdLst>
                <a:gd name="connsiteX0" fmla="*/ -3436 w 24947"/>
                <a:gd name="connsiteY0" fmla="*/ 10873 h 19270"/>
                <a:gd name="connsiteX1" fmla="*/ 16031 w 24947"/>
                <a:gd name="connsiteY1" fmla="*/ 12159 h 19270"/>
                <a:gd name="connsiteX2" fmla="*/ 18472 w 24947"/>
                <a:gd name="connsiteY2" fmla="*/ 9885 h 19270"/>
                <a:gd name="connsiteX3" fmla="*/ -5983 w 24947"/>
                <a:gd name="connsiteY3" fmla="*/ 8295 h 19270"/>
                <a:gd name="connsiteX4" fmla="*/ -3436 w 24947"/>
                <a:gd name="connsiteY4" fmla="*/ 10873 h 19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47" h="19270">
                  <a:moveTo>
                    <a:pt x="-3436" y="10873"/>
                  </a:moveTo>
                  <a:cubicBezTo>
                    <a:pt x="924" y="8523"/>
                    <a:pt x="8576" y="6118"/>
                    <a:pt x="16031" y="12159"/>
                  </a:cubicBezTo>
                  <a:cubicBezTo>
                    <a:pt x="17509" y="13359"/>
                    <a:pt x="18031" y="11855"/>
                    <a:pt x="18472" y="9885"/>
                  </a:cubicBezTo>
                  <a:cubicBezTo>
                    <a:pt x="20791" y="-516"/>
                    <a:pt x="9716" y="-20682"/>
                    <a:pt x="-5983" y="8295"/>
                  </a:cubicBezTo>
                  <a:cubicBezTo>
                    <a:pt x="-6788" y="9779"/>
                    <a:pt x="-4788" y="11602"/>
                    <a:pt x="-3436" y="10873"/>
                  </a:cubicBezTo>
                </a:path>
              </a:pathLst>
            </a:custGeom>
            <a:solidFill>
              <a:srgbClr val="FFFFFF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24DB1792-9ECB-D952-81E9-6B20593943AB}"/>
                </a:ext>
              </a:extLst>
            </p:cNvPr>
            <p:cNvSpPr/>
            <p:nvPr/>
          </p:nvSpPr>
          <p:spPr>
            <a:xfrm flipV="1">
              <a:off x="5378443" y="3103466"/>
              <a:ext cx="124880" cy="186714"/>
            </a:xfrm>
            <a:custGeom>
              <a:avLst/>
              <a:gdLst>
                <a:gd name="connsiteX0" fmla="*/ 108269 w 124880"/>
                <a:gd name="connsiteY0" fmla="*/ 178703 h 186714"/>
                <a:gd name="connsiteX1" fmla="*/ 100527 w 124880"/>
                <a:gd name="connsiteY1" fmla="*/ 178530 h 186714"/>
                <a:gd name="connsiteX2" fmla="*/ 78016 w 124880"/>
                <a:gd name="connsiteY2" fmla="*/ 169096 h 186714"/>
                <a:gd name="connsiteX3" fmla="*/ 49277 w 124880"/>
                <a:gd name="connsiteY3" fmla="*/ 164513 h 186714"/>
                <a:gd name="connsiteX4" fmla="*/ 24843 w 124880"/>
                <a:gd name="connsiteY4" fmla="*/ 149812 h 186714"/>
                <a:gd name="connsiteX5" fmla="*/ 22442 w 124880"/>
                <a:gd name="connsiteY5" fmla="*/ 145689 h 186714"/>
                <a:gd name="connsiteX6" fmla="*/ 20002 w 124880"/>
                <a:gd name="connsiteY6" fmla="*/ 150101 h 186714"/>
                <a:gd name="connsiteX7" fmla="*/ 14791 w 124880"/>
                <a:gd name="connsiteY7" fmla="*/ 149640 h 186714"/>
                <a:gd name="connsiteX8" fmla="*/ 16477 w 124880"/>
                <a:gd name="connsiteY8" fmla="*/ 114029 h 186714"/>
                <a:gd name="connsiteX9" fmla="*/ -3298 w 124880"/>
                <a:gd name="connsiteY9" fmla="*/ 92481 h 186714"/>
                <a:gd name="connsiteX10" fmla="*/ -67 w 124880"/>
                <a:gd name="connsiteY10" fmla="*/ 88612 h 186714"/>
                <a:gd name="connsiteX11" fmla="*/ 2738 w 124880"/>
                <a:gd name="connsiteY11" fmla="*/ 89331 h 186714"/>
                <a:gd name="connsiteX12" fmla="*/ 1477 w 124880"/>
                <a:gd name="connsiteY12" fmla="*/ 87766 h 186714"/>
                <a:gd name="connsiteX13" fmla="*/ -5750 w 124880"/>
                <a:gd name="connsiteY13" fmla="*/ 63585 h 186714"/>
                <a:gd name="connsiteX14" fmla="*/ 11342 w 124880"/>
                <a:gd name="connsiteY14" fmla="*/ 37489 h 186714"/>
                <a:gd name="connsiteX15" fmla="*/ 56443 w 124880"/>
                <a:gd name="connsiteY15" fmla="*/ -6812 h 186714"/>
                <a:gd name="connsiteX16" fmla="*/ 75819 w 124880"/>
                <a:gd name="connsiteY16" fmla="*/ 26814 h 186714"/>
                <a:gd name="connsiteX17" fmla="*/ 61284 w 124880"/>
                <a:gd name="connsiteY17" fmla="*/ 35459 h 186714"/>
                <a:gd name="connsiteX18" fmla="*/ 54934 w 124880"/>
                <a:gd name="connsiteY18" fmla="*/ 50489 h 186714"/>
                <a:gd name="connsiteX19" fmla="*/ 63867 w 124880"/>
                <a:gd name="connsiteY19" fmla="*/ 63534 h 186714"/>
                <a:gd name="connsiteX20" fmla="*/ 80949 w 124880"/>
                <a:gd name="connsiteY20" fmla="*/ 62000 h 186714"/>
                <a:gd name="connsiteX21" fmla="*/ 73925 w 124880"/>
                <a:gd name="connsiteY21" fmla="*/ 113051 h 186714"/>
                <a:gd name="connsiteX22" fmla="*/ 103296 w 124880"/>
                <a:gd name="connsiteY22" fmla="*/ 127180 h 186714"/>
                <a:gd name="connsiteX23" fmla="*/ 118798 w 124880"/>
                <a:gd name="connsiteY23" fmla="*/ 154744 h 186714"/>
                <a:gd name="connsiteX24" fmla="*/ 108269 w 124880"/>
                <a:gd name="connsiteY24" fmla="*/ 178703 h 1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4880" h="186714">
                  <a:moveTo>
                    <a:pt x="108269" y="178703"/>
                  </a:moveTo>
                  <a:cubicBezTo>
                    <a:pt x="106001" y="180399"/>
                    <a:pt x="102780" y="180257"/>
                    <a:pt x="100527" y="178530"/>
                  </a:cubicBezTo>
                  <a:cubicBezTo>
                    <a:pt x="94024" y="173542"/>
                    <a:pt x="86160" y="170585"/>
                    <a:pt x="78016" y="169096"/>
                  </a:cubicBezTo>
                  <a:cubicBezTo>
                    <a:pt x="68470" y="167354"/>
                    <a:pt x="58697" y="166848"/>
                    <a:pt x="49277" y="164513"/>
                  </a:cubicBezTo>
                  <a:cubicBezTo>
                    <a:pt x="39853" y="162173"/>
                    <a:pt x="30500" y="157697"/>
                    <a:pt x="24843" y="149812"/>
                  </a:cubicBezTo>
                  <a:cubicBezTo>
                    <a:pt x="23911" y="148510"/>
                    <a:pt x="23146" y="147113"/>
                    <a:pt x="22442" y="145689"/>
                  </a:cubicBezTo>
                  <a:lnTo>
                    <a:pt x="20002" y="150101"/>
                  </a:lnTo>
                  <a:cubicBezTo>
                    <a:pt x="18812" y="152258"/>
                    <a:pt x="15566" y="151979"/>
                    <a:pt x="14791" y="149640"/>
                  </a:cubicBezTo>
                  <a:cubicBezTo>
                    <a:pt x="9635" y="134052"/>
                    <a:pt x="13130" y="121356"/>
                    <a:pt x="16477" y="114029"/>
                  </a:cubicBezTo>
                  <a:cubicBezTo>
                    <a:pt x="16477" y="114029"/>
                    <a:pt x="3882" y="108261"/>
                    <a:pt x="-3298" y="92481"/>
                  </a:cubicBezTo>
                  <a:cubicBezTo>
                    <a:pt x="-4266" y="90359"/>
                    <a:pt x="-2321" y="88034"/>
                    <a:pt x="-67" y="88612"/>
                  </a:cubicBezTo>
                  <a:lnTo>
                    <a:pt x="2738" y="89331"/>
                  </a:lnTo>
                  <a:cubicBezTo>
                    <a:pt x="2328" y="88809"/>
                    <a:pt x="1862" y="88283"/>
                    <a:pt x="1477" y="87766"/>
                  </a:cubicBezTo>
                  <a:cubicBezTo>
                    <a:pt x="-3683" y="80838"/>
                    <a:pt x="-7031" y="72123"/>
                    <a:pt x="-5750" y="63585"/>
                  </a:cubicBezTo>
                  <a:cubicBezTo>
                    <a:pt x="-4180" y="53107"/>
                    <a:pt x="3786" y="44913"/>
                    <a:pt x="11342" y="37489"/>
                  </a:cubicBezTo>
                  <a:cubicBezTo>
                    <a:pt x="26377" y="22722"/>
                    <a:pt x="41408" y="7955"/>
                    <a:pt x="56443" y="-6812"/>
                  </a:cubicBezTo>
                  <a:cubicBezTo>
                    <a:pt x="59132" y="6254"/>
                    <a:pt x="65716" y="18099"/>
                    <a:pt x="75819" y="26814"/>
                  </a:cubicBezTo>
                  <a:cubicBezTo>
                    <a:pt x="70562" y="28723"/>
                    <a:pt x="65199" y="31463"/>
                    <a:pt x="61284" y="35459"/>
                  </a:cubicBezTo>
                  <a:cubicBezTo>
                    <a:pt x="57365" y="39449"/>
                    <a:pt x="54716" y="44898"/>
                    <a:pt x="54934" y="50489"/>
                  </a:cubicBezTo>
                  <a:cubicBezTo>
                    <a:pt x="55157" y="56075"/>
                    <a:pt x="58606" y="61635"/>
                    <a:pt x="63867" y="63534"/>
                  </a:cubicBezTo>
                  <a:cubicBezTo>
                    <a:pt x="69256" y="65484"/>
                    <a:pt x="75581" y="63990"/>
                    <a:pt x="80949" y="62000"/>
                  </a:cubicBezTo>
                  <a:cubicBezTo>
                    <a:pt x="80949" y="62000"/>
                    <a:pt x="95052" y="90673"/>
                    <a:pt x="73925" y="113051"/>
                  </a:cubicBezTo>
                  <a:cubicBezTo>
                    <a:pt x="84387" y="115897"/>
                    <a:pt x="94870" y="120354"/>
                    <a:pt x="103296" y="127180"/>
                  </a:cubicBezTo>
                  <a:cubicBezTo>
                    <a:pt x="111728" y="134012"/>
                    <a:pt x="118079" y="143922"/>
                    <a:pt x="118798" y="154744"/>
                  </a:cubicBezTo>
                  <a:cubicBezTo>
                    <a:pt x="119395" y="163819"/>
                    <a:pt x="115440" y="173340"/>
                    <a:pt x="108269" y="178703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18C935CE-03BF-8FBE-902A-A383685C54B2}"/>
                </a:ext>
              </a:extLst>
            </p:cNvPr>
            <p:cNvSpPr/>
            <p:nvPr/>
          </p:nvSpPr>
          <p:spPr>
            <a:xfrm flipV="1">
              <a:off x="5460665" y="3175217"/>
              <a:ext cx="65655" cy="46036"/>
            </a:xfrm>
            <a:custGeom>
              <a:avLst/>
              <a:gdLst>
                <a:gd name="connsiteX0" fmla="*/ 56834 w 65655"/>
                <a:gd name="connsiteY0" fmla="*/ 8966 h 46036"/>
                <a:gd name="connsiteX1" fmla="*/ 48103 w 65655"/>
                <a:gd name="connsiteY1" fmla="*/ -2717 h 46036"/>
                <a:gd name="connsiteX2" fmla="*/ 33534 w 65655"/>
                <a:gd name="connsiteY2" fmla="*/ -3405 h 46036"/>
                <a:gd name="connsiteX3" fmla="*/ 21521 w 65655"/>
                <a:gd name="connsiteY3" fmla="*/ 7432 h 46036"/>
                <a:gd name="connsiteX4" fmla="*/ 19278 w 65655"/>
                <a:gd name="connsiteY4" fmla="*/ 23450 h 46036"/>
                <a:gd name="connsiteX5" fmla="*/ 28003 w 65655"/>
                <a:gd name="connsiteY5" fmla="*/ 35133 h 46036"/>
                <a:gd name="connsiteX6" fmla="*/ 35473 w 65655"/>
                <a:gd name="connsiteY6" fmla="*/ 37077 h 46036"/>
                <a:gd name="connsiteX7" fmla="*/ 42568 w 65655"/>
                <a:gd name="connsiteY7" fmla="*/ 35826 h 46036"/>
                <a:gd name="connsiteX8" fmla="*/ 54585 w 65655"/>
                <a:gd name="connsiteY8" fmla="*/ 24984 h 46036"/>
                <a:gd name="connsiteX9" fmla="*/ 56834 w 65655"/>
                <a:gd name="connsiteY9" fmla="*/ 8966 h 46036"/>
                <a:gd name="connsiteX10" fmla="*/ 56469 w 65655"/>
                <a:gd name="connsiteY10" fmla="*/ 25987 h 46036"/>
                <a:gd name="connsiteX11" fmla="*/ 43328 w 65655"/>
                <a:gd name="connsiteY11" fmla="*/ 37822 h 46036"/>
                <a:gd name="connsiteX12" fmla="*/ 27001 w 65655"/>
                <a:gd name="connsiteY12" fmla="*/ 37022 h 46036"/>
                <a:gd name="connsiteX13" fmla="*/ 17192 w 65655"/>
                <a:gd name="connsiteY13" fmla="*/ 23946 h 46036"/>
                <a:gd name="connsiteX14" fmla="*/ 17293 w 65655"/>
                <a:gd name="connsiteY14" fmla="*/ 12962 h 46036"/>
                <a:gd name="connsiteX15" fmla="*/ -6113 w 65655"/>
                <a:gd name="connsiteY15" fmla="*/ -5507 h 46036"/>
                <a:gd name="connsiteX16" fmla="*/ -4017 w 65655"/>
                <a:gd name="connsiteY16" fmla="*/ -5917 h 46036"/>
                <a:gd name="connsiteX17" fmla="*/ 17774 w 65655"/>
                <a:gd name="connsiteY17" fmla="*/ 10881 h 46036"/>
                <a:gd name="connsiteX18" fmla="*/ 19632 w 65655"/>
                <a:gd name="connsiteY18" fmla="*/ 6429 h 46036"/>
                <a:gd name="connsiteX19" fmla="*/ 32779 w 65655"/>
                <a:gd name="connsiteY19" fmla="*/ -5401 h 46036"/>
                <a:gd name="connsiteX20" fmla="*/ 40684 w 65655"/>
                <a:gd name="connsiteY20" fmla="*/ -6803 h 46036"/>
                <a:gd name="connsiteX21" fmla="*/ 49106 w 65655"/>
                <a:gd name="connsiteY21" fmla="*/ -4605 h 46036"/>
                <a:gd name="connsiteX22" fmla="*/ 58910 w 65655"/>
                <a:gd name="connsiteY22" fmla="*/ 8475 h 46036"/>
                <a:gd name="connsiteX23" fmla="*/ 56469 w 65655"/>
                <a:gd name="connsiteY23" fmla="*/ 25987 h 46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5655" h="46036">
                  <a:moveTo>
                    <a:pt x="56834" y="8966"/>
                  </a:moveTo>
                  <a:cubicBezTo>
                    <a:pt x="55593" y="3765"/>
                    <a:pt x="52494" y="-387"/>
                    <a:pt x="48103" y="-2717"/>
                  </a:cubicBezTo>
                  <a:cubicBezTo>
                    <a:pt x="43718" y="-5051"/>
                    <a:pt x="38532" y="-5294"/>
                    <a:pt x="33534" y="-3405"/>
                  </a:cubicBezTo>
                  <a:cubicBezTo>
                    <a:pt x="28485" y="-1496"/>
                    <a:pt x="24215" y="2353"/>
                    <a:pt x="21521" y="7432"/>
                  </a:cubicBezTo>
                  <a:cubicBezTo>
                    <a:pt x="18827" y="12511"/>
                    <a:pt x="18032" y="18198"/>
                    <a:pt x="19278" y="23450"/>
                  </a:cubicBezTo>
                  <a:cubicBezTo>
                    <a:pt x="20514" y="28656"/>
                    <a:pt x="23613" y="32803"/>
                    <a:pt x="28003" y="35133"/>
                  </a:cubicBezTo>
                  <a:cubicBezTo>
                    <a:pt x="30323" y="36368"/>
                    <a:pt x="32855" y="37017"/>
                    <a:pt x="35473" y="37077"/>
                  </a:cubicBezTo>
                  <a:cubicBezTo>
                    <a:pt x="37808" y="37133"/>
                    <a:pt x="40208" y="36713"/>
                    <a:pt x="42568" y="35826"/>
                  </a:cubicBezTo>
                  <a:cubicBezTo>
                    <a:pt x="47622" y="33912"/>
                    <a:pt x="51886" y="30064"/>
                    <a:pt x="54585" y="24984"/>
                  </a:cubicBezTo>
                  <a:cubicBezTo>
                    <a:pt x="57279" y="19910"/>
                    <a:pt x="58079" y="14218"/>
                    <a:pt x="56834" y="8966"/>
                  </a:cubicBezTo>
                  <a:close/>
                  <a:moveTo>
                    <a:pt x="56469" y="25987"/>
                  </a:moveTo>
                  <a:cubicBezTo>
                    <a:pt x="53532" y="31527"/>
                    <a:pt x="48863" y="35730"/>
                    <a:pt x="43328" y="37822"/>
                  </a:cubicBezTo>
                  <a:cubicBezTo>
                    <a:pt x="37737" y="39944"/>
                    <a:pt x="31943" y="39655"/>
                    <a:pt x="27001" y="37022"/>
                  </a:cubicBezTo>
                  <a:cubicBezTo>
                    <a:pt x="22053" y="34403"/>
                    <a:pt x="18574" y="29755"/>
                    <a:pt x="17192" y="23946"/>
                  </a:cubicBezTo>
                  <a:cubicBezTo>
                    <a:pt x="16341" y="20371"/>
                    <a:pt x="16457" y="16623"/>
                    <a:pt x="17293" y="12962"/>
                  </a:cubicBezTo>
                  <a:cubicBezTo>
                    <a:pt x="12857" y="12228"/>
                    <a:pt x="-3369" y="8586"/>
                    <a:pt x="-6113" y="-5507"/>
                  </a:cubicBezTo>
                  <a:lnTo>
                    <a:pt x="-4017" y="-5917"/>
                  </a:lnTo>
                  <a:cubicBezTo>
                    <a:pt x="-1495" y="7012"/>
                    <a:pt x="13930" y="10268"/>
                    <a:pt x="17774" y="10881"/>
                  </a:cubicBezTo>
                  <a:cubicBezTo>
                    <a:pt x="18255" y="9366"/>
                    <a:pt x="18868" y="7873"/>
                    <a:pt x="19632" y="6429"/>
                  </a:cubicBezTo>
                  <a:cubicBezTo>
                    <a:pt x="22575" y="889"/>
                    <a:pt x="27239" y="-3309"/>
                    <a:pt x="32779" y="-5401"/>
                  </a:cubicBezTo>
                  <a:cubicBezTo>
                    <a:pt x="35402" y="-6398"/>
                    <a:pt x="38076" y="-6864"/>
                    <a:pt x="40684" y="-6803"/>
                  </a:cubicBezTo>
                  <a:cubicBezTo>
                    <a:pt x="43626" y="-6733"/>
                    <a:pt x="46487" y="-5998"/>
                    <a:pt x="49106" y="-4605"/>
                  </a:cubicBezTo>
                  <a:cubicBezTo>
                    <a:pt x="54048" y="-1987"/>
                    <a:pt x="57527" y="2662"/>
                    <a:pt x="58910" y="8475"/>
                  </a:cubicBezTo>
                  <a:cubicBezTo>
                    <a:pt x="60277" y="14228"/>
                    <a:pt x="59411" y="20452"/>
                    <a:pt x="56469" y="25987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1C39C105-FF27-C5E5-4CB7-25125E2D9696}"/>
                </a:ext>
              </a:extLst>
            </p:cNvPr>
            <p:cNvSpPr/>
            <p:nvPr/>
          </p:nvSpPr>
          <p:spPr>
            <a:xfrm flipV="1">
              <a:off x="5530918" y="3323098"/>
              <a:ext cx="97679" cy="370861"/>
            </a:xfrm>
            <a:custGeom>
              <a:avLst/>
              <a:gdLst>
                <a:gd name="connsiteX0" fmla="*/ 821 w 97679"/>
                <a:gd name="connsiteY0" fmla="*/ 364748 h 370861"/>
                <a:gd name="connsiteX1" fmla="*/ 12296 w 97679"/>
                <a:gd name="connsiteY1" fmla="*/ 323809 h 370861"/>
                <a:gd name="connsiteX2" fmla="*/ 91307 w 97679"/>
                <a:gd name="connsiteY2" fmla="*/ 29882 h 370861"/>
                <a:gd name="connsiteX3" fmla="*/ 66741 w 97679"/>
                <a:gd name="connsiteY3" fmla="*/ -6114 h 370861"/>
                <a:gd name="connsiteX4" fmla="*/ 26390 w 97679"/>
                <a:gd name="connsiteY4" fmla="*/ 27041 h 370861"/>
                <a:gd name="connsiteX5" fmla="*/ 3540 w 97679"/>
                <a:gd name="connsiteY5" fmla="*/ 320477 h 370861"/>
                <a:gd name="connsiteX6" fmla="*/ 821 w 97679"/>
                <a:gd name="connsiteY6" fmla="*/ 364748 h 370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679" h="370861">
                  <a:moveTo>
                    <a:pt x="821" y="364748"/>
                  </a:moveTo>
                  <a:cubicBezTo>
                    <a:pt x="821" y="364748"/>
                    <a:pt x="20323" y="352386"/>
                    <a:pt x="12296" y="323809"/>
                  </a:cubicBezTo>
                  <a:cubicBezTo>
                    <a:pt x="12296" y="323809"/>
                    <a:pt x="94862" y="222476"/>
                    <a:pt x="91307" y="29882"/>
                  </a:cubicBezTo>
                  <a:lnTo>
                    <a:pt x="66741" y="-6114"/>
                  </a:lnTo>
                  <a:lnTo>
                    <a:pt x="26390" y="27041"/>
                  </a:lnTo>
                  <a:cubicBezTo>
                    <a:pt x="26390" y="27041"/>
                    <a:pt x="71096" y="225651"/>
                    <a:pt x="3540" y="320477"/>
                  </a:cubicBezTo>
                  <a:cubicBezTo>
                    <a:pt x="3540" y="320477"/>
                    <a:pt x="-16570" y="343706"/>
                    <a:pt x="821" y="364748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C75F792F-78B3-36ED-5154-BFDD29BD5442}"/>
                </a:ext>
              </a:extLst>
            </p:cNvPr>
            <p:cNvSpPr/>
            <p:nvPr/>
          </p:nvSpPr>
          <p:spPr>
            <a:xfrm flipV="1">
              <a:off x="5436605" y="3314818"/>
              <a:ext cx="101201" cy="47007"/>
            </a:xfrm>
            <a:custGeom>
              <a:avLst/>
              <a:gdLst>
                <a:gd name="connsiteX0" fmla="*/ -6103 w 101201"/>
                <a:gd name="connsiteY0" fmla="*/ 39753 h 47007"/>
                <a:gd name="connsiteX1" fmla="*/ 95099 w 101201"/>
                <a:gd name="connsiteY1" fmla="*/ 40513 h 47007"/>
                <a:gd name="connsiteX2" fmla="*/ 90060 w 101201"/>
                <a:gd name="connsiteY2" fmla="*/ -6472 h 47007"/>
                <a:gd name="connsiteX3" fmla="*/ -5257 w 101201"/>
                <a:gd name="connsiteY3" fmla="*/ 17592 h 47007"/>
                <a:gd name="connsiteX4" fmla="*/ -6103 w 101201"/>
                <a:gd name="connsiteY4" fmla="*/ 39753 h 4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01" h="47007">
                  <a:moveTo>
                    <a:pt x="-6103" y="39753"/>
                  </a:moveTo>
                  <a:lnTo>
                    <a:pt x="95099" y="40513"/>
                  </a:lnTo>
                  <a:cubicBezTo>
                    <a:pt x="95099" y="40513"/>
                    <a:pt x="90080" y="-7688"/>
                    <a:pt x="90060" y="-6472"/>
                  </a:cubicBezTo>
                  <a:cubicBezTo>
                    <a:pt x="90045" y="-5257"/>
                    <a:pt x="-5257" y="17592"/>
                    <a:pt x="-5257" y="17592"/>
                  </a:cubicBezTo>
                  <a:lnTo>
                    <a:pt x="-6103" y="39753"/>
                  </a:ln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FC85D7A5-02CD-58C2-2099-92A8BF81BB9E}"/>
                </a:ext>
              </a:extLst>
            </p:cNvPr>
            <p:cNvSpPr/>
            <p:nvPr/>
          </p:nvSpPr>
          <p:spPr>
            <a:xfrm flipV="1">
              <a:off x="5188577" y="4701418"/>
              <a:ext cx="133866" cy="170084"/>
            </a:xfrm>
            <a:custGeom>
              <a:avLst/>
              <a:gdLst>
                <a:gd name="connsiteX0" fmla="*/ 115314 w 133866"/>
                <a:gd name="connsiteY0" fmla="*/ 113 h 170084"/>
                <a:gd name="connsiteX1" fmla="*/ 23152 w 133866"/>
                <a:gd name="connsiteY1" fmla="*/ -3254 h 170084"/>
                <a:gd name="connsiteX2" fmla="*/ -5415 w 133866"/>
                <a:gd name="connsiteY2" fmla="*/ 29450 h 170084"/>
                <a:gd name="connsiteX3" fmla="*/ -1 w 133866"/>
                <a:gd name="connsiteY3" fmla="*/ 51925 h 170084"/>
                <a:gd name="connsiteX4" fmla="*/ 29396 w 133866"/>
                <a:gd name="connsiteY4" fmla="*/ 165336 h 170084"/>
                <a:gd name="connsiteX5" fmla="*/ 94121 w 133866"/>
                <a:gd name="connsiteY5" fmla="*/ 166830 h 170084"/>
                <a:gd name="connsiteX6" fmla="*/ 116722 w 133866"/>
                <a:gd name="connsiteY6" fmla="*/ 36185 h 170084"/>
                <a:gd name="connsiteX7" fmla="*/ 127630 w 133866"/>
                <a:gd name="connsiteY7" fmla="*/ 15635 h 170084"/>
                <a:gd name="connsiteX8" fmla="*/ 127686 w 133866"/>
                <a:gd name="connsiteY8" fmla="*/ 15478 h 170084"/>
                <a:gd name="connsiteX9" fmla="*/ 115314 w 133866"/>
                <a:gd name="connsiteY9" fmla="*/ 113 h 170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3866" h="170084">
                  <a:moveTo>
                    <a:pt x="115314" y="113"/>
                  </a:moveTo>
                  <a:lnTo>
                    <a:pt x="23152" y="-3254"/>
                  </a:lnTo>
                  <a:cubicBezTo>
                    <a:pt x="5919" y="-2854"/>
                    <a:pt x="-7907" y="12333"/>
                    <a:pt x="-5415" y="29450"/>
                  </a:cubicBezTo>
                  <a:cubicBezTo>
                    <a:pt x="-4311" y="37066"/>
                    <a:pt x="-2245" y="44759"/>
                    <a:pt x="-1" y="51925"/>
                  </a:cubicBezTo>
                  <a:cubicBezTo>
                    <a:pt x="12046" y="90387"/>
                    <a:pt x="18974" y="128140"/>
                    <a:pt x="29396" y="165336"/>
                  </a:cubicBezTo>
                  <a:lnTo>
                    <a:pt x="94121" y="166830"/>
                  </a:lnTo>
                  <a:cubicBezTo>
                    <a:pt x="76138" y="126205"/>
                    <a:pt x="92404" y="77012"/>
                    <a:pt x="116722" y="36185"/>
                  </a:cubicBezTo>
                  <a:cubicBezTo>
                    <a:pt x="120672" y="29485"/>
                    <a:pt x="125316" y="23069"/>
                    <a:pt x="127630" y="15635"/>
                  </a:cubicBezTo>
                  <a:lnTo>
                    <a:pt x="127686" y="15478"/>
                  </a:lnTo>
                  <a:cubicBezTo>
                    <a:pt x="130005" y="7619"/>
                    <a:pt x="123503" y="-125"/>
                    <a:pt x="115314" y="113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5D9D3695-F396-E324-E2D4-EEFC634A1D74}"/>
                </a:ext>
              </a:extLst>
            </p:cNvPr>
            <p:cNvSpPr/>
            <p:nvPr/>
          </p:nvSpPr>
          <p:spPr>
            <a:xfrm flipV="1">
              <a:off x="5726569" y="4502600"/>
              <a:ext cx="209357" cy="128442"/>
            </a:xfrm>
            <a:custGeom>
              <a:avLst/>
              <a:gdLst>
                <a:gd name="connsiteX0" fmla="*/ 201949 w 209357"/>
                <a:gd name="connsiteY0" fmla="*/ 23480 h 128442"/>
                <a:gd name="connsiteX1" fmla="*/ 185830 w 209357"/>
                <a:gd name="connsiteY1" fmla="*/ 36616 h 128442"/>
                <a:gd name="connsiteX2" fmla="*/ 75913 w 209357"/>
                <a:gd name="connsiteY2" fmla="*/ 124697 h 128442"/>
                <a:gd name="connsiteX3" fmla="*/ 22471 w 209357"/>
                <a:gd name="connsiteY3" fmla="*/ 123461 h 128442"/>
                <a:gd name="connsiteX4" fmla="*/ -5650 w 209357"/>
                <a:gd name="connsiteY4" fmla="*/ 22766 h 128442"/>
                <a:gd name="connsiteX5" fmla="*/ 13954 w 209357"/>
                <a:gd name="connsiteY5" fmla="*/ -3740 h 128442"/>
                <a:gd name="connsiteX6" fmla="*/ 184853 w 209357"/>
                <a:gd name="connsiteY6" fmla="*/ 225 h 128442"/>
                <a:gd name="connsiteX7" fmla="*/ 201949 w 209357"/>
                <a:gd name="connsiteY7" fmla="*/ 23480 h 128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357" h="128442">
                  <a:moveTo>
                    <a:pt x="201949" y="23480"/>
                  </a:moveTo>
                  <a:cubicBezTo>
                    <a:pt x="199843" y="30797"/>
                    <a:pt x="193432" y="36074"/>
                    <a:pt x="185830" y="36616"/>
                  </a:cubicBezTo>
                  <a:cubicBezTo>
                    <a:pt x="155886" y="38738"/>
                    <a:pt x="81874" y="51413"/>
                    <a:pt x="75913" y="124697"/>
                  </a:cubicBezTo>
                  <a:lnTo>
                    <a:pt x="22471" y="123461"/>
                  </a:lnTo>
                  <a:lnTo>
                    <a:pt x="-5650" y="22766"/>
                  </a:lnTo>
                  <a:cubicBezTo>
                    <a:pt x="-10040" y="9528"/>
                    <a:pt x="7" y="-4064"/>
                    <a:pt x="13954" y="-3740"/>
                  </a:cubicBezTo>
                  <a:lnTo>
                    <a:pt x="184853" y="225"/>
                  </a:lnTo>
                  <a:cubicBezTo>
                    <a:pt x="196789" y="504"/>
                    <a:pt x="205241" y="11994"/>
                    <a:pt x="201949" y="23480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3ABCC4CE-279F-3A59-E797-59B0C895D71B}"/>
                </a:ext>
              </a:extLst>
            </p:cNvPr>
            <p:cNvSpPr/>
            <p:nvPr/>
          </p:nvSpPr>
          <p:spPr>
            <a:xfrm flipV="1">
              <a:off x="5209064" y="3761757"/>
              <a:ext cx="765181" cy="960075"/>
            </a:xfrm>
            <a:custGeom>
              <a:avLst/>
              <a:gdLst>
                <a:gd name="connsiteX0" fmla="*/ 730433 w 765181"/>
                <a:gd name="connsiteY0" fmla="*/ 728272 h 960075"/>
                <a:gd name="connsiteX1" fmla="*/ 441636 w 765181"/>
                <a:gd name="connsiteY1" fmla="*/ 932276 h 960075"/>
                <a:gd name="connsiteX2" fmla="*/ 230077 w 765181"/>
                <a:gd name="connsiteY2" fmla="*/ 951940 h 960075"/>
                <a:gd name="connsiteX3" fmla="*/ 205612 w 765181"/>
                <a:gd name="connsiteY3" fmla="*/ 893920 h 960075"/>
                <a:gd name="connsiteX4" fmla="*/ 176205 w 765181"/>
                <a:gd name="connsiteY4" fmla="*/ 783258 h 960075"/>
                <a:gd name="connsiteX5" fmla="*/ 125644 w 765181"/>
                <a:gd name="connsiteY5" fmla="*/ 466993 h 960075"/>
                <a:gd name="connsiteX6" fmla="*/ -6281 w 765181"/>
                <a:gd name="connsiteY6" fmla="*/ 7985 h 960075"/>
                <a:gd name="connsiteX7" fmla="*/ 79930 w 765181"/>
                <a:gd name="connsiteY7" fmla="*/ 4638 h 960075"/>
                <a:gd name="connsiteX8" fmla="*/ 236873 w 765181"/>
                <a:gd name="connsiteY8" fmla="*/ 428698 h 960075"/>
                <a:gd name="connsiteX9" fmla="*/ 376177 w 765181"/>
                <a:gd name="connsiteY9" fmla="*/ 744077 h 960075"/>
                <a:gd name="connsiteX10" fmla="*/ 622603 w 765181"/>
                <a:gd name="connsiteY10" fmla="*/ 627901 h 960075"/>
                <a:gd name="connsiteX11" fmla="*/ 529818 w 765181"/>
                <a:gd name="connsiteY11" fmla="*/ 207790 h 960075"/>
                <a:gd name="connsiteX12" fmla="*/ 616536 w 765181"/>
                <a:gd name="connsiteY12" fmla="*/ 197141 h 960075"/>
                <a:gd name="connsiteX13" fmla="*/ 750128 w 765181"/>
                <a:gd name="connsiteY13" fmla="*/ 610531 h 960075"/>
                <a:gd name="connsiteX14" fmla="*/ 730433 w 765181"/>
                <a:gd name="connsiteY14" fmla="*/ 728272 h 960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5181" h="960075">
                  <a:moveTo>
                    <a:pt x="730433" y="728272"/>
                  </a:moveTo>
                  <a:cubicBezTo>
                    <a:pt x="614880" y="856273"/>
                    <a:pt x="441636" y="932276"/>
                    <a:pt x="441636" y="932276"/>
                  </a:cubicBezTo>
                  <a:cubicBezTo>
                    <a:pt x="441636" y="932276"/>
                    <a:pt x="285083" y="966656"/>
                    <a:pt x="230077" y="951940"/>
                  </a:cubicBezTo>
                  <a:lnTo>
                    <a:pt x="205612" y="893920"/>
                  </a:lnTo>
                  <a:cubicBezTo>
                    <a:pt x="191984" y="858157"/>
                    <a:pt x="182125" y="821067"/>
                    <a:pt x="176205" y="783258"/>
                  </a:cubicBezTo>
                  <a:lnTo>
                    <a:pt x="125644" y="466993"/>
                  </a:lnTo>
                  <a:cubicBezTo>
                    <a:pt x="125644" y="466993"/>
                    <a:pt x="35989" y="283408"/>
                    <a:pt x="-6281" y="7985"/>
                  </a:cubicBezTo>
                  <a:cubicBezTo>
                    <a:pt x="-6281" y="7985"/>
                    <a:pt x="41524" y="-17660"/>
                    <a:pt x="79930" y="4638"/>
                  </a:cubicBezTo>
                  <a:cubicBezTo>
                    <a:pt x="79930" y="4638"/>
                    <a:pt x="149365" y="294311"/>
                    <a:pt x="236873" y="428698"/>
                  </a:cubicBezTo>
                  <a:cubicBezTo>
                    <a:pt x="236873" y="428698"/>
                    <a:pt x="315752" y="596058"/>
                    <a:pt x="376177" y="744077"/>
                  </a:cubicBezTo>
                  <a:cubicBezTo>
                    <a:pt x="482301" y="699108"/>
                    <a:pt x="622603" y="627901"/>
                    <a:pt x="622603" y="627901"/>
                  </a:cubicBezTo>
                  <a:lnTo>
                    <a:pt x="529818" y="207790"/>
                  </a:lnTo>
                  <a:cubicBezTo>
                    <a:pt x="558617" y="167586"/>
                    <a:pt x="616536" y="197141"/>
                    <a:pt x="616536" y="197141"/>
                  </a:cubicBezTo>
                  <a:lnTo>
                    <a:pt x="750128" y="610531"/>
                  </a:lnTo>
                  <a:cubicBezTo>
                    <a:pt x="766849" y="650274"/>
                    <a:pt x="759329" y="696261"/>
                    <a:pt x="730433" y="728272"/>
                  </a:cubicBezTo>
                </a:path>
              </a:pathLst>
            </a:custGeom>
            <a:solidFill>
              <a:srgbClr val="74B6D6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BD193F55-F0C7-8786-CFE8-199222D40F1E}"/>
                </a:ext>
              </a:extLst>
            </p:cNvPr>
            <p:cNvSpPr/>
            <p:nvPr/>
          </p:nvSpPr>
          <p:spPr>
            <a:xfrm flipV="1">
              <a:off x="5445453" y="3738767"/>
              <a:ext cx="214811" cy="46306"/>
            </a:xfrm>
            <a:custGeom>
              <a:avLst/>
              <a:gdLst>
                <a:gd name="connsiteX0" fmla="*/ 206889 w 214811"/>
                <a:gd name="connsiteY0" fmla="*/ 94 h 46306"/>
                <a:gd name="connsiteX1" fmla="*/ 205324 w 214811"/>
                <a:gd name="connsiteY1" fmla="*/ -5547 h 46306"/>
                <a:gd name="connsiteX2" fmla="*/ 184784 w 214811"/>
                <a:gd name="connsiteY2" fmla="*/ -3511 h 46306"/>
                <a:gd name="connsiteX3" fmla="*/ 89092 w 214811"/>
                <a:gd name="connsiteY3" fmla="*/ 1097 h 46306"/>
                <a:gd name="connsiteX4" fmla="*/ 73869 w 214811"/>
                <a:gd name="connsiteY4" fmla="*/ 2789 h 46306"/>
                <a:gd name="connsiteX5" fmla="*/ -6215 w 214811"/>
                <a:gd name="connsiteY5" fmla="*/ 14127 h 46306"/>
                <a:gd name="connsiteX6" fmla="*/ -3329 w 214811"/>
                <a:gd name="connsiteY6" fmla="*/ 40759 h 46306"/>
                <a:gd name="connsiteX7" fmla="*/ 75404 w 214811"/>
                <a:gd name="connsiteY7" fmla="*/ 29856 h 46306"/>
                <a:gd name="connsiteX8" fmla="*/ 90682 w 214811"/>
                <a:gd name="connsiteY8" fmla="*/ 28286 h 46306"/>
                <a:gd name="connsiteX9" fmla="*/ 206129 w 214811"/>
                <a:gd name="connsiteY9" fmla="*/ 27871 h 46306"/>
                <a:gd name="connsiteX10" fmla="*/ 206185 w 214811"/>
                <a:gd name="connsiteY10" fmla="*/ 27871 h 46306"/>
                <a:gd name="connsiteX11" fmla="*/ 206479 w 214811"/>
                <a:gd name="connsiteY11" fmla="*/ 27937 h 46306"/>
                <a:gd name="connsiteX12" fmla="*/ 206889 w 214811"/>
                <a:gd name="connsiteY12" fmla="*/ 94 h 4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4811" h="46306">
                  <a:moveTo>
                    <a:pt x="206889" y="94"/>
                  </a:moveTo>
                  <a:cubicBezTo>
                    <a:pt x="206463" y="-1724"/>
                    <a:pt x="205982" y="-3602"/>
                    <a:pt x="205324" y="-5547"/>
                  </a:cubicBezTo>
                  <a:lnTo>
                    <a:pt x="184784" y="-3511"/>
                  </a:lnTo>
                  <a:cubicBezTo>
                    <a:pt x="159833" y="-5203"/>
                    <a:pt x="123452" y="-2600"/>
                    <a:pt x="89092" y="1097"/>
                  </a:cubicBezTo>
                  <a:cubicBezTo>
                    <a:pt x="83942" y="1680"/>
                    <a:pt x="78847" y="2262"/>
                    <a:pt x="73869" y="2789"/>
                  </a:cubicBezTo>
                  <a:cubicBezTo>
                    <a:pt x="30368" y="7969"/>
                    <a:pt x="-6215" y="14127"/>
                    <a:pt x="-6215" y="14127"/>
                  </a:cubicBezTo>
                  <a:cubicBezTo>
                    <a:pt x="-5076" y="22969"/>
                    <a:pt x="-4174" y="31867"/>
                    <a:pt x="-3329" y="40759"/>
                  </a:cubicBezTo>
                  <a:cubicBezTo>
                    <a:pt x="-3329" y="40759"/>
                    <a:pt x="32373" y="34703"/>
                    <a:pt x="75404" y="29856"/>
                  </a:cubicBezTo>
                  <a:cubicBezTo>
                    <a:pt x="80437" y="29335"/>
                    <a:pt x="85527" y="28752"/>
                    <a:pt x="90682" y="28286"/>
                  </a:cubicBezTo>
                  <a:cubicBezTo>
                    <a:pt x="134284" y="23866"/>
                    <a:pt x="181811" y="21409"/>
                    <a:pt x="206129" y="27871"/>
                  </a:cubicBezTo>
                  <a:lnTo>
                    <a:pt x="206185" y="27871"/>
                  </a:lnTo>
                  <a:lnTo>
                    <a:pt x="206479" y="27937"/>
                  </a:lnTo>
                  <a:cubicBezTo>
                    <a:pt x="207096" y="26372"/>
                    <a:pt x="210661" y="16122"/>
                    <a:pt x="206889" y="94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7C541B89-7CE6-A725-76B5-BE22E2563181}"/>
                </a:ext>
              </a:extLst>
            </p:cNvPr>
            <p:cNvSpPr/>
            <p:nvPr/>
          </p:nvSpPr>
          <p:spPr>
            <a:xfrm flipV="1">
              <a:off x="5629640" y="3746202"/>
              <a:ext cx="33706" cy="40518"/>
            </a:xfrm>
            <a:custGeom>
              <a:avLst/>
              <a:gdLst>
                <a:gd name="connsiteX0" fmla="*/ 19710 w 33706"/>
                <a:gd name="connsiteY0" fmla="*/ 34967 h 40518"/>
                <a:gd name="connsiteX1" fmla="*/ -3063 w 33706"/>
                <a:gd name="connsiteY1" fmla="*/ 32941 h 40518"/>
                <a:gd name="connsiteX2" fmla="*/ -6350 w 33706"/>
                <a:gd name="connsiteY2" fmla="*/ 28662 h 40518"/>
                <a:gd name="connsiteX3" fmla="*/ -2572 w 33706"/>
                <a:gd name="connsiteY3" fmla="*/ -2250 h 40518"/>
                <a:gd name="connsiteX4" fmla="*/ 1707 w 33706"/>
                <a:gd name="connsiteY4" fmla="*/ -5536 h 40518"/>
                <a:gd name="connsiteX5" fmla="*/ 24126 w 33706"/>
                <a:gd name="connsiteY5" fmla="*/ -5009 h 40518"/>
                <a:gd name="connsiteX6" fmla="*/ 23134 w 33706"/>
                <a:gd name="connsiteY6" fmla="*/ 2556 h 40518"/>
                <a:gd name="connsiteX7" fmla="*/ 4599 w 33706"/>
                <a:gd name="connsiteY7" fmla="*/ 2085 h 40518"/>
                <a:gd name="connsiteX8" fmla="*/ 1687 w 33706"/>
                <a:gd name="connsiteY8" fmla="*/ 25674 h 40518"/>
                <a:gd name="connsiteX9" fmla="*/ 20703 w 33706"/>
                <a:gd name="connsiteY9" fmla="*/ 27396 h 40518"/>
                <a:gd name="connsiteX10" fmla="*/ 19710 w 33706"/>
                <a:gd name="connsiteY10" fmla="*/ 34967 h 4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706" h="40518">
                  <a:moveTo>
                    <a:pt x="19710" y="34967"/>
                  </a:moveTo>
                  <a:cubicBezTo>
                    <a:pt x="9749" y="34167"/>
                    <a:pt x="6903" y="33736"/>
                    <a:pt x="-3063" y="32941"/>
                  </a:cubicBezTo>
                  <a:cubicBezTo>
                    <a:pt x="-5135" y="32774"/>
                    <a:pt x="-6588" y="30632"/>
                    <a:pt x="-6350" y="28662"/>
                  </a:cubicBezTo>
                  <a:cubicBezTo>
                    <a:pt x="-4967" y="17004"/>
                    <a:pt x="-3955" y="9413"/>
                    <a:pt x="-2572" y="-2250"/>
                  </a:cubicBezTo>
                  <a:cubicBezTo>
                    <a:pt x="-2303" y="-4468"/>
                    <a:pt x="-339" y="-5572"/>
                    <a:pt x="1707" y="-5536"/>
                  </a:cubicBezTo>
                  <a:cubicBezTo>
                    <a:pt x="11532" y="-5394"/>
                    <a:pt x="14297" y="-5156"/>
                    <a:pt x="24126" y="-5009"/>
                  </a:cubicBezTo>
                  <a:cubicBezTo>
                    <a:pt x="29033" y="-4939"/>
                    <a:pt x="27990" y="2627"/>
                    <a:pt x="23134" y="2556"/>
                  </a:cubicBezTo>
                  <a:cubicBezTo>
                    <a:pt x="14605" y="2435"/>
                    <a:pt x="13137" y="2212"/>
                    <a:pt x="4599" y="2085"/>
                  </a:cubicBezTo>
                  <a:cubicBezTo>
                    <a:pt x="3505" y="11307"/>
                    <a:pt x="2786" y="16457"/>
                    <a:pt x="1687" y="25674"/>
                  </a:cubicBezTo>
                  <a:cubicBezTo>
                    <a:pt x="10402" y="26373"/>
                    <a:pt x="11987" y="26697"/>
                    <a:pt x="20703" y="27396"/>
                  </a:cubicBezTo>
                  <a:cubicBezTo>
                    <a:pt x="25610" y="27791"/>
                    <a:pt x="24592" y="35357"/>
                    <a:pt x="19710" y="34967"/>
                  </a:cubicBezTo>
                </a:path>
              </a:pathLst>
            </a:custGeom>
            <a:solidFill>
              <a:srgbClr val="6BB4DA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ECA448D7-2539-CC7E-26FE-05817E24EA20}"/>
                </a:ext>
              </a:extLst>
            </p:cNvPr>
            <p:cNvSpPr/>
            <p:nvPr/>
          </p:nvSpPr>
          <p:spPr>
            <a:xfrm flipV="1">
              <a:off x="5525020" y="3749645"/>
              <a:ext cx="17349" cy="36360"/>
            </a:xfrm>
            <a:custGeom>
              <a:avLst/>
              <a:gdLst>
                <a:gd name="connsiteX0" fmla="*/ 11168 w 17349"/>
                <a:gd name="connsiteY0" fmla="*/ 29222 h 36360"/>
                <a:gd name="connsiteX1" fmla="*/ 9547 w 17349"/>
                <a:gd name="connsiteY1" fmla="*/ 2073 h 36360"/>
                <a:gd name="connsiteX2" fmla="*/ 9111 w 17349"/>
                <a:gd name="connsiteY2" fmla="*/ -5534 h 36360"/>
                <a:gd name="connsiteX3" fmla="*/ -6182 w 17349"/>
                <a:gd name="connsiteY3" fmla="*/ -4663 h 36360"/>
                <a:gd name="connsiteX4" fmla="*/ -5681 w 17349"/>
                <a:gd name="connsiteY4" fmla="*/ 3759 h 36360"/>
                <a:gd name="connsiteX5" fmla="*/ -4106 w 17349"/>
                <a:gd name="connsiteY5" fmla="*/ 30827 h 36360"/>
                <a:gd name="connsiteX6" fmla="*/ 11168 w 17349"/>
                <a:gd name="connsiteY6" fmla="*/ 29222 h 36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349" h="36360">
                  <a:moveTo>
                    <a:pt x="11168" y="29222"/>
                  </a:moveTo>
                  <a:lnTo>
                    <a:pt x="9547" y="2073"/>
                  </a:lnTo>
                  <a:lnTo>
                    <a:pt x="9111" y="-5534"/>
                  </a:lnTo>
                  <a:lnTo>
                    <a:pt x="-6182" y="-4663"/>
                  </a:lnTo>
                  <a:lnTo>
                    <a:pt x="-5681" y="3759"/>
                  </a:lnTo>
                  <a:lnTo>
                    <a:pt x="-4106" y="30827"/>
                  </a:lnTo>
                  <a:cubicBezTo>
                    <a:pt x="887" y="30290"/>
                    <a:pt x="6007" y="29718"/>
                    <a:pt x="11168" y="29222"/>
                  </a:cubicBezTo>
                </a:path>
              </a:pathLst>
            </a:custGeom>
            <a:solidFill>
              <a:srgbClr val="6BB4DA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04FDA7F3-19A9-739E-A788-8176DF00E56D}"/>
                </a:ext>
              </a:extLst>
            </p:cNvPr>
            <p:cNvSpPr/>
            <p:nvPr/>
          </p:nvSpPr>
          <p:spPr>
            <a:xfrm flipV="1">
              <a:off x="6505700" y="2806465"/>
              <a:ext cx="285526" cy="478425"/>
            </a:xfrm>
            <a:custGeom>
              <a:avLst/>
              <a:gdLst>
                <a:gd name="connsiteX0" fmla="*/ 277436 w 285526"/>
                <a:gd name="connsiteY0" fmla="*/ 19813 h 478425"/>
                <a:gd name="connsiteX1" fmla="*/ 222546 w 285526"/>
                <a:gd name="connsiteY1" fmla="*/ -611 h 478425"/>
                <a:gd name="connsiteX2" fmla="*/ 106861 w 285526"/>
                <a:gd name="connsiteY2" fmla="*/ -2540 h 478425"/>
                <a:gd name="connsiteX3" fmla="*/ 79185 w 285526"/>
                <a:gd name="connsiteY3" fmla="*/ 3572 h 478425"/>
                <a:gd name="connsiteX4" fmla="*/ 47276 w 285526"/>
                <a:gd name="connsiteY4" fmla="*/ 136784 h 478425"/>
                <a:gd name="connsiteX5" fmla="*/ -8090 w 285526"/>
                <a:gd name="connsiteY5" fmla="*/ 380177 h 478425"/>
                <a:gd name="connsiteX6" fmla="*/ 6029 w 285526"/>
                <a:gd name="connsiteY6" fmla="*/ 393895 h 478425"/>
                <a:gd name="connsiteX7" fmla="*/ 22366 w 285526"/>
                <a:gd name="connsiteY7" fmla="*/ 407543 h 478425"/>
                <a:gd name="connsiteX8" fmla="*/ 87404 w 285526"/>
                <a:gd name="connsiteY8" fmla="*/ 462145 h 478425"/>
                <a:gd name="connsiteX9" fmla="*/ 90372 w 285526"/>
                <a:gd name="connsiteY9" fmla="*/ 462332 h 478425"/>
                <a:gd name="connsiteX10" fmla="*/ 200086 w 285526"/>
                <a:gd name="connsiteY10" fmla="*/ 470759 h 478425"/>
                <a:gd name="connsiteX11" fmla="*/ 209966 w 285526"/>
                <a:gd name="connsiteY11" fmla="*/ 471275 h 478425"/>
                <a:gd name="connsiteX12" fmla="*/ 277436 w 285526"/>
                <a:gd name="connsiteY12" fmla="*/ 19813 h 478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5526" h="478425">
                  <a:moveTo>
                    <a:pt x="277436" y="19813"/>
                  </a:moveTo>
                  <a:cubicBezTo>
                    <a:pt x="259499" y="10085"/>
                    <a:pt x="240904" y="3598"/>
                    <a:pt x="222546" y="-611"/>
                  </a:cubicBezTo>
                  <a:cubicBezTo>
                    <a:pt x="177318" y="-10916"/>
                    <a:pt x="133857" y="-7037"/>
                    <a:pt x="106861" y="-2540"/>
                  </a:cubicBezTo>
                  <a:cubicBezTo>
                    <a:pt x="89739" y="382"/>
                    <a:pt x="79185" y="3572"/>
                    <a:pt x="79185" y="3572"/>
                  </a:cubicBezTo>
                  <a:cubicBezTo>
                    <a:pt x="71088" y="51408"/>
                    <a:pt x="59739" y="96322"/>
                    <a:pt x="47276" y="136784"/>
                  </a:cubicBezTo>
                  <a:lnTo>
                    <a:pt x="-8090" y="380177"/>
                  </a:lnTo>
                  <a:lnTo>
                    <a:pt x="6029" y="393895"/>
                  </a:lnTo>
                  <a:lnTo>
                    <a:pt x="22366" y="407543"/>
                  </a:lnTo>
                  <a:lnTo>
                    <a:pt x="87404" y="462145"/>
                  </a:lnTo>
                  <a:lnTo>
                    <a:pt x="90372" y="462332"/>
                  </a:lnTo>
                  <a:lnTo>
                    <a:pt x="200086" y="470759"/>
                  </a:lnTo>
                  <a:cubicBezTo>
                    <a:pt x="203398" y="471012"/>
                    <a:pt x="206654" y="471144"/>
                    <a:pt x="209966" y="471275"/>
                  </a:cubicBezTo>
                  <a:lnTo>
                    <a:pt x="277436" y="19813"/>
                  </a:lnTo>
                </a:path>
              </a:pathLst>
            </a:custGeom>
            <a:solidFill>
              <a:srgbClr val="4DA5C3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4AC4F11B-C355-6529-A1B6-527F99EE95FA}"/>
                </a:ext>
              </a:extLst>
            </p:cNvPr>
            <p:cNvSpPr/>
            <p:nvPr/>
          </p:nvSpPr>
          <p:spPr>
            <a:xfrm flipV="1">
              <a:off x="6471640" y="4103349"/>
              <a:ext cx="191336" cy="135084"/>
            </a:xfrm>
            <a:custGeom>
              <a:avLst/>
              <a:gdLst>
                <a:gd name="connsiteX0" fmla="*/ -630 w 191336"/>
                <a:gd name="connsiteY0" fmla="*/ -2825 h 135084"/>
                <a:gd name="connsiteX1" fmla="*/ 12461 w 191336"/>
                <a:gd name="connsiteY1" fmla="*/ -4613 h 135084"/>
                <a:gd name="connsiteX2" fmla="*/ 183386 w 191336"/>
                <a:gd name="connsiteY2" fmla="*/ 13826 h 135084"/>
                <a:gd name="connsiteX3" fmla="*/ 159341 w 191336"/>
                <a:gd name="connsiteY3" fmla="*/ 130453 h 135084"/>
                <a:gd name="connsiteX4" fmla="*/ 99832 w 191336"/>
                <a:gd name="connsiteY4" fmla="*/ 117185 h 135084"/>
                <a:gd name="connsiteX5" fmla="*/ 5604 w 191336"/>
                <a:gd name="connsiteY5" fmla="*/ 27838 h 135084"/>
                <a:gd name="connsiteX6" fmla="*/ -7831 w 191336"/>
                <a:gd name="connsiteY6" fmla="*/ 18029 h 135084"/>
                <a:gd name="connsiteX7" fmla="*/ -630 w 191336"/>
                <a:gd name="connsiteY7" fmla="*/ -2825 h 135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1336" h="135084">
                  <a:moveTo>
                    <a:pt x="-630" y="-2825"/>
                  </a:moveTo>
                  <a:cubicBezTo>
                    <a:pt x="3381" y="-4699"/>
                    <a:pt x="8025" y="-4674"/>
                    <a:pt x="12461" y="-4613"/>
                  </a:cubicBezTo>
                  <a:cubicBezTo>
                    <a:pt x="60844" y="-3823"/>
                    <a:pt x="135950" y="4330"/>
                    <a:pt x="183386" y="13826"/>
                  </a:cubicBezTo>
                  <a:cubicBezTo>
                    <a:pt x="183386" y="13826"/>
                    <a:pt x="166466" y="85736"/>
                    <a:pt x="159341" y="130453"/>
                  </a:cubicBezTo>
                  <a:lnTo>
                    <a:pt x="99832" y="117185"/>
                  </a:lnTo>
                  <a:cubicBezTo>
                    <a:pt x="92910" y="71911"/>
                    <a:pt x="49404" y="41202"/>
                    <a:pt x="5604" y="27838"/>
                  </a:cubicBezTo>
                  <a:cubicBezTo>
                    <a:pt x="-2" y="26137"/>
                    <a:pt x="-6752" y="23792"/>
                    <a:pt x="-7831" y="18029"/>
                  </a:cubicBezTo>
                  <a:cubicBezTo>
                    <a:pt x="-8702" y="13679"/>
                    <a:pt x="-4691" y="-952"/>
                    <a:pt x="-630" y="-2825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72F3EC65-46BD-3F5B-92ED-1F59D3FE47C3}"/>
                </a:ext>
              </a:extLst>
            </p:cNvPr>
            <p:cNvSpPr/>
            <p:nvPr/>
          </p:nvSpPr>
          <p:spPr>
            <a:xfrm flipV="1">
              <a:off x="7015658" y="4021077"/>
              <a:ext cx="135726" cy="161938"/>
            </a:xfrm>
            <a:custGeom>
              <a:avLst/>
              <a:gdLst>
                <a:gd name="connsiteX0" fmla="*/ -8835 w 135726"/>
                <a:gd name="connsiteY0" fmla="*/ 147161 h 161938"/>
                <a:gd name="connsiteX1" fmla="*/ 10308 w 135726"/>
                <a:gd name="connsiteY1" fmla="*/ 12896 h 161938"/>
                <a:gd name="connsiteX2" fmla="*/ 9295 w 135726"/>
                <a:gd name="connsiteY2" fmla="*/ -1324 h 161938"/>
                <a:gd name="connsiteX3" fmla="*/ 17347 w 135726"/>
                <a:gd name="connsiteY3" fmla="*/ -3897 h 161938"/>
                <a:gd name="connsiteX4" fmla="*/ 112401 w 135726"/>
                <a:gd name="connsiteY4" fmla="*/ 2135 h 161938"/>
                <a:gd name="connsiteX5" fmla="*/ 125365 w 135726"/>
                <a:gd name="connsiteY5" fmla="*/ 8931 h 161938"/>
                <a:gd name="connsiteX6" fmla="*/ 124960 w 135726"/>
                <a:gd name="connsiteY6" fmla="*/ 23925 h 161938"/>
                <a:gd name="connsiteX7" fmla="*/ 48441 w 135726"/>
                <a:gd name="connsiteY7" fmla="*/ 157153 h 161938"/>
                <a:gd name="connsiteX8" fmla="*/ -8835 w 135726"/>
                <a:gd name="connsiteY8" fmla="*/ 147161 h 16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726" h="161938">
                  <a:moveTo>
                    <a:pt x="-8835" y="147161"/>
                  </a:moveTo>
                  <a:cubicBezTo>
                    <a:pt x="8080" y="100531"/>
                    <a:pt x="33249" y="57648"/>
                    <a:pt x="10308" y="12896"/>
                  </a:cubicBezTo>
                  <a:cubicBezTo>
                    <a:pt x="7928" y="8308"/>
                    <a:pt x="5598" y="2282"/>
                    <a:pt x="9295" y="-1324"/>
                  </a:cubicBezTo>
                  <a:cubicBezTo>
                    <a:pt x="11321" y="-3279"/>
                    <a:pt x="14460" y="-3664"/>
                    <a:pt x="17347" y="-3897"/>
                  </a:cubicBezTo>
                  <a:cubicBezTo>
                    <a:pt x="45808" y="-6191"/>
                    <a:pt x="84396" y="-3998"/>
                    <a:pt x="112401" y="2135"/>
                  </a:cubicBezTo>
                  <a:cubicBezTo>
                    <a:pt x="117313" y="3223"/>
                    <a:pt x="122731" y="4783"/>
                    <a:pt x="125365" y="8931"/>
                  </a:cubicBezTo>
                  <a:cubicBezTo>
                    <a:pt x="128150" y="13392"/>
                    <a:pt x="126580" y="19018"/>
                    <a:pt x="124960" y="23925"/>
                  </a:cubicBezTo>
                  <a:cubicBezTo>
                    <a:pt x="109058" y="71777"/>
                    <a:pt x="64393" y="109302"/>
                    <a:pt x="48441" y="157153"/>
                  </a:cubicBezTo>
                  <a:cubicBezTo>
                    <a:pt x="30311" y="154960"/>
                    <a:pt x="7624" y="154925"/>
                    <a:pt x="-8835" y="147161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4C46E23C-7D68-C577-D2FB-ACD1F2477BCB}"/>
                </a:ext>
              </a:extLst>
            </p:cNvPr>
            <p:cNvSpPr/>
            <p:nvPr/>
          </p:nvSpPr>
          <p:spPr>
            <a:xfrm flipV="1">
              <a:off x="6447209" y="3225062"/>
              <a:ext cx="665375" cy="897044"/>
            </a:xfrm>
            <a:custGeom>
              <a:avLst/>
              <a:gdLst>
                <a:gd name="connsiteX0" fmla="*/ 657061 w 665375"/>
                <a:gd name="connsiteY0" fmla="*/ 81910 h 897044"/>
                <a:gd name="connsiteX1" fmla="*/ 632855 w 665375"/>
                <a:gd name="connsiteY1" fmla="*/ 62777 h 897044"/>
                <a:gd name="connsiteX2" fmla="*/ 575832 w 665375"/>
                <a:gd name="connsiteY2" fmla="*/ 44805 h 897044"/>
                <a:gd name="connsiteX3" fmla="*/ 561349 w 665375"/>
                <a:gd name="connsiteY3" fmla="*/ 43478 h 897044"/>
                <a:gd name="connsiteX4" fmla="*/ 321992 w 665375"/>
                <a:gd name="connsiteY4" fmla="*/ 395537 h 897044"/>
                <a:gd name="connsiteX5" fmla="*/ 293932 w 665375"/>
                <a:gd name="connsiteY5" fmla="*/ 463234 h 897044"/>
                <a:gd name="connsiteX6" fmla="*/ 248811 w 665375"/>
                <a:gd name="connsiteY6" fmla="*/ 732068 h 897044"/>
                <a:gd name="connsiteX7" fmla="*/ 248132 w 665375"/>
                <a:gd name="connsiteY7" fmla="*/ 736013 h 897044"/>
                <a:gd name="connsiteX8" fmla="*/ 246648 w 665375"/>
                <a:gd name="connsiteY8" fmla="*/ 732311 h 897044"/>
                <a:gd name="connsiteX9" fmla="*/ 129480 w 665375"/>
                <a:gd name="connsiteY9" fmla="*/ 437878 h 897044"/>
                <a:gd name="connsiteX10" fmla="*/ 202555 w 665375"/>
                <a:gd name="connsiteY10" fmla="*/ 15823 h 897044"/>
                <a:gd name="connsiteX11" fmla="*/ 184633 w 665375"/>
                <a:gd name="connsiteY11" fmla="*/ 5335 h 897044"/>
                <a:gd name="connsiteX12" fmla="*/ 122886 w 665375"/>
                <a:gd name="connsiteY12" fmla="*/ -5350 h 897044"/>
                <a:gd name="connsiteX13" fmla="*/ 106058 w 665375"/>
                <a:gd name="connsiteY13" fmla="*/ -2834 h 897044"/>
                <a:gd name="connsiteX14" fmla="*/ -2634 w 665375"/>
                <a:gd name="connsiteY14" fmla="*/ 411524 h 897044"/>
                <a:gd name="connsiteX15" fmla="*/ 668 w 665375"/>
                <a:gd name="connsiteY15" fmla="*/ 497351 h 897044"/>
                <a:gd name="connsiteX16" fmla="*/ 137506 w 665375"/>
                <a:gd name="connsiteY16" fmla="*/ 842193 h 897044"/>
                <a:gd name="connsiteX17" fmla="*/ 153919 w 665375"/>
                <a:gd name="connsiteY17" fmla="*/ 857532 h 897044"/>
                <a:gd name="connsiteX18" fmla="*/ 199537 w 665375"/>
                <a:gd name="connsiteY18" fmla="*/ 853238 h 897044"/>
                <a:gd name="connsiteX19" fmla="*/ 201162 w 665375"/>
                <a:gd name="connsiteY19" fmla="*/ 856241 h 897044"/>
                <a:gd name="connsiteX20" fmla="*/ 206520 w 665375"/>
                <a:gd name="connsiteY20" fmla="*/ 858408 h 897044"/>
                <a:gd name="connsiteX21" fmla="*/ 232606 w 665375"/>
                <a:gd name="connsiteY21" fmla="*/ 858312 h 897044"/>
                <a:gd name="connsiteX22" fmla="*/ 239092 w 665375"/>
                <a:gd name="connsiteY22" fmla="*/ 854737 h 897044"/>
                <a:gd name="connsiteX23" fmla="*/ 343940 w 665375"/>
                <a:gd name="connsiteY23" fmla="*/ 889770 h 897044"/>
                <a:gd name="connsiteX24" fmla="*/ 379820 w 665375"/>
                <a:gd name="connsiteY24" fmla="*/ 891300 h 897044"/>
                <a:gd name="connsiteX25" fmla="*/ 433429 w 665375"/>
                <a:gd name="connsiteY25" fmla="*/ 455293 h 897044"/>
                <a:gd name="connsiteX26" fmla="*/ 657061 w 665375"/>
                <a:gd name="connsiteY26" fmla="*/ 81910 h 89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65375" h="897044">
                  <a:moveTo>
                    <a:pt x="657061" y="81910"/>
                  </a:moveTo>
                  <a:cubicBezTo>
                    <a:pt x="650022" y="74004"/>
                    <a:pt x="641666" y="67755"/>
                    <a:pt x="632855" y="62777"/>
                  </a:cubicBezTo>
                  <a:cubicBezTo>
                    <a:pt x="612648" y="51423"/>
                    <a:pt x="590113" y="46704"/>
                    <a:pt x="575832" y="44805"/>
                  </a:cubicBezTo>
                  <a:cubicBezTo>
                    <a:pt x="567021" y="43609"/>
                    <a:pt x="561349" y="43478"/>
                    <a:pt x="561349" y="43478"/>
                  </a:cubicBezTo>
                  <a:lnTo>
                    <a:pt x="321992" y="395537"/>
                  </a:lnTo>
                  <a:cubicBezTo>
                    <a:pt x="306805" y="415216"/>
                    <a:pt x="297128" y="438566"/>
                    <a:pt x="293932" y="463234"/>
                  </a:cubicBezTo>
                  <a:lnTo>
                    <a:pt x="248811" y="732068"/>
                  </a:lnTo>
                  <a:lnTo>
                    <a:pt x="248132" y="736013"/>
                  </a:lnTo>
                  <a:lnTo>
                    <a:pt x="246648" y="732311"/>
                  </a:lnTo>
                  <a:lnTo>
                    <a:pt x="129480" y="437878"/>
                  </a:lnTo>
                  <a:lnTo>
                    <a:pt x="202555" y="15823"/>
                  </a:lnTo>
                  <a:cubicBezTo>
                    <a:pt x="196660" y="11554"/>
                    <a:pt x="190629" y="8095"/>
                    <a:pt x="184633" y="5335"/>
                  </a:cubicBezTo>
                  <a:cubicBezTo>
                    <a:pt x="161135" y="-5685"/>
                    <a:pt x="137931" y="-6515"/>
                    <a:pt x="122886" y="-5350"/>
                  </a:cubicBezTo>
                  <a:cubicBezTo>
                    <a:pt x="112504" y="-4601"/>
                    <a:pt x="106058" y="-2834"/>
                    <a:pt x="106058" y="-2834"/>
                  </a:cubicBezTo>
                  <a:lnTo>
                    <a:pt x="-2634" y="411524"/>
                  </a:lnTo>
                  <a:cubicBezTo>
                    <a:pt x="-11212" y="439736"/>
                    <a:pt x="-10048" y="469974"/>
                    <a:pt x="668" y="497351"/>
                  </a:cubicBezTo>
                  <a:lnTo>
                    <a:pt x="137506" y="842193"/>
                  </a:lnTo>
                  <a:cubicBezTo>
                    <a:pt x="139704" y="847951"/>
                    <a:pt x="145462" y="853086"/>
                    <a:pt x="153919" y="857532"/>
                  </a:cubicBezTo>
                  <a:cubicBezTo>
                    <a:pt x="165369" y="855648"/>
                    <a:pt x="181134" y="853684"/>
                    <a:pt x="199537" y="853238"/>
                  </a:cubicBezTo>
                  <a:cubicBezTo>
                    <a:pt x="199805" y="854347"/>
                    <a:pt x="200367" y="855410"/>
                    <a:pt x="201162" y="856241"/>
                  </a:cubicBezTo>
                  <a:cubicBezTo>
                    <a:pt x="202580" y="857730"/>
                    <a:pt x="204484" y="858535"/>
                    <a:pt x="206520" y="858408"/>
                  </a:cubicBezTo>
                  <a:cubicBezTo>
                    <a:pt x="212699" y="858140"/>
                    <a:pt x="224290" y="857826"/>
                    <a:pt x="232606" y="858312"/>
                  </a:cubicBezTo>
                  <a:cubicBezTo>
                    <a:pt x="235396" y="858434"/>
                    <a:pt x="237817" y="856975"/>
                    <a:pt x="239092" y="854737"/>
                  </a:cubicBezTo>
                  <a:cubicBezTo>
                    <a:pt x="272430" y="858130"/>
                    <a:pt x="309520" y="867838"/>
                    <a:pt x="343940" y="889770"/>
                  </a:cubicBezTo>
                  <a:cubicBezTo>
                    <a:pt x="365569" y="890971"/>
                    <a:pt x="379820" y="891300"/>
                    <a:pt x="379820" y="891300"/>
                  </a:cubicBezTo>
                  <a:cubicBezTo>
                    <a:pt x="451331" y="827704"/>
                    <a:pt x="433429" y="455293"/>
                    <a:pt x="433429" y="455293"/>
                  </a:cubicBezTo>
                  <a:lnTo>
                    <a:pt x="657061" y="81910"/>
                  </a:ln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6F512936-6BCB-258B-0DBE-857EC56E148C}"/>
                </a:ext>
              </a:extLst>
            </p:cNvPr>
            <p:cNvSpPr/>
            <p:nvPr/>
          </p:nvSpPr>
          <p:spPr>
            <a:xfrm flipV="1">
              <a:off x="6589430" y="3201746"/>
              <a:ext cx="245914" cy="83113"/>
            </a:xfrm>
            <a:custGeom>
              <a:avLst/>
              <a:gdLst>
                <a:gd name="connsiteX0" fmla="*/ 237715 w 245914"/>
                <a:gd name="connsiteY0" fmla="*/ 53091 h 83113"/>
                <a:gd name="connsiteX1" fmla="*/ 99252 w 245914"/>
                <a:gd name="connsiteY1" fmla="*/ -5891 h 83113"/>
                <a:gd name="connsiteX2" fmla="*/ 59209 w 245914"/>
                <a:gd name="connsiteY2" fmla="*/ -6180 h 83113"/>
                <a:gd name="connsiteX3" fmla="*/ -4599 w 245914"/>
                <a:gd name="connsiteY3" fmla="*/ 3984 h 83113"/>
                <a:gd name="connsiteX4" fmla="*/ -4655 w 245914"/>
                <a:gd name="connsiteY4" fmla="*/ 3979 h 83113"/>
                <a:gd name="connsiteX5" fmla="*/ -8199 w 245914"/>
                <a:gd name="connsiteY5" fmla="*/ 23517 h 83113"/>
                <a:gd name="connsiteX6" fmla="*/ -8199 w 245914"/>
                <a:gd name="connsiteY6" fmla="*/ 23577 h 83113"/>
                <a:gd name="connsiteX7" fmla="*/ 11814 w 245914"/>
                <a:gd name="connsiteY7" fmla="*/ 19323 h 83113"/>
                <a:gd name="connsiteX8" fmla="*/ 57432 w 245914"/>
                <a:gd name="connsiteY8" fmla="*/ 15029 h 83113"/>
                <a:gd name="connsiteX9" fmla="*/ 96988 w 245914"/>
                <a:gd name="connsiteY9" fmla="*/ 16528 h 83113"/>
                <a:gd name="connsiteX10" fmla="*/ 201835 w 245914"/>
                <a:gd name="connsiteY10" fmla="*/ 51562 h 83113"/>
                <a:gd name="connsiteX11" fmla="*/ 233800 w 245914"/>
                <a:gd name="connsiteY11" fmla="*/ 76406 h 83113"/>
                <a:gd name="connsiteX12" fmla="*/ 237715 w 245914"/>
                <a:gd name="connsiteY12" fmla="*/ 53091 h 83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5914" h="83113">
                  <a:moveTo>
                    <a:pt x="237715" y="53091"/>
                  </a:moveTo>
                  <a:cubicBezTo>
                    <a:pt x="196179" y="11783"/>
                    <a:pt x="144353" y="-2690"/>
                    <a:pt x="99252" y="-5891"/>
                  </a:cubicBezTo>
                  <a:cubicBezTo>
                    <a:pt x="85072" y="-6975"/>
                    <a:pt x="71510" y="-6884"/>
                    <a:pt x="59209" y="-6180"/>
                  </a:cubicBezTo>
                  <a:cubicBezTo>
                    <a:pt x="22778" y="-4053"/>
                    <a:pt x="-3135" y="3493"/>
                    <a:pt x="-4599" y="3984"/>
                  </a:cubicBezTo>
                  <a:lnTo>
                    <a:pt x="-4655" y="3979"/>
                  </a:lnTo>
                  <a:cubicBezTo>
                    <a:pt x="-5738" y="10537"/>
                    <a:pt x="-6938" y="17085"/>
                    <a:pt x="-8199" y="23517"/>
                  </a:cubicBezTo>
                  <a:lnTo>
                    <a:pt x="-8199" y="23577"/>
                  </a:lnTo>
                  <a:cubicBezTo>
                    <a:pt x="-8199" y="23577"/>
                    <a:pt x="-816" y="21481"/>
                    <a:pt x="11814" y="19323"/>
                  </a:cubicBezTo>
                  <a:cubicBezTo>
                    <a:pt x="23264" y="17440"/>
                    <a:pt x="39029" y="15475"/>
                    <a:pt x="57432" y="15029"/>
                  </a:cubicBezTo>
                  <a:cubicBezTo>
                    <a:pt x="69611" y="14669"/>
                    <a:pt x="82991" y="15039"/>
                    <a:pt x="96988" y="16528"/>
                  </a:cubicBezTo>
                  <a:cubicBezTo>
                    <a:pt x="130325" y="19921"/>
                    <a:pt x="167415" y="29629"/>
                    <a:pt x="201835" y="51562"/>
                  </a:cubicBezTo>
                  <a:cubicBezTo>
                    <a:pt x="212850" y="58515"/>
                    <a:pt x="223545" y="66739"/>
                    <a:pt x="233800" y="76406"/>
                  </a:cubicBezTo>
                  <a:lnTo>
                    <a:pt x="237715" y="53091"/>
                  </a:ln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13D2E733-4AAE-8B44-5B10-DCE56F689627}"/>
                </a:ext>
              </a:extLst>
            </p:cNvPr>
            <p:cNvSpPr/>
            <p:nvPr/>
          </p:nvSpPr>
          <p:spPr>
            <a:xfrm flipV="1">
              <a:off x="6647978" y="3257940"/>
              <a:ext cx="49022" cy="32819"/>
            </a:xfrm>
            <a:custGeom>
              <a:avLst/>
              <a:gdLst>
                <a:gd name="connsiteX0" fmla="*/ 10513 w 49022"/>
                <a:gd name="connsiteY0" fmla="*/ 12181 h 32819"/>
                <a:gd name="connsiteX1" fmla="*/ 5449 w 49022"/>
                <a:gd name="connsiteY1" fmla="*/ 12125 h 32819"/>
                <a:gd name="connsiteX2" fmla="*/ 4704 w 49022"/>
                <a:gd name="connsiteY2" fmla="*/ 19149 h 32819"/>
                <a:gd name="connsiteX3" fmla="*/ 4978 w 49022"/>
                <a:gd name="connsiteY3" fmla="*/ 19914 h 32819"/>
                <a:gd name="connsiteX4" fmla="*/ 5490 w 49022"/>
                <a:gd name="connsiteY4" fmla="*/ 20218 h 32819"/>
                <a:gd name="connsiteX5" fmla="*/ 5672 w 49022"/>
                <a:gd name="connsiteY5" fmla="*/ 20223 h 32819"/>
                <a:gd name="connsiteX6" fmla="*/ 32395 w 49022"/>
                <a:gd name="connsiteY6" fmla="*/ 20086 h 32819"/>
                <a:gd name="connsiteX7" fmla="*/ 33403 w 49022"/>
                <a:gd name="connsiteY7" fmla="*/ 19235 h 32819"/>
                <a:gd name="connsiteX8" fmla="*/ 34867 w 49022"/>
                <a:gd name="connsiteY8" fmla="*/ 1106 h 32819"/>
                <a:gd name="connsiteX9" fmla="*/ 34076 w 49022"/>
                <a:gd name="connsiteY9" fmla="*/ 98 h 32819"/>
                <a:gd name="connsiteX10" fmla="*/ 7303 w 49022"/>
                <a:gd name="connsiteY10" fmla="*/ 58 h 32819"/>
                <a:gd name="connsiteX11" fmla="*/ 6583 w 49022"/>
                <a:gd name="connsiteY11" fmla="*/ 913 h 32819"/>
                <a:gd name="connsiteX12" fmla="*/ 6056 w 49022"/>
                <a:gd name="connsiteY12" fmla="*/ 6145 h 32819"/>
                <a:gd name="connsiteX13" fmla="*/ 10943 w 49022"/>
                <a:gd name="connsiteY13" fmla="*/ 6195 h 32819"/>
                <a:gd name="connsiteX14" fmla="*/ 11060 w 49022"/>
                <a:gd name="connsiteY14" fmla="*/ 6200 h 32819"/>
                <a:gd name="connsiteX15" fmla="*/ 13719 w 49022"/>
                <a:gd name="connsiteY15" fmla="*/ 9345 h 32819"/>
                <a:gd name="connsiteX16" fmla="*/ 10513 w 49022"/>
                <a:gd name="connsiteY16" fmla="*/ 12181 h 32819"/>
                <a:gd name="connsiteX17" fmla="*/ 39328 w 49022"/>
                <a:gd name="connsiteY17" fmla="*/ 19721 h 32819"/>
                <a:gd name="connsiteX18" fmla="*/ 38507 w 49022"/>
                <a:gd name="connsiteY18" fmla="*/ 22497 h 32819"/>
                <a:gd name="connsiteX19" fmla="*/ 32020 w 49022"/>
                <a:gd name="connsiteY19" fmla="*/ 26072 h 32819"/>
                <a:gd name="connsiteX20" fmla="*/ 5935 w 49022"/>
                <a:gd name="connsiteY20" fmla="*/ 26168 h 32819"/>
                <a:gd name="connsiteX21" fmla="*/ 577 w 49022"/>
                <a:gd name="connsiteY21" fmla="*/ 24001 h 32819"/>
                <a:gd name="connsiteX22" fmla="*/ -1048 w 49022"/>
                <a:gd name="connsiteY22" fmla="*/ 20998 h 32819"/>
                <a:gd name="connsiteX23" fmla="*/ -1276 w 49022"/>
                <a:gd name="connsiteY23" fmla="*/ 18491 h 32819"/>
                <a:gd name="connsiteX24" fmla="*/ -623 w 49022"/>
                <a:gd name="connsiteY24" fmla="*/ 12738 h 32819"/>
                <a:gd name="connsiteX25" fmla="*/ -4193 w 49022"/>
                <a:gd name="connsiteY25" fmla="*/ 13589 h 32819"/>
                <a:gd name="connsiteX26" fmla="*/ -7991 w 49022"/>
                <a:gd name="connsiteY26" fmla="*/ 11695 h 32819"/>
                <a:gd name="connsiteX27" fmla="*/ -6098 w 49022"/>
                <a:gd name="connsiteY27" fmla="*/ 7897 h 32819"/>
                <a:gd name="connsiteX28" fmla="*/ -10 w 49022"/>
                <a:gd name="connsiteY28" fmla="*/ 6585 h 32819"/>
                <a:gd name="connsiteX29" fmla="*/ 658 w 49022"/>
                <a:gd name="connsiteY29" fmla="*/ 311 h 32819"/>
                <a:gd name="connsiteX30" fmla="*/ 729 w 49022"/>
                <a:gd name="connsiteY30" fmla="*/ -211 h 32819"/>
                <a:gd name="connsiteX31" fmla="*/ 6447 w 49022"/>
                <a:gd name="connsiteY31" fmla="*/ -5842 h 32819"/>
                <a:gd name="connsiteX32" fmla="*/ 34623 w 49022"/>
                <a:gd name="connsiteY32" fmla="*/ -5883 h 32819"/>
                <a:gd name="connsiteX33" fmla="*/ 34684 w 49022"/>
                <a:gd name="connsiteY33" fmla="*/ -5883 h 32819"/>
                <a:gd name="connsiteX34" fmla="*/ 40771 w 49022"/>
                <a:gd name="connsiteY34" fmla="*/ 78 h 32819"/>
                <a:gd name="connsiteX35" fmla="*/ 40857 w 49022"/>
                <a:gd name="connsiteY35" fmla="*/ 1597 h 32819"/>
                <a:gd name="connsiteX36" fmla="*/ 39328 w 49022"/>
                <a:gd name="connsiteY36" fmla="*/ 19721 h 3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022" h="32819">
                  <a:moveTo>
                    <a:pt x="10513" y="12181"/>
                  </a:moveTo>
                  <a:cubicBezTo>
                    <a:pt x="10513" y="12181"/>
                    <a:pt x="8300" y="12014"/>
                    <a:pt x="5449" y="12125"/>
                  </a:cubicBezTo>
                  <a:lnTo>
                    <a:pt x="4704" y="19149"/>
                  </a:lnTo>
                  <a:lnTo>
                    <a:pt x="4978" y="19914"/>
                  </a:lnTo>
                  <a:lnTo>
                    <a:pt x="5490" y="20218"/>
                  </a:lnTo>
                  <a:lnTo>
                    <a:pt x="5672" y="20223"/>
                  </a:lnTo>
                  <a:cubicBezTo>
                    <a:pt x="11961" y="19960"/>
                    <a:pt x="23791" y="19595"/>
                    <a:pt x="32395" y="20086"/>
                  </a:cubicBezTo>
                  <a:cubicBezTo>
                    <a:pt x="32912" y="20096"/>
                    <a:pt x="33332" y="19757"/>
                    <a:pt x="33403" y="19235"/>
                  </a:cubicBezTo>
                  <a:lnTo>
                    <a:pt x="34867" y="1106"/>
                  </a:lnTo>
                  <a:cubicBezTo>
                    <a:pt x="34942" y="584"/>
                    <a:pt x="34664" y="-3"/>
                    <a:pt x="34076" y="98"/>
                  </a:cubicBezTo>
                  <a:cubicBezTo>
                    <a:pt x="28040" y="-505"/>
                    <a:pt x="16590" y="-1239"/>
                    <a:pt x="7303" y="58"/>
                  </a:cubicBezTo>
                  <a:lnTo>
                    <a:pt x="6583" y="913"/>
                  </a:lnTo>
                  <a:lnTo>
                    <a:pt x="6056" y="6145"/>
                  </a:lnTo>
                  <a:cubicBezTo>
                    <a:pt x="8730" y="6089"/>
                    <a:pt x="10711" y="6190"/>
                    <a:pt x="10943" y="6195"/>
                  </a:cubicBezTo>
                  <a:lnTo>
                    <a:pt x="11060" y="6200"/>
                  </a:lnTo>
                  <a:cubicBezTo>
                    <a:pt x="12630" y="6352"/>
                    <a:pt x="13815" y="7775"/>
                    <a:pt x="13719" y="9345"/>
                  </a:cubicBezTo>
                  <a:cubicBezTo>
                    <a:pt x="13622" y="11032"/>
                    <a:pt x="12200" y="12282"/>
                    <a:pt x="10513" y="12181"/>
                  </a:cubicBezTo>
                  <a:close/>
                  <a:moveTo>
                    <a:pt x="39328" y="19721"/>
                  </a:moveTo>
                  <a:cubicBezTo>
                    <a:pt x="39247" y="20709"/>
                    <a:pt x="38933" y="21691"/>
                    <a:pt x="38507" y="22497"/>
                  </a:cubicBezTo>
                  <a:cubicBezTo>
                    <a:pt x="37231" y="24735"/>
                    <a:pt x="34811" y="26194"/>
                    <a:pt x="32020" y="26072"/>
                  </a:cubicBezTo>
                  <a:cubicBezTo>
                    <a:pt x="23705" y="25586"/>
                    <a:pt x="12114" y="25900"/>
                    <a:pt x="5935" y="26168"/>
                  </a:cubicBezTo>
                  <a:cubicBezTo>
                    <a:pt x="3899" y="26295"/>
                    <a:pt x="1995" y="25490"/>
                    <a:pt x="577" y="24001"/>
                  </a:cubicBezTo>
                  <a:cubicBezTo>
                    <a:pt x="-218" y="23170"/>
                    <a:pt x="-780" y="22107"/>
                    <a:pt x="-1048" y="20998"/>
                  </a:cubicBezTo>
                  <a:cubicBezTo>
                    <a:pt x="-1261" y="20177"/>
                    <a:pt x="-1357" y="19357"/>
                    <a:pt x="-1276" y="18491"/>
                  </a:cubicBezTo>
                  <a:lnTo>
                    <a:pt x="-623" y="12738"/>
                  </a:lnTo>
                  <a:cubicBezTo>
                    <a:pt x="-1848" y="12946"/>
                    <a:pt x="-3074" y="13209"/>
                    <a:pt x="-4193" y="13589"/>
                  </a:cubicBezTo>
                  <a:cubicBezTo>
                    <a:pt x="-5712" y="14136"/>
                    <a:pt x="-7444" y="13280"/>
                    <a:pt x="-7991" y="11695"/>
                  </a:cubicBezTo>
                  <a:cubicBezTo>
                    <a:pt x="-8472" y="10115"/>
                    <a:pt x="-7683" y="8444"/>
                    <a:pt x="-6098" y="7897"/>
                  </a:cubicBezTo>
                  <a:cubicBezTo>
                    <a:pt x="-4218" y="7244"/>
                    <a:pt x="-2056" y="6884"/>
                    <a:pt x="-10" y="6585"/>
                  </a:cubicBezTo>
                  <a:lnTo>
                    <a:pt x="658" y="311"/>
                  </a:lnTo>
                  <a:lnTo>
                    <a:pt x="729" y="-211"/>
                  </a:lnTo>
                  <a:cubicBezTo>
                    <a:pt x="1261" y="-3168"/>
                    <a:pt x="3585" y="-5442"/>
                    <a:pt x="6447" y="-5842"/>
                  </a:cubicBezTo>
                  <a:cubicBezTo>
                    <a:pt x="16378" y="-7240"/>
                    <a:pt x="28349" y="-6496"/>
                    <a:pt x="34623" y="-5883"/>
                  </a:cubicBezTo>
                  <a:lnTo>
                    <a:pt x="34684" y="-5883"/>
                  </a:lnTo>
                  <a:cubicBezTo>
                    <a:pt x="37880" y="-5579"/>
                    <a:pt x="40381" y="-3016"/>
                    <a:pt x="40771" y="78"/>
                  </a:cubicBezTo>
                  <a:cubicBezTo>
                    <a:pt x="40883" y="549"/>
                    <a:pt x="40928" y="1070"/>
                    <a:pt x="40857" y="1597"/>
                  </a:cubicBezTo>
                  <a:lnTo>
                    <a:pt x="39328" y="19721"/>
                  </a:lnTo>
                </a:path>
              </a:pathLst>
            </a:custGeom>
            <a:solidFill>
              <a:srgbClr val="FFFFFF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35B5E6FB-AE09-A2C1-420A-72F563B9F25B}"/>
                </a:ext>
              </a:extLst>
            </p:cNvPr>
            <p:cNvSpPr/>
            <p:nvPr/>
          </p:nvSpPr>
          <p:spPr>
            <a:xfrm flipV="1">
              <a:off x="6122721" y="2870208"/>
              <a:ext cx="518084" cy="481797"/>
            </a:xfrm>
            <a:custGeom>
              <a:avLst/>
              <a:gdLst>
                <a:gd name="connsiteX0" fmla="*/ 510451 w 518084"/>
                <a:gd name="connsiteY0" fmla="*/ -3352 h 481797"/>
                <a:gd name="connsiteX1" fmla="*/ 439973 w 518084"/>
                <a:gd name="connsiteY1" fmla="*/ 12747 h 481797"/>
                <a:gd name="connsiteX2" fmla="*/ 387650 w 518084"/>
                <a:gd name="connsiteY2" fmla="*/ 293827 h 481797"/>
                <a:gd name="connsiteX3" fmla="*/ 275080 w 518084"/>
                <a:gd name="connsiteY3" fmla="*/ 155753 h 481797"/>
                <a:gd name="connsiteX4" fmla="*/ 229255 w 518084"/>
                <a:gd name="connsiteY4" fmla="*/ 125657 h 481797"/>
                <a:gd name="connsiteX5" fmla="*/ 18759 w 518084"/>
                <a:gd name="connsiteY5" fmla="*/ 21999 h 481797"/>
                <a:gd name="connsiteX6" fmla="*/ -6618 w 518084"/>
                <a:gd name="connsiteY6" fmla="*/ 74555 h 481797"/>
                <a:gd name="connsiteX7" fmla="*/ 208153 w 518084"/>
                <a:gd name="connsiteY7" fmla="*/ 212613 h 481797"/>
                <a:gd name="connsiteX8" fmla="*/ 327119 w 518084"/>
                <a:gd name="connsiteY8" fmla="*/ 395616 h 481797"/>
                <a:gd name="connsiteX9" fmla="*/ 361120 w 518084"/>
                <a:gd name="connsiteY9" fmla="*/ 433658 h 481797"/>
                <a:gd name="connsiteX10" fmla="*/ 389469 w 518084"/>
                <a:gd name="connsiteY10" fmla="*/ 461125 h 481797"/>
                <a:gd name="connsiteX11" fmla="*/ 405775 w 518084"/>
                <a:gd name="connsiteY11" fmla="*/ 474794 h 481797"/>
                <a:gd name="connsiteX12" fmla="*/ 490316 w 518084"/>
                <a:gd name="connsiteY12" fmla="*/ 64741 h 481797"/>
                <a:gd name="connsiteX13" fmla="*/ 510451 w 518084"/>
                <a:gd name="connsiteY13" fmla="*/ -3352 h 48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8084" h="481797">
                  <a:moveTo>
                    <a:pt x="510451" y="-3352"/>
                  </a:moveTo>
                  <a:cubicBezTo>
                    <a:pt x="510451" y="-3352"/>
                    <a:pt x="482396" y="-18448"/>
                    <a:pt x="439973" y="12747"/>
                  </a:cubicBezTo>
                  <a:cubicBezTo>
                    <a:pt x="439973" y="12747"/>
                    <a:pt x="430609" y="193461"/>
                    <a:pt x="387650" y="293827"/>
                  </a:cubicBezTo>
                  <a:lnTo>
                    <a:pt x="275080" y="155753"/>
                  </a:lnTo>
                  <a:cubicBezTo>
                    <a:pt x="261802" y="142987"/>
                    <a:pt x="246290" y="132767"/>
                    <a:pt x="229255" y="125657"/>
                  </a:cubicBezTo>
                  <a:lnTo>
                    <a:pt x="18759" y="21999"/>
                  </a:lnTo>
                  <a:cubicBezTo>
                    <a:pt x="-15414" y="37298"/>
                    <a:pt x="-6618" y="74555"/>
                    <a:pt x="-6618" y="74555"/>
                  </a:cubicBezTo>
                  <a:lnTo>
                    <a:pt x="208153" y="212613"/>
                  </a:lnTo>
                  <a:lnTo>
                    <a:pt x="327119" y="395616"/>
                  </a:lnTo>
                  <a:cubicBezTo>
                    <a:pt x="337531" y="409097"/>
                    <a:pt x="348884" y="421828"/>
                    <a:pt x="361120" y="433658"/>
                  </a:cubicBezTo>
                  <a:lnTo>
                    <a:pt x="389469" y="461125"/>
                  </a:lnTo>
                  <a:lnTo>
                    <a:pt x="405775" y="474794"/>
                  </a:lnTo>
                  <a:cubicBezTo>
                    <a:pt x="407158" y="463227"/>
                    <a:pt x="429136" y="282032"/>
                    <a:pt x="490316" y="64741"/>
                  </a:cubicBezTo>
                  <a:cubicBezTo>
                    <a:pt x="496590" y="42367"/>
                    <a:pt x="503300" y="19624"/>
                    <a:pt x="510451" y="-3352"/>
                  </a:cubicBezTo>
                </a:path>
              </a:pathLst>
            </a:custGeom>
            <a:solidFill>
              <a:srgbClr val="4DA5C3">
                <a:lumMod val="60000"/>
                <a:lumOff val="4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54F200DB-82FC-AD55-43A3-EF8A733D51EC}"/>
                </a:ext>
              </a:extLst>
            </p:cNvPr>
            <p:cNvSpPr/>
            <p:nvPr/>
          </p:nvSpPr>
          <p:spPr>
            <a:xfrm flipV="1">
              <a:off x="6496918" y="2978975"/>
              <a:ext cx="25114" cy="76363"/>
            </a:xfrm>
            <a:custGeom>
              <a:avLst/>
              <a:gdLst>
                <a:gd name="connsiteX0" fmla="*/ 13341 w 25114"/>
                <a:gd name="connsiteY0" fmla="*/ -7213 h 76363"/>
                <a:gd name="connsiteX1" fmla="*/ 9554 w 25114"/>
                <a:gd name="connsiteY1" fmla="*/ -4746 h 76363"/>
                <a:gd name="connsiteX2" fmla="*/ -7826 w 25114"/>
                <a:gd name="connsiteY2" fmla="*/ 64678 h 76363"/>
                <a:gd name="connsiteX3" fmla="*/ -4302 w 25114"/>
                <a:gd name="connsiteY3" fmla="*/ 69124 h 76363"/>
                <a:gd name="connsiteX4" fmla="*/ 140 w 25114"/>
                <a:gd name="connsiteY4" fmla="*/ 65594 h 76363"/>
                <a:gd name="connsiteX5" fmla="*/ 16947 w 25114"/>
                <a:gd name="connsiteY5" fmla="*/ -1663 h 76363"/>
                <a:gd name="connsiteX6" fmla="*/ 14800 w 25114"/>
                <a:gd name="connsiteY6" fmla="*/ -6904 h 76363"/>
                <a:gd name="connsiteX7" fmla="*/ 13341 w 25114"/>
                <a:gd name="connsiteY7" fmla="*/ -7213 h 7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14" h="76363">
                  <a:moveTo>
                    <a:pt x="13341" y="-7213"/>
                  </a:moveTo>
                  <a:cubicBezTo>
                    <a:pt x="11742" y="-7248"/>
                    <a:pt x="10207" y="-6321"/>
                    <a:pt x="9554" y="-4746"/>
                  </a:cubicBezTo>
                  <a:cubicBezTo>
                    <a:pt x="9027" y="-3480"/>
                    <a:pt x="-3491" y="26808"/>
                    <a:pt x="-7826" y="64678"/>
                  </a:cubicBezTo>
                  <a:cubicBezTo>
                    <a:pt x="-8075" y="66881"/>
                    <a:pt x="-6500" y="68866"/>
                    <a:pt x="-4302" y="69124"/>
                  </a:cubicBezTo>
                  <a:cubicBezTo>
                    <a:pt x="-2064" y="69372"/>
                    <a:pt x="-109" y="67787"/>
                    <a:pt x="140" y="65594"/>
                  </a:cubicBezTo>
                  <a:cubicBezTo>
                    <a:pt x="4343" y="28900"/>
                    <a:pt x="16831" y="-1364"/>
                    <a:pt x="16947" y="-1663"/>
                  </a:cubicBezTo>
                  <a:cubicBezTo>
                    <a:pt x="17808" y="-3703"/>
                    <a:pt x="16841" y="-6053"/>
                    <a:pt x="14800" y="-6904"/>
                  </a:cubicBezTo>
                  <a:cubicBezTo>
                    <a:pt x="14319" y="-7101"/>
                    <a:pt x="13833" y="-7203"/>
                    <a:pt x="13341" y="-7213"/>
                  </a:cubicBez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BB338C71-9B20-5C22-A23E-E476BAD95088}"/>
                </a:ext>
              </a:extLst>
            </p:cNvPr>
            <p:cNvSpPr/>
            <p:nvPr/>
          </p:nvSpPr>
          <p:spPr>
            <a:xfrm flipV="1">
              <a:off x="6613257" y="2731714"/>
              <a:ext cx="601365" cy="604687"/>
            </a:xfrm>
            <a:custGeom>
              <a:avLst/>
              <a:gdLst>
                <a:gd name="connsiteX0" fmla="*/ 592522 w 601365"/>
                <a:gd name="connsiteY0" fmla="*/ 532245 h 604687"/>
                <a:gd name="connsiteX1" fmla="*/ 391122 w 601365"/>
                <a:gd name="connsiteY1" fmla="*/ 364516 h 604687"/>
                <a:gd name="connsiteX2" fmla="*/ 338571 w 601365"/>
                <a:gd name="connsiteY2" fmla="*/ 350737 h 604687"/>
                <a:gd name="connsiteX3" fmla="*/ 167201 w 601365"/>
                <a:gd name="connsiteY3" fmla="*/ 379855 h 604687"/>
                <a:gd name="connsiteX4" fmla="*/ 249594 w 601365"/>
                <a:gd name="connsiteY4" fmla="*/ 43764 h 604687"/>
                <a:gd name="connsiteX5" fmla="*/ 136421 w 601365"/>
                <a:gd name="connsiteY5" fmla="*/ -7176 h 604687"/>
                <a:gd name="connsiteX6" fmla="*/ 136370 w 601365"/>
                <a:gd name="connsiteY6" fmla="*/ -7080 h 604687"/>
                <a:gd name="connsiteX7" fmla="*/ -8544 w 601365"/>
                <a:gd name="connsiteY7" fmla="*/ 514531 h 604687"/>
                <a:gd name="connsiteX8" fmla="*/ 92054 w 601365"/>
                <a:gd name="connsiteY8" fmla="*/ 522228 h 604687"/>
                <a:gd name="connsiteX9" fmla="*/ 182399 w 601365"/>
                <a:gd name="connsiteY9" fmla="*/ 509877 h 604687"/>
                <a:gd name="connsiteX10" fmla="*/ 352928 w 601365"/>
                <a:gd name="connsiteY10" fmla="*/ 447983 h 604687"/>
                <a:gd name="connsiteX11" fmla="*/ 569278 w 601365"/>
                <a:gd name="connsiteY11" fmla="*/ 597512 h 604687"/>
                <a:gd name="connsiteX12" fmla="*/ 592522 w 601365"/>
                <a:gd name="connsiteY12" fmla="*/ 532245 h 60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1365" h="604687">
                  <a:moveTo>
                    <a:pt x="592522" y="532245"/>
                  </a:moveTo>
                  <a:lnTo>
                    <a:pt x="391122" y="364516"/>
                  </a:lnTo>
                  <a:cubicBezTo>
                    <a:pt x="376030" y="353198"/>
                    <a:pt x="357222" y="348271"/>
                    <a:pt x="338571" y="350737"/>
                  </a:cubicBezTo>
                  <a:lnTo>
                    <a:pt x="167201" y="379855"/>
                  </a:lnTo>
                  <a:cubicBezTo>
                    <a:pt x="201733" y="188801"/>
                    <a:pt x="249594" y="43764"/>
                    <a:pt x="249594" y="43764"/>
                  </a:cubicBezTo>
                  <a:cubicBezTo>
                    <a:pt x="207142" y="-699"/>
                    <a:pt x="136421" y="-7176"/>
                    <a:pt x="136421" y="-7176"/>
                  </a:cubicBezTo>
                  <a:lnTo>
                    <a:pt x="136370" y="-7080"/>
                  </a:lnTo>
                  <a:cubicBezTo>
                    <a:pt x="133509" y="-572"/>
                    <a:pt x="-6266" y="337129"/>
                    <a:pt x="-8544" y="514531"/>
                  </a:cubicBezTo>
                  <a:lnTo>
                    <a:pt x="92054" y="522228"/>
                  </a:lnTo>
                  <a:cubicBezTo>
                    <a:pt x="122682" y="524583"/>
                    <a:pt x="153508" y="520370"/>
                    <a:pt x="182399" y="509877"/>
                  </a:cubicBezTo>
                  <a:lnTo>
                    <a:pt x="352928" y="447983"/>
                  </a:lnTo>
                  <a:lnTo>
                    <a:pt x="569278" y="597512"/>
                  </a:lnTo>
                  <a:cubicBezTo>
                    <a:pt x="569278" y="597512"/>
                    <a:pt x="595915" y="594119"/>
                    <a:pt x="592522" y="532245"/>
                  </a:cubicBezTo>
                </a:path>
              </a:pathLst>
            </a:custGeom>
            <a:solidFill>
              <a:srgbClr val="4DA5C3">
                <a:lumMod val="60000"/>
                <a:lumOff val="4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ECB0082E-AC07-4600-29F1-EC586A39A11D}"/>
                </a:ext>
              </a:extLst>
            </p:cNvPr>
            <p:cNvSpPr/>
            <p:nvPr/>
          </p:nvSpPr>
          <p:spPr>
            <a:xfrm flipV="1">
              <a:off x="6764988" y="3225513"/>
              <a:ext cx="80637" cy="29178"/>
            </a:xfrm>
            <a:custGeom>
              <a:avLst/>
              <a:gdLst>
                <a:gd name="connsiteX0" fmla="*/ 55906 w 80637"/>
                <a:gd name="connsiteY0" fmla="*/ -6690 h 29178"/>
                <a:gd name="connsiteX1" fmla="*/ -6940 w 80637"/>
                <a:gd name="connsiteY1" fmla="*/ 15395 h 29178"/>
                <a:gd name="connsiteX2" fmla="*/ -7406 w 80637"/>
                <a:gd name="connsiteY2" fmla="*/ 21046 h 29178"/>
                <a:gd name="connsiteX3" fmla="*/ -1760 w 80637"/>
                <a:gd name="connsiteY3" fmla="*/ 21512 h 29178"/>
                <a:gd name="connsiteX4" fmla="*/ 67599 w 80637"/>
                <a:gd name="connsiteY4" fmla="*/ 2456 h 29178"/>
                <a:gd name="connsiteX5" fmla="*/ 72222 w 80637"/>
                <a:gd name="connsiteY5" fmla="*/ -831 h 29178"/>
                <a:gd name="connsiteX6" fmla="*/ 68930 w 80637"/>
                <a:gd name="connsiteY6" fmla="*/ -5449 h 29178"/>
                <a:gd name="connsiteX7" fmla="*/ 55906 w 80637"/>
                <a:gd name="connsiteY7" fmla="*/ -6690 h 29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637" h="29178">
                  <a:moveTo>
                    <a:pt x="55906" y="-6690"/>
                  </a:moveTo>
                  <a:cubicBezTo>
                    <a:pt x="33203" y="-7217"/>
                    <a:pt x="10440" y="643"/>
                    <a:pt x="-6940" y="15395"/>
                  </a:cubicBezTo>
                  <a:cubicBezTo>
                    <a:pt x="-8632" y="16828"/>
                    <a:pt x="-8839" y="19360"/>
                    <a:pt x="-7406" y="21046"/>
                  </a:cubicBezTo>
                  <a:cubicBezTo>
                    <a:pt x="-5968" y="22748"/>
                    <a:pt x="-3441" y="22935"/>
                    <a:pt x="-1760" y="21512"/>
                  </a:cubicBezTo>
                  <a:cubicBezTo>
                    <a:pt x="17185" y="5434"/>
                    <a:pt x="43114" y="-1671"/>
                    <a:pt x="67599" y="2456"/>
                  </a:cubicBezTo>
                  <a:cubicBezTo>
                    <a:pt x="69746" y="2785"/>
                    <a:pt x="71848" y="1357"/>
                    <a:pt x="72222" y="-831"/>
                  </a:cubicBezTo>
                  <a:cubicBezTo>
                    <a:pt x="72592" y="-3008"/>
                    <a:pt x="71118" y="-5079"/>
                    <a:pt x="68930" y="-5449"/>
                  </a:cubicBezTo>
                  <a:cubicBezTo>
                    <a:pt x="64621" y="-6184"/>
                    <a:pt x="60266" y="-6589"/>
                    <a:pt x="55906" y="-6690"/>
                  </a:cubicBez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5632AE76-F682-F465-BBBD-C3535A37EF16}"/>
                </a:ext>
              </a:extLst>
            </p:cNvPr>
            <p:cNvSpPr/>
            <p:nvPr/>
          </p:nvSpPr>
          <p:spPr>
            <a:xfrm flipV="1">
              <a:off x="6624968" y="2831413"/>
              <a:ext cx="96793" cy="357906"/>
            </a:xfrm>
            <a:custGeom>
              <a:avLst/>
              <a:gdLst>
                <a:gd name="connsiteX0" fmla="*/ 84736 w 96793"/>
                <a:gd name="connsiteY0" fmla="*/ -7228 h 357906"/>
                <a:gd name="connsiteX1" fmla="*/ 80775 w 96793"/>
                <a:gd name="connsiteY1" fmla="*/ -4245 h 357906"/>
                <a:gd name="connsiteX2" fmla="*/ 53151 w 96793"/>
                <a:gd name="connsiteY2" fmla="*/ 242079 h 357906"/>
                <a:gd name="connsiteX3" fmla="*/ 33643 w 96793"/>
                <a:gd name="connsiteY3" fmla="*/ 250541 h 357906"/>
                <a:gd name="connsiteX4" fmla="*/ 11609 w 96793"/>
                <a:gd name="connsiteY4" fmla="*/ 260097 h 357906"/>
                <a:gd name="connsiteX5" fmla="*/ 7989 w 96793"/>
                <a:gd name="connsiteY5" fmla="*/ 261682 h 357906"/>
                <a:gd name="connsiteX6" fmla="*/ 34722 w 96793"/>
                <a:gd name="connsiteY6" fmla="*/ 325075 h 357906"/>
                <a:gd name="connsiteX7" fmla="*/ -5740 w 96793"/>
                <a:gd name="connsiteY7" fmla="*/ 342997 h 357906"/>
                <a:gd name="connsiteX8" fmla="*/ -7791 w 96793"/>
                <a:gd name="connsiteY8" fmla="*/ 348284 h 357906"/>
                <a:gd name="connsiteX9" fmla="*/ -2499 w 96793"/>
                <a:gd name="connsiteY9" fmla="*/ 350330 h 357906"/>
                <a:gd name="connsiteX10" fmla="*/ 45175 w 96793"/>
                <a:gd name="connsiteY10" fmla="*/ 329213 h 357906"/>
                <a:gd name="connsiteX11" fmla="*/ 18451 w 96793"/>
                <a:gd name="connsiteY11" fmla="*/ 265860 h 357906"/>
                <a:gd name="connsiteX12" fmla="*/ 36819 w 96793"/>
                <a:gd name="connsiteY12" fmla="*/ 257900 h 357906"/>
                <a:gd name="connsiteX13" fmla="*/ 58848 w 96793"/>
                <a:gd name="connsiteY13" fmla="*/ 248344 h 357906"/>
                <a:gd name="connsiteX14" fmla="*/ 61334 w 96793"/>
                <a:gd name="connsiteY14" fmla="*/ 247255 h 357906"/>
                <a:gd name="connsiteX15" fmla="*/ 61248 w 96793"/>
                <a:gd name="connsiteY15" fmla="*/ 244546 h 357906"/>
                <a:gd name="connsiteX16" fmla="*/ 88529 w 96793"/>
                <a:gd name="connsiteY16" fmla="*/ -2199 h 357906"/>
                <a:gd name="connsiteX17" fmla="*/ 85672 w 96793"/>
                <a:gd name="connsiteY17" fmla="*/ -7096 h 357906"/>
                <a:gd name="connsiteX18" fmla="*/ 84736 w 96793"/>
                <a:gd name="connsiteY18" fmla="*/ -7228 h 357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793" h="357906">
                  <a:moveTo>
                    <a:pt x="84736" y="-7228"/>
                  </a:moveTo>
                  <a:cubicBezTo>
                    <a:pt x="82928" y="-7269"/>
                    <a:pt x="81252" y="-6073"/>
                    <a:pt x="80775" y="-4245"/>
                  </a:cubicBezTo>
                  <a:cubicBezTo>
                    <a:pt x="60007" y="74401"/>
                    <a:pt x="50714" y="157265"/>
                    <a:pt x="53151" y="242079"/>
                  </a:cubicBezTo>
                  <a:cubicBezTo>
                    <a:pt x="46663" y="244915"/>
                    <a:pt x="40151" y="247726"/>
                    <a:pt x="33643" y="250541"/>
                  </a:cubicBezTo>
                  <a:cubicBezTo>
                    <a:pt x="26290" y="253717"/>
                    <a:pt x="18932" y="256892"/>
                    <a:pt x="11609" y="260097"/>
                  </a:cubicBezTo>
                  <a:lnTo>
                    <a:pt x="7989" y="261682"/>
                  </a:lnTo>
                  <a:lnTo>
                    <a:pt x="34722" y="325075"/>
                  </a:lnTo>
                  <a:lnTo>
                    <a:pt x="-5740" y="342997"/>
                  </a:lnTo>
                  <a:cubicBezTo>
                    <a:pt x="-7771" y="343894"/>
                    <a:pt x="-8682" y="346264"/>
                    <a:pt x="-7791" y="348284"/>
                  </a:cubicBezTo>
                  <a:cubicBezTo>
                    <a:pt x="-6895" y="350305"/>
                    <a:pt x="-4540" y="351237"/>
                    <a:pt x="-2499" y="350330"/>
                  </a:cubicBezTo>
                  <a:lnTo>
                    <a:pt x="45175" y="329213"/>
                  </a:lnTo>
                  <a:lnTo>
                    <a:pt x="18451" y="265860"/>
                  </a:lnTo>
                  <a:cubicBezTo>
                    <a:pt x="24558" y="263197"/>
                    <a:pt x="30691" y="260548"/>
                    <a:pt x="36819" y="257900"/>
                  </a:cubicBezTo>
                  <a:cubicBezTo>
                    <a:pt x="44172" y="254719"/>
                    <a:pt x="51530" y="251544"/>
                    <a:pt x="58848" y="248344"/>
                  </a:cubicBezTo>
                  <a:lnTo>
                    <a:pt x="61334" y="247255"/>
                  </a:lnTo>
                  <a:lnTo>
                    <a:pt x="61248" y="244546"/>
                  </a:lnTo>
                  <a:cubicBezTo>
                    <a:pt x="58559" y="159559"/>
                    <a:pt x="67735" y="76543"/>
                    <a:pt x="88529" y="-2199"/>
                  </a:cubicBezTo>
                  <a:cubicBezTo>
                    <a:pt x="89091" y="-4341"/>
                    <a:pt x="87809" y="-6529"/>
                    <a:pt x="85672" y="-7096"/>
                  </a:cubicBezTo>
                  <a:lnTo>
                    <a:pt x="84736" y="-7228"/>
                  </a:ln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4281A29F-227F-D9B0-5CEB-C48F2DF7E464}"/>
                </a:ext>
              </a:extLst>
            </p:cNvPr>
            <p:cNvSpPr/>
            <p:nvPr/>
          </p:nvSpPr>
          <p:spPr>
            <a:xfrm flipV="1">
              <a:off x="5866242" y="1836052"/>
              <a:ext cx="1519199" cy="460634"/>
            </a:xfrm>
            <a:custGeom>
              <a:avLst/>
              <a:gdLst>
                <a:gd name="connsiteX0" fmla="*/ 1443339 w 1519199"/>
                <a:gd name="connsiteY0" fmla="*/ 31710 h 460634"/>
                <a:gd name="connsiteX1" fmla="*/ 1511148 w 1519199"/>
                <a:gd name="connsiteY1" fmla="*/ 385080 h 460634"/>
                <a:gd name="connsiteX2" fmla="*/ 1276375 w 1519199"/>
                <a:gd name="connsiteY2" fmla="*/ 447754 h 460634"/>
                <a:gd name="connsiteX3" fmla="*/ 1045273 w 1519199"/>
                <a:gd name="connsiteY3" fmla="*/ 367204 h 460634"/>
                <a:gd name="connsiteX4" fmla="*/ 810920 w 1519199"/>
                <a:gd name="connsiteY4" fmla="*/ 299264 h 460634"/>
                <a:gd name="connsiteX5" fmla="*/ 521829 w 1519199"/>
                <a:gd name="connsiteY5" fmla="*/ 337660 h 460634"/>
                <a:gd name="connsiteX6" fmla="*/ 237412 w 1519199"/>
                <a:gd name="connsiteY6" fmla="*/ 266256 h 460634"/>
                <a:gd name="connsiteX7" fmla="*/ -8051 w 1519199"/>
                <a:gd name="connsiteY7" fmla="*/ 100410 h 460634"/>
                <a:gd name="connsiteX8" fmla="*/ 650139 w 1519199"/>
                <a:gd name="connsiteY8" fmla="*/ 119421 h 460634"/>
                <a:gd name="connsiteX9" fmla="*/ 989567 w 1519199"/>
                <a:gd name="connsiteY9" fmla="*/ -9031 h 460634"/>
                <a:gd name="connsiteX10" fmla="*/ 1218340 w 1519199"/>
                <a:gd name="connsiteY10" fmla="*/ 31113 h 460634"/>
                <a:gd name="connsiteX11" fmla="*/ 1443339 w 1519199"/>
                <a:gd name="connsiteY11" fmla="*/ 31710 h 460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19199" h="460634">
                  <a:moveTo>
                    <a:pt x="1443339" y="31710"/>
                  </a:moveTo>
                  <a:cubicBezTo>
                    <a:pt x="1443339" y="31710"/>
                    <a:pt x="1266601" y="287566"/>
                    <a:pt x="1511148" y="385080"/>
                  </a:cubicBezTo>
                  <a:cubicBezTo>
                    <a:pt x="1453670" y="443333"/>
                    <a:pt x="1357401" y="459381"/>
                    <a:pt x="1276375" y="447754"/>
                  </a:cubicBezTo>
                  <a:cubicBezTo>
                    <a:pt x="1195349" y="436132"/>
                    <a:pt x="1120045" y="400465"/>
                    <a:pt x="1045273" y="367204"/>
                  </a:cubicBezTo>
                  <a:cubicBezTo>
                    <a:pt x="970476" y="333943"/>
                    <a:pt x="892721" y="302201"/>
                    <a:pt x="810920" y="299264"/>
                  </a:cubicBezTo>
                  <a:cubicBezTo>
                    <a:pt x="713588" y="295770"/>
                    <a:pt x="619126" y="333340"/>
                    <a:pt x="521829" y="337660"/>
                  </a:cubicBezTo>
                  <a:cubicBezTo>
                    <a:pt x="423048" y="342055"/>
                    <a:pt x="325199" y="311747"/>
                    <a:pt x="237412" y="266256"/>
                  </a:cubicBezTo>
                  <a:cubicBezTo>
                    <a:pt x="149615" y="220760"/>
                    <a:pt x="70524" y="160425"/>
                    <a:pt x="-8051" y="100410"/>
                  </a:cubicBezTo>
                  <a:cubicBezTo>
                    <a:pt x="192574" y="205045"/>
                    <a:pt x="441836" y="207810"/>
                    <a:pt x="650139" y="119421"/>
                  </a:cubicBezTo>
                  <a:cubicBezTo>
                    <a:pt x="762310" y="71823"/>
                    <a:pt x="867836" y="-3637"/>
                    <a:pt x="989567" y="-9031"/>
                  </a:cubicBezTo>
                  <a:cubicBezTo>
                    <a:pt x="1067216" y="-12469"/>
                    <a:pt x="1142682" y="13388"/>
                    <a:pt x="1218340" y="31113"/>
                  </a:cubicBezTo>
                  <a:cubicBezTo>
                    <a:pt x="1294049" y="48837"/>
                    <a:pt x="1373860" y="66471"/>
                    <a:pt x="1443339" y="31710"/>
                  </a:cubicBezTo>
                </a:path>
              </a:pathLst>
            </a:custGeom>
            <a:solidFill>
              <a:srgbClr val="4DA5C3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2635427F-C960-D853-FDA9-2D754D7D5D86}"/>
                </a:ext>
              </a:extLst>
            </p:cNvPr>
            <p:cNvSpPr/>
            <p:nvPr/>
          </p:nvSpPr>
          <p:spPr>
            <a:xfrm flipV="1">
              <a:off x="6940144" y="1868679"/>
              <a:ext cx="456727" cy="2327859"/>
            </a:xfrm>
            <a:custGeom>
              <a:avLst/>
              <a:gdLst>
                <a:gd name="connsiteX0" fmla="*/ 14601 w 456727"/>
                <a:gd name="connsiteY0" fmla="*/ 1713 h 2327859"/>
                <a:gd name="connsiteX1" fmla="*/ 57672 w 456727"/>
                <a:gd name="connsiteY1" fmla="*/ 231027 h 2327859"/>
                <a:gd name="connsiteX2" fmla="*/ 161132 w 456727"/>
                <a:gd name="connsiteY2" fmla="*/ 781660 h 2327859"/>
                <a:gd name="connsiteX3" fmla="*/ 285761 w 456727"/>
                <a:gd name="connsiteY3" fmla="*/ 1445143 h 2327859"/>
                <a:gd name="connsiteX4" fmla="*/ 394386 w 456727"/>
                <a:gd name="connsiteY4" fmla="*/ 2023172 h 2327859"/>
                <a:gd name="connsiteX5" fmla="*/ 429835 w 456727"/>
                <a:gd name="connsiteY5" fmla="*/ 2212039 h 2327859"/>
                <a:gd name="connsiteX6" fmla="*/ 446749 w 456727"/>
                <a:gd name="connsiteY6" fmla="*/ 2301918 h 2327859"/>
                <a:gd name="connsiteX7" fmla="*/ 447509 w 456727"/>
                <a:gd name="connsiteY7" fmla="*/ 2305939 h 2327859"/>
                <a:gd name="connsiteX8" fmla="*/ 424163 w 456727"/>
                <a:gd name="connsiteY8" fmla="*/ 2311793 h 2327859"/>
                <a:gd name="connsiteX9" fmla="*/ 381068 w 456727"/>
                <a:gd name="connsiteY9" fmla="*/ 2082479 h 2327859"/>
                <a:gd name="connsiteX10" fmla="*/ 277607 w 456727"/>
                <a:gd name="connsiteY10" fmla="*/ 1531845 h 2327859"/>
                <a:gd name="connsiteX11" fmla="*/ 152979 w 456727"/>
                <a:gd name="connsiteY11" fmla="*/ 868363 h 2327859"/>
                <a:gd name="connsiteX12" fmla="*/ 44404 w 456727"/>
                <a:gd name="connsiteY12" fmla="*/ 290338 h 2327859"/>
                <a:gd name="connsiteX13" fmla="*/ 8904 w 456727"/>
                <a:gd name="connsiteY13" fmla="*/ 101466 h 2327859"/>
                <a:gd name="connsiteX14" fmla="*/ -7979 w 456727"/>
                <a:gd name="connsiteY14" fmla="*/ 11588 h 2327859"/>
                <a:gd name="connsiteX15" fmla="*/ -8739 w 456727"/>
                <a:gd name="connsiteY15" fmla="*/ 7567 h 2327859"/>
                <a:gd name="connsiteX16" fmla="*/ 14601 w 456727"/>
                <a:gd name="connsiteY16" fmla="*/ 1713 h 232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6727" h="2327859">
                  <a:moveTo>
                    <a:pt x="14601" y="1713"/>
                  </a:moveTo>
                  <a:cubicBezTo>
                    <a:pt x="28963" y="78151"/>
                    <a:pt x="43340" y="154589"/>
                    <a:pt x="57672" y="231027"/>
                  </a:cubicBezTo>
                  <a:cubicBezTo>
                    <a:pt x="92159" y="414571"/>
                    <a:pt x="126645" y="598116"/>
                    <a:pt x="161132" y="781660"/>
                  </a:cubicBezTo>
                  <a:cubicBezTo>
                    <a:pt x="202658" y="1002821"/>
                    <a:pt x="244235" y="1223982"/>
                    <a:pt x="285761" y="1445143"/>
                  </a:cubicBezTo>
                  <a:cubicBezTo>
                    <a:pt x="321969" y="1637818"/>
                    <a:pt x="358178" y="1830493"/>
                    <a:pt x="394386" y="2023172"/>
                  </a:cubicBezTo>
                  <a:cubicBezTo>
                    <a:pt x="406186" y="2086125"/>
                    <a:pt x="418036" y="2149082"/>
                    <a:pt x="429835" y="2212039"/>
                  </a:cubicBezTo>
                  <a:cubicBezTo>
                    <a:pt x="435355" y="2241452"/>
                    <a:pt x="444167" y="2272049"/>
                    <a:pt x="446749" y="2301918"/>
                  </a:cubicBezTo>
                  <a:cubicBezTo>
                    <a:pt x="446850" y="2303255"/>
                    <a:pt x="447255" y="2304617"/>
                    <a:pt x="447509" y="2305939"/>
                  </a:cubicBezTo>
                  <a:cubicBezTo>
                    <a:pt x="450345" y="2321106"/>
                    <a:pt x="426999" y="2327021"/>
                    <a:pt x="424163" y="2311793"/>
                  </a:cubicBezTo>
                  <a:cubicBezTo>
                    <a:pt x="409781" y="2235355"/>
                    <a:pt x="395449" y="2158917"/>
                    <a:pt x="381068" y="2082479"/>
                  </a:cubicBezTo>
                  <a:cubicBezTo>
                    <a:pt x="346581" y="1898934"/>
                    <a:pt x="312094" y="1715390"/>
                    <a:pt x="277607" y="1531845"/>
                  </a:cubicBezTo>
                  <a:cubicBezTo>
                    <a:pt x="236081" y="1310685"/>
                    <a:pt x="194505" y="1089524"/>
                    <a:pt x="152979" y="868363"/>
                  </a:cubicBezTo>
                  <a:cubicBezTo>
                    <a:pt x="116770" y="675693"/>
                    <a:pt x="80562" y="483013"/>
                    <a:pt x="44404" y="290338"/>
                  </a:cubicBezTo>
                  <a:cubicBezTo>
                    <a:pt x="32559" y="227380"/>
                    <a:pt x="20729" y="164423"/>
                    <a:pt x="8904" y="101466"/>
                  </a:cubicBezTo>
                  <a:cubicBezTo>
                    <a:pt x="3374" y="72053"/>
                    <a:pt x="-5427" y="41451"/>
                    <a:pt x="-7979" y="11588"/>
                  </a:cubicBezTo>
                  <a:cubicBezTo>
                    <a:pt x="-8101" y="10251"/>
                    <a:pt x="-8491" y="8894"/>
                    <a:pt x="-8739" y="7567"/>
                  </a:cubicBezTo>
                  <a:cubicBezTo>
                    <a:pt x="-11590" y="-7605"/>
                    <a:pt x="11740" y="-13520"/>
                    <a:pt x="14601" y="1713"/>
                  </a:cubicBezTo>
                </a:path>
              </a:pathLst>
            </a:custGeom>
            <a:solidFill>
              <a:srgbClr val="4DA5C3">
                <a:lumMod val="5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6B178583-4771-D771-C0E2-997D4D4FA580}"/>
                </a:ext>
              </a:extLst>
            </p:cNvPr>
            <p:cNvSpPr/>
            <p:nvPr/>
          </p:nvSpPr>
          <p:spPr>
            <a:xfrm flipV="1">
              <a:off x="7190711" y="2709436"/>
              <a:ext cx="27815" cy="22181"/>
            </a:xfrm>
            <a:custGeom>
              <a:avLst/>
              <a:gdLst>
                <a:gd name="connsiteX0" fmla="*/ 18470 w 27815"/>
                <a:gd name="connsiteY0" fmla="*/ 6915 h 22181"/>
                <a:gd name="connsiteX1" fmla="*/ 11735 w 27815"/>
                <a:gd name="connsiteY1" fmla="*/ 4813 h 22181"/>
                <a:gd name="connsiteX2" fmla="*/ 11634 w 27815"/>
                <a:gd name="connsiteY2" fmla="*/ 4631 h 22181"/>
                <a:gd name="connsiteX3" fmla="*/ -6141 w 27815"/>
                <a:gd name="connsiteY3" fmla="*/ -7878 h 22181"/>
                <a:gd name="connsiteX4" fmla="*/ 8241 w 27815"/>
                <a:gd name="connsiteY4" fmla="*/ 14298 h 22181"/>
                <a:gd name="connsiteX5" fmla="*/ 17508 w 27815"/>
                <a:gd name="connsiteY5" fmla="*/ 9087 h 22181"/>
                <a:gd name="connsiteX6" fmla="*/ 18470 w 27815"/>
                <a:gd name="connsiteY6" fmla="*/ 6915 h 2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15" h="22181">
                  <a:moveTo>
                    <a:pt x="18470" y="6915"/>
                  </a:moveTo>
                  <a:cubicBezTo>
                    <a:pt x="17863" y="3339"/>
                    <a:pt x="13204" y="7295"/>
                    <a:pt x="11735" y="4813"/>
                  </a:cubicBezTo>
                  <a:lnTo>
                    <a:pt x="11634" y="4631"/>
                  </a:lnTo>
                  <a:cubicBezTo>
                    <a:pt x="5355" y="-5710"/>
                    <a:pt x="-6141" y="-7878"/>
                    <a:pt x="-6141" y="-7878"/>
                  </a:cubicBezTo>
                  <a:cubicBezTo>
                    <a:pt x="-15155" y="10571"/>
                    <a:pt x="-1128" y="14030"/>
                    <a:pt x="8241" y="14298"/>
                  </a:cubicBezTo>
                  <a:cubicBezTo>
                    <a:pt x="11431" y="14460"/>
                    <a:pt x="15483" y="11275"/>
                    <a:pt x="17508" y="9087"/>
                  </a:cubicBezTo>
                  <a:cubicBezTo>
                    <a:pt x="18673" y="7806"/>
                    <a:pt x="19129" y="6854"/>
                    <a:pt x="18470" y="6915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FD84B9A8-B688-216E-5183-FA57BF673D9A}"/>
                </a:ext>
              </a:extLst>
            </p:cNvPr>
            <p:cNvSpPr/>
            <p:nvPr/>
          </p:nvSpPr>
          <p:spPr>
            <a:xfrm flipV="1">
              <a:off x="7209715" y="2714653"/>
              <a:ext cx="8810" cy="4456"/>
            </a:xfrm>
            <a:custGeom>
              <a:avLst/>
              <a:gdLst>
                <a:gd name="connsiteX0" fmla="*/ -550 w 8810"/>
                <a:gd name="connsiteY0" fmla="*/ -5602 h 4456"/>
                <a:gd name="connsiteX1" fmla="*/ -7286 w 8810"/>
                <a:gd name="connsiteY1" fmla="*/ -7703 h 4456"/>
                <a:gd name="connsiteX2" fmla="*/ -7387 w 8810"/>
                <a:gd name="connsiteY2" fmla="*/ -7886 h 4456"/>
                <a:gd name="connsiteX3" fmla="*/ -9058 w 8810"/>
                <a:gd name="connsiteY3" fmla="*/ -7288 h 4456"/>
                <a:gd name="connsiteX4" fmla="*/ -1512 w 8810"/>
                <a:gd name="connsiteY4" fmla="*/ -3429 h 4456"/>
                <a:gd name="connsiteX5" fmla="*/ -550 w 8810"/>
                <a:gd name="connsiteY5" fmla="*/ -5602 h 4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10" h="4456">
                  <a:moveTo>
                    <a:pt x="-550" y="-5602"/>
                  </a:moveTo>
                  <a:cubicBezTo>
                    <a:pt x="-1158" y="-9177"/>
                    <a:pt x="-5817" y="-5222"/>
                    <a:pt x="-7286" y="-7703"/>
                  </a:cubicBezTo>
                  <a:lnTo>
                    <a:pt x="-7387" y="-7886"/>
                  </a:lnTo>
                  <a:lnTo>
                    <a:pt x="-9058" y="-7288"/>
                  </a:lnTo>
                  <a:cubicBezTo>
                    <a:pt x="-9058" y="-7288"/>
                    <a:pt x="-6121" y="-5298"/>
                    <a:pt x="-1512" y="-3429"/>
                  </a:cubicBezTo>
                  <a:cubicBezTo>
                    <a:pt x="-348" y="-4711"/>
                    <a:pt x="108" y="-5663"/>
                    <a:pt x="-550" y="-5602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4686DCC7-AE78-C2B1-A377-6E0CA96A7D70}"/>
                </a:ext>
              </a:extLst>
            </p:cNvPr>
            <p:cNvSpPr/>
            <p:nvPr/>
          </p:nvSpPr>
          <p:spPr>
            <a:xfrm flipV="1">
              <a:off x="7190582" y="2715825"/>
              <a:ext cx="59991" cy="84265"/>
            </a:xfrm>
            <a:custGeom>
              <a:avLst/>
              <a:gdLst>
                <a:gd name="connsiteX0" fmla="*/ 24447 w 59991"/>
                <a:gd name="connsiteY0" fmla="*/ -7069 h 84265"/>
                <a:gd name="connsiteX1" fmla="*/ 14419 w 59991"/>
                <a:gd name="connsiteY1" fmla="*/ -7671 h 84265"/>
                <a:gd name="connsiteX2" fmla="*/ 4899 w 59991"/>
                <a:gd name="connsiteY2" fmla="*/ -6035 h 84265"/>
                <a:gd name="connsiteX3" fmla="*/ -925 w 59991"/>
                <a:gd name="connsiteY3" fmla="*/ 1171 h 84265"/>
                <a:gd name="connsiteX4" fmla="*/ -1077 w 59991"/>
                <a:gd name="connsiteY4" fmla="*/ 7856 h 84265"/>
                <a:gd name="connsiteX5" fmla="*/ -1127 w 59991"/>
                <a:gd name="connsiteY5" fmla="*/ 7911 h 84265"/>
                <a:gd name="connsiteX6" fmla="*/ -4014 w 59991"/>
                <a:gd name="connsiteY6" fmla="*/ 25210 h 84265"/>
                <a:gd name="connsiteX7" fmla="*/ -9027 w 59991"/>
                <a:gd name="connsiteY7" fmla="*/ 33293 h 84265"/>
                <a:gd name="connsiteX8" fmla="*/ -5128 w 59991"/>
                <a:gd name="connsiteY8" fmla="*/ 42844 h 84265"/>
                <a:gd name="connsiteX9" fmla="*/ -8116 w 59991"/>
                <a:gd name="connsiteY9" fmla="*/ 50176 h 84265"/>
                <a:gd name="connsiteX10" fmla="*/ -3862 w 59991"/>
                <a:gd name="connsiteY10" fmla="*/ 57697 h 84265"/>
                <a:gd name="connsiteX11" fmla="*/ -5685 w 59991"/>
                <a:gd name="connsiteY11" fmla="*/ 66306 h 84265"/>
                <a:gd name="connsiteX12" fmla="*/ 2620 w 59991"/>
                <a:gd name="connsiteY12" fmla="*/ 71608 h 84265"/>
                <a:gd name="connsiteX13" fmla="*/ 30371 w 59991"/>
                <a:gd name="connsiteY13" fmla="*/ 76454 h 84265"/>
                <a:gd name="connsiteX14" fmla="*/ 40854 w 59991"/>
                <a:gd name="connsiteY14" fmla="*/ 75208 h 84265"/>
                <a:gd name="connsiteX15" fmla="*/ 48552 w 59991"/>
                <a:gd name="connsiteY15" fmla="*/ 68276 h 84265"/>
                <a:gd name="connsiteX16" fmla="*/ 48704 w 59991"/>
                <a:gd name="connsiteY16" fmla="*/ 60978 h 84265"/>
                <a:gd name="connsiteX17" fmla="*/ 49463 w 59991"/>
                <a:gd name="connsiteY17" fmla="*/ 54521 h 84265"/>
                <a:gd name="connsiteX18" fmla="*/ 50881 w 59991"/>
                <a:gd name="connsiteY18" fmla="*/ 47710 h 84265"/>
                <a:gd name="connsiteX19" fmla="*/ 48450 w 59991"/>
                <a:gd name="connsiteY19" fmla="*/ 42687 h 84265"/>
                <a:gd name="connsiteX20" fmla="*/ 45311 w 59991"/>
                <a:gd name="connsiteY20" fmla="*/ 33455 h 84265"/>
                <a:gd name="connsiteX21" fmla="*/ 44906 w 59991"/>
                <a:gd name="connsiteY21" fmla="*/ 26724 h 84265"/>
                <a:gd name="connsiteX22" fmla="*/ 41766 w 59991"/>
                <a:gd name="connsiteY22" fmla="*/ 21523 h 84265"/>
                <a:gd name="connsiteX23" fmla="*/ 38880 w 59991"/>
                <a:gd name="connsiteY23" fmla="*/ 12945 h 84265"/>
                <a:gd name="connsiteX24" fmla="*/ 36448 w 59991"/>
                <a:gd name="connsiteY24" fmla="*/ 3191 h 84265"/>
                <a:gd name="connsiteX25" fmla="*/ 24447 w 59991"/>
                <a:gd name="connsiteY25" fmla="*/ -7069 h 8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991" h="84265">
                  <a:moveTo>
                    <a:pt x="24447" y="-7069"/>
                  </a:moveTo>
                  <a:cubicBezTo>
                    <a:pt x="21307" y="-8117"/>
                    <a:pt x="17661" y="-7347"/>
                    <a:pt x="14419" y="-7671"/>
                  </a:cubicBezTo>
                  <a:cubicBezTo>
                    <a:pt x="11179" y="-8026"/>
                    <a:pt x="7735" y="-7651"/>
                    <a:pt x="4899" y="-6035"/>
                  </a:cubicBezTo>
                  <a:cubicBezTo>
                    <a:pt x="2165" y="-4471"/>
                    <a:pt x="38" y="-1772"/>
                    <a:pt x="-925" y="1171"/>
                  </a:cubicBezTo>
                  <a:cubicBezTo>
                    <a:pt x="-1684" y="3333"/>
                    <a:pt x="-1836" y="5663"/>
                    <a:pt x="-1077" y="7856"/>
                  </a:cubicBezTo>
                  <a:lnTo>
                    <a:pt x="-1127" y="7911"/>
                  </a:lnTo>
                  <a:cubicBezTo>
                    <a:pt x="-6191" y="12018"/>
                    <a:pt x="-7559" y="19766"/>
                    <a:pt x="-4014" y="25210"/>
                  </a:cubicBezTo>
                  <a:cubicBezTo>
                    <a:pt x="-7457" y="25874"/>
                    <a:pt x="-9382" y="29864"/>
                    <a:pt x="-9027" y="33293"/>
                  </a:cubicBezTo>
                  <a:cubicBezTo>
                    <a:pt x="-8622" y="36782"/>
                    <a:pt x="-7154" y="39962"/>
                    <a:pt x="-5128" y="42844"/>
                  </a:cubicBezTo>
                  <a:cubicBezTo>
                    <a:pt x="-7255" y="44631"/>
                    <a:pt x="-8369" y="47482"/>
                    <a:pt x="-8116" y="50176"/>
                  </a:cubicBezTo>
                  <a:cubicBezTo>
                    <a:pt x="-7913" y="52906"/>
                    <a:pt x="-6242" y="56294"/>
                    <a:pt x="-3862" y="57697"/>
                  </a:cubicBezTo>
                  <a:cubicBezTo>
                    <a:pt x="-6951" y="58958"/>
                    <a:pt x="-7508" y="63520"/>
                    <a:pt x="-5685" y="66306"/>
                  </a:cubicBezTo>
                  <a:cubicBezTo>
                    <a:pt x="-3862" y="69121"/>
                    <a:pt x="-520" y="70555"/>
                    <a:pt x="2620" y="71608"/>
                  </a:cubicBezTo>
                  <a:cubicBezTo>
                    <a:pt x="11533" y="74651"/>
                    <a:pt x="20952" y="76313"/>
                    <a:pt x="30371" y="76454"/>
                  </a:cubicBezTo>
                  <a:cubicBezTo>
                    <a:pt x="33916" y="76530"/>
                    <a:pt x="37512" y="76399"/>
                    <a:pt x="40854" y="75208"/>
                  </a:cubicBezTo>
                  <a:cubicBezTo>
                    <a:pt x="44197" y="73958"/>
                    <a:pt x="47286" y="71618"/>
                    <a:pt x="48552" y="68276"/>
                  </a:cubicBezTo>
                  <a:cubicBezTo>
                    <a:pt x="49413" y="66088"/>
                    <a:pt x="49565" y="63232"/>
                    <a:pt x="48704" y="60978"/>
                  </a:cubicBezTo>
                  <a:cubicBezTo>
                    <a:pt x="47894" y="58846"/>
                    <a:pt x="48400" y="56527"/>
                    <a:pt x="49463" y="54521"/>
                  </a:cubicBezTo>
                  <a:cubicBezTo>
                    <a:pt x="50527" y="52460"/>
                    <a:pt x="51084" y="50055"/>
                    <a:pt x="50881" y="47710"/>
                  </a:cubicBezTo>
                  <a:cubicBezTo>
                    <a:pt x="50729" y="45776"/>
                    <a:pt x="49767" y="44110"/>
                    <a:pt x="48450" y="42687"/>
                  </a:cubicBezTo>
                  <a:cubicBezTo>
                    <a:pt x="46172" y="40150"/>
                    <a:pt x="44754" y="36822"/>
                    <a:pt x="45311" y="33455"/>
                  </a:cubicBezTo>
                  <a:cubicBezTo>
                    <a:pt x="45665" y="31014"/>
                    <a:pt x="45665" y="28537"/>
                    <a:pt x="44906" y="26724"/>
                  </a:cubicBezTo>
                  <a:cubicBezTo>
                    <a:pt x="44095" y="24825"/>
                    <a:pt x="43083" y="23007"/>
                    <a:pt x="41766" y="21523"/>
                  </a:cubicBezTo>
                  <a:cubicBezTo>
                    <a:pt x="39639" y="19199"/>
                    <a:pt x="38880" y="16075"/>
                    <a:pt x="38880" y="12945"/>
                  </a:cubicBezTo>
                  <a:cubicBezTo>
                    <a:pt x="38880" y="9557"/>
                    <a:pt x="38019" y="6169"/>
                    <a:pt x="36448" y="3191"/>
                  </a:cubicBezTo>
                  <a:cubicBezTo>
                    <a:pt x="33967" y="-1604"/>
                    <a:pt x="29561" y="-5327"/>
                    <a:pt x="24447" y="-7069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726D2D77-9451-3484-ECC0-FF0E1D0DAADB}"/>
                </a:ext>
              </a:extLst>
            </p:cNvPr>
            <p:cNvSpPr/>
            <p:nvPr/>
          </p:nvSpPr>
          <p:spPr>
            <a:xfrm flipV="1">
              <a:off x="7198075" y="2784386"/>
              <a:ext cx="22326" cy="7717"/>
            </a:xfrm>
            <a:custGeom>
              <a:avLst/>
              <a:gdLst>
                <a:gd name="connsiteX0" fmla="*/ 13276 w 22326"/>
                <a:gd name="connsiteY0" fmla="*/ -7149 h 7717"/>
                <a:gd name="connsiteX1" fmla="*/ 4160 w 22326"/>
                <a:gd name="connsiteY1" fmla="*/ -7600 h 7717"/>
                <a:gd name="connsiteX2" fmla="*/ -8399 w 22326"/>
                <a:gd name="connsiteY2" fmla="*/ -6749 h 7717"/>
                <a:gd name="connsiteX3" fmla="*/ -8550 w 22326"/>
                <a:gd name="connsiteY3" fmla="*/ -64 h 7717"/>
                <a:gd name="connsiteX4" fmla="*/ -8601 w 22326"/>
                <a:gd name="connsiteY4" fmla="*/ -9 h 7717"/>
                <a:gd name="connsiteX5" fmla="*/ 4768 w 22326"/>
                <a:gd name="connsiteY5" fmla="*/ -3842 h 7717"/>
                <a:gd name="connsiteX6" fmla="*/ 13276 w 22326"/>
                <a:gd name="connsiteY6" fmla="*/ -7149 h 7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26" h="7717">
                  <a:moveTo>
                    <a:pt x="13276" y="-7149"/>
                  </a:moveTo>
                  <a:cubicBezTo>
                    <a:pt x="13124" y="-7767"/>
                    <a:pt x="9681" y="-7838"/>
                    <a:pt x="4160" y="-7600"/>
                  </a:cubicBezTo>
                  <a:cubicBezTo>
                    <a:pt x="666" y="-7463"/>
                    <a:pt x="-3638" y="-7189"/>
                    <a:pt x="-8399" y="-6749"/>
                  </a:cubicBezTo>
                  <a:cubicBezTo>
                    <a:pt x="-9158" y="-4587"/>
                    <a:pt x="-9310" y="-2257"/>
                    <a:pt x="-8550" y="-64"/>
                  </a:cubicBezTo>
                  <a:lnTo>
                    <a:pt x="-8601" y="-9"/>
                  </a:lnTo>
                  <a:cubicBezTo>
                    <a:pt x="-3436" y="-1366"/>
                    <a:pt x="1173" y="-2804"/>
                    <a:pt x="4768" y="-3842"/>
                  </a:cubicBezTo>
                  <a:cubicBezTo>
                    <a:pt x="10086" y="-5397"/>
                    <a:pt x="13327" y="-6531"/>
                    <a:pt x="13276" y="-7149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1AB5F771-6509-B45A-7AE3-782EF4B71733}"/>
                </a:ext>
              </a:extLst>
            </p:cNvPr>
            <p:cNvSpPr/>
            <p:nvPr/>
          </p:nvSpPr>
          <p:spPr>
            <a:xfrm flipV="1">
              <a:off x="6520376" y="2791866"/>
              <a:ext cx="92744" cy="104501"/>
            </a:xfrm>
            <a:custGeom>
              <a:avLst/>
              <a:gdLst>
                <a:gd name="connsiteX0" fmla="*/ 70270 w 92744"/>
                <a:gd name="connsiteY0" fmla="*/ 96900 h 104501"/>
                <a:gd name="connsiteX1" fmla="*/ -7950 w 92744"/>
                <a:gd name="connsiteY1" fmla="*/ 26478 h 104501"/>
                <a:gd name="connsiteX2" fmla="*/ 32851 w 92744"/>
                <a:gd name="connsiteY2" fmla="*/ -7583 h 104501"/>
                <a:gd name="connsiteX3" fmla="*/ 84794 w 92744"/>
                <a:gd name="connsiteY3" fmla="*/ 79657 h 104501"/>
                <a:gd name="connsiteX4" fmla="*/ 70270 w 92744"/>
                <a:gd name="connsiteY4" fmla="*/ 96900 h 104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744" h="104501">
                  <a:moveTo>
                    <a:pt x="70270" y="96900"/>
                  </a:moveTo>
                  <a:lnTo>
                    <a:pt x="-7950" y="26478"/>
                  </a:lnTo>
                  <a:cubicBezTo>
                    <a:pt x="-7950" y="26478"/>
                    <a:pt x="33727" y="-8510"/>
                    <a:pt x="32851" y="-7583"/>
                  </a:cubicBezTo>
                  <a:cubicBezTo>
                    <a:pt x="31980" y="-6651"/>
                    <a:pt x="84794" y="79657"/>
                    <a:pt x="84794" y="79657"/>
                  </a:cubicBezTo>
                  <a:lnTo>
                    <a:pt x="70270" y="96900"/>
                  </a:lnTo>
                </a:path>
              </a:pathLst>
            </a:custGeom>
            <a:solidFill>
              <a:srgbClr val="94B7E5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371F5E28-4917-3AA0-6FD6-90EAA99CA00F}"/>
                </a:ext>
              </a:extLst>
            </p:cNvPr>
            <p:cNvSpPr/>
            <p:nvPr/>
          </p:nvSpPr>
          <p:spPr>
            <a:xfrm flipV="1">
              <a:off x="6527764" y="2758961"/>
              <a:ext cx="84722" cy="109405"/>
            </a:xfrm>
            <a:custGeom>
              <a:avLst/>
              <a:gdLst>
                <a:gd name="connsiteX0" fmla="*/ 73556 w 84722"/>
                <a:gd name="connsiteY0" fmla="*/ 53037 h 109405"/>
                <a:gd name="connsiteX1" fmla="*/ 76767 w 84722"/>
                <a:gd name="connsiteY1" fmla="*/ 56698 h 109405"/>
                <a:gd name="connsiteX2" fmla="*/ 59433 w 84722"/>
                <a:gd name="connsiteY2" fmla="*/ 76575 h 109405"/>
                <a:gd name="connsiteX3" fmla="*/ 59382 w 84722"/>
                <a:gd name="connsiteY3" fmla="*/ 76646 h 109405"/>
                <a:gd name="connsiteX4" fmla="*/ -7956 w 84722"/>
                <a:gd name="connsiteY4" fmla="*/ 47800 h 109405"/>
                <a:gd name="connsiteX5" fmla="*/ -7176 w 84722"/>
                <a:gd name="connsiteY5" fmla="*/ 46200 h 109405"/>
                <a:gd name="connsiteX6" fmla="*/ 7586 w 84722"/>
                <a:gd name="connsiteY6" fmla="*/ -7505 h 109405"/>
                <a:gd name="connsiteX7" fmla="*/ 73556 w 84722"/>
                <a:gd name="connsiteY7" fmla="*/ 53037 h 109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722" h="109405">
                  <a:moveTo>
                    <a:pt x="73556" y="53037"/>
                  </a:moveTo>
                  <a:lnTo>
                    <a:pt x="76767" y="56698"/>
                  </a:lnTo>
                  <a:lnTo>
                    <a:pt x="59433" y="76575"/>
                  </a:lnTo>
                  <a:lnTo>
                    <a:pt x="59382" y="76646"/>
                  </a:lnTo>
                  <a:cubicBezTo>
                    <a:pt x="6527" y="146708"/>
                    <a:pt x="-7956" y="47800"/>
                    <a:pt x="-7956" y="47800"/>
                  </a:cubicBezTo>
                  <a:cubicBezTo>
                    <a:pt x="-7698" y="47269"/>
                    <a:pt x="-7434" y="46737"/>
                    <a:pt x="-7176" y="46200"/>
                  </a:cubicBezTo>
                  <a:cubicBezTo>
                    <a:pt x="1585" y="27220"/>
                    <a:pt x="5747" y="8224"/>
                    <a:pt x="7586" y="-7505"/>
                  </a:cubicBezTo>
                  <a:cubicBezTo>
                    <a:pt x="7996" y="-11333"/>
                    <a:pt x="73556" y="53037"/>
                    <a:pt x="73556" y="53037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74196A61-0F9C-2373-ACCD-F218850D4D06}"/>
                </a:ext>
              </a:extLst>
            </p:cNvPr>
            <p:cNvSpPr/>
            <p:nvPr/>
          </p:nvSpPr>
          <p:spPr>
            <a:xfrm flipV="1">
              <a:off x="6528524" y="2796357"/>
              <a:ext cx="35332" cy="71864"/>
            </a:xfrm>
            <a:custGeom>
              <a:avLst/>
              <a:gdLst>
                <a:gd name="connsiteX0" fmla="*/ 27417 w 35332"/>
                <a:gd name="connsiteY0" fmla="*/ 64237 h 71864"/>
                <a:gd name="connsiteX1" fmla="*/ 6872 w 35332"/>
                <a:gd name="connsiteY1" fmla="*/ -7627 h 71864"/>
                <a:gd name="connsiteX2" fmla="*/ -7915 w 35332"/>
                <a:gd name="connsiteY2" fmla="*/ 46108 h 71864"/>
                <a:gd name="connsiteX3" fmla="*/ 27417 w 35332"/>
                <a:gd name="connsiteY3" fmla="*/ 64237 h 7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32" h="71864">
                  <a:moveTo>
                    <a:pt x="27417" y="64237"/>
                  </a:moveTo>
                  <a:lnTo>
                    <a:pt x="6872" y="-7627"/>
                  </a:lnTo>
                  <a:cubicBezTo>
                    <a:pt x="5019" y="8117"/>
                    <a:pt x="881" y="27113"/>
                    <a:pt x="-7915" y="46108"/>
                  </a:cubicBezTo>
                  <a:lnTo>
                    <a:pt x="27417" y="64237"/>
                  </a:ln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DE3273E2-580D-C029-5DD0-B7E7C22262A1}"/>
                </a:ext>
              </a:extLst>
            </p:cNvPr>
            <p:cNvSpPr/>
            <p:nvPr/>
          </p:nvSpPr>
          <p:spPr>
            <a:xfrm flipV="1">
              <a:off x="6449929" y="2679314"/>
              <a:ext cx="125485" cy="161063"/>
            </a:xfrm>
            <a:custGeom>
              <a:avLst/>
              <a:gdLst>
                <a:gd name="connsiteX0" fmla="*/ 45392 w 125485"/>
                <a:gd name="connsiteY0" fmla="*/ -7736 h 161063"/>
                <a:gd name="connsiteX1" fmla="*/ 47949 w 125485"/>
                <a:gd name="connsiteY1" fmla="*/ -7771 h 161063"/>
                <a:gd name="connsiteX2" fmla="*/ 75027 w 125485"/>
                <a:gd name="connsiteY2" fmla="*/ 787 h 161063"/>
                <a:gd name="connsiteX3" fmla="*/ 107321 w 125485"/>
                <a:gd name="connsiteY3" fmla="*/ 36697 h 161063"/>
                <a:gd name="connsiteX4" fmla="*/ 107943 w 125485"/>
                <a:gd name="connsiteY4" fmla="*/ 42658 h 161063"/>
                <a:gd name="connsiteX5" fmla="*/ 114623 w 125485"/>
                <a:gd name="connsiteY5" fmla="*/ 69244 h 161063"/>
                <a:gd name="connsiteX6" fmla="*/ 110764 w 125485"/>
                <a:gd name="connsiteY6" fmla="*/ 153258 h 161063"/>
                <a:gd name="connsiteX7" fmla="*/ 34569 w 125485"/>
                <a:gd name="connsiteY7" fmla="*/ 140370 h 161063"/>
                <a:gd name="connsiteX8" fmla="*/ -4956 w 125485"/>
                <a:gd name="connsiteY8" fmla="*/ 133088 h 161063"/>
                <a:gd name="connsiteX9" fmla="*/ -7594 w 125485"/>
                <a:gd name="connsiteY9" fmla="*/ 117880 h 161063"/>
                <a:gd name="connsiteX10" fmla="*/ -6440 w 125485"/>
                <a:gd name="connsiteY10" fmla="*/ 101508 h 161063"/>
                <a:gd name="connsiteX11" fmla="*/ 4969 w 125485"/>
                <a:gd name="connsiteY11" fmla="*/ 69067 h 161063"/>
                <a:gd name="connsiteX12" fmla="*/ 5015 w 125485"/>
                <a:gd name="connsiteY12" fmla="*/ 69031 h 161063"/>
                <a:gd name="connsiteX13" fmla="*/ 4979 w 125485"/>
                <a:gd name="connsiteY13" fmla="*/ 68986 h 161063"/>
                <a:gd name="connsiteX14" fmla="*/ -171 w 125485"/>
                <a:gd name="connsiteY14" fmla="*/ 34788 h 161063"/>
                <a:gd name="connsiteX15" fmla="*/ 3394 w 125485"/>
                <a:gd name="connsiteY15" fmla="*/ 30073 h 161063"/>
                <a:gd name="connsiteX16" fmla="*/ 12925 w 125485"/>
                <a:gd name="connsiteY16" fmla="*/ 29815 h 161063"/>
                <a:gd name="connsiteX17" fmla="*/ 45392 w 125485"/>
                <a:gd name="connsiteY17" fmla="*/ -7736 h 161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5485" h="161063">
                  <a:moveTo>
                    <a:pt x="45392" y="-7736"/>
                  </a:moveTo>
                  <a:cubicBezTo>
                    <a:pt x="46197" y="-7812"/>
                    <a:pt x="47072" y="-7791"/>
                    <a:pt x="47949" y="-7771"/>
                  </a:cubicBezTo>
                  <a:cubicBezTo>
                    <a:pt x="57535" y="-7599"/>
                    <a:pt x="66792" y="-4095"/>
                    <a:pt x="75027" y="787"/>
                  </a:cubicBezTo>
                  <a:cubicBezTo>
                    <a:pt x="89049" y="9148"/>
                    <a:pt x="100312" y="21940"/>
                    <a:pt x="107321" y="36697"/>
                  </a:cubicBezTo>
                  <a:cubicBezTo>
                    <a:pt x="107635" y="38637"/>
                    <a:pt x="107852" y="40637"/>
                    <a:pt x="107943" y="42658"/>
                  </a:cubicBezTo>
                  <a:cubicBezTo>
                    <a:pt x="110800" y="51332"/>
                    <a:pt x="113033" y="60235"/>
                    <a:pt x="114623" y="69244"/>
                  </a:cubicBezTo>
                  <a:cubicBezTo>
                    <a:pt x="119632" y="97097"/>
                    <a:pt x="118401" y="126044"/>
                    <a:pt x="110764" y="153258"/>
                  </a:cubicBezTo>
                  <a:cubicBezTo>
                    <a:pt x="85261" y="153578"/>
                    <a:pt x="59059" y="149131"/>
                    <a:pt x="34569" y="140370"/>
                  </a:cubicBezTo>
                  <a:cubicBezTo>
                    <a:pt x="20744" y="135397"/>
                    <a:pt x="-4956" y="133088"/>
                    <a:pt x="-4956" y="133088"/>
                  </a:cubicBezTo>
                  <a:cubicBezTo>
                    <a:pt x="-5762" y="131361"/>
                    <a:pt x="-7261" y="119941"/>
                    <a:pt x="-7594" y="117880"/>
                  </a:cubicBezTo>
                  <a:cubicBezTo>
                    <a:pt x="-8227" y="113009"/>
                    <a:pt x="-7671" y="107286"/>
                    <a:pt x="-6440" y="101508"/>
                  </a:cubicBezTo>
                  <a:cubicBezTo>
                    <a:pt x="-3285" y="85926"/>
                    <a:pt x="4519" y="70034"/>
                    <a:pt x="4969" y="69067"/>
                  </a:cubicBezTo>
                  <a:lnTo>
                    <a:pt x="5015" y="69031"/>
                  </a:lnTo>
                  <a:lnTo>
                    <a:pt x="4979" y="68986"/>
                  </a:lnTo>
                  <a:lnTo>
                    <a:pt x="-171" y="34788"/>
                  </a:lnTo>
                  <a:cubicBezTo>
                    <a:pt x="-353" y="32540"/>
                    <a:pt x="1227" y="30544"/>
                    <a:pt x="3394" y="30073"/>
                  </a:cubicBezTo>
                  <a:lnTo>
                    <a:pt x="12925" y="29815"/>
                  </a:lnTo>
                  <a:cubicBezTo>
                    <a:pt x="12925" y="29815"/>
                    <a:pt x="8241" y="-6768"/>
                    <a:pt x="45392" y="-7736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250E9191-4318-57B5-697A-233810862765}"/>
                </a:ext>
              </a:extLst>
            </p:cNvPr>
            <p:cNvSpPr/>
            <p:nvPr/>
          </p:nvSpPr>
          <p:spPr>
            <a:xfrm flipV="1">
              <a:off x="6472338" y="2748068"/>
              <a:ext cx="10777" cy="15889"/>
            </a:xfrm>
            <a:custGeom>
              <a:avLst/>
              <a:gdLst>
                <a:gd name="connsiteX0" fmla="*/ 2309 w 10777"/>
                <a:gd name="connsiteY0" fmla="*/ 1724 h 15889"/>
                <a:gd name="connsiteX1" fmla="*/ 192 w 10777"/>
                <a:gd name="connsiteY1" fmla="*/ -7640 h 15889"/>
                <a:gd name="connsiteX2" fmla="*/ -7131 w 10777"/>
                <a:gd name="connsiteY2" fmla="*/ -1426 h 15889"/>
                <a:gd name="connsiteX3" fmla="*/ -5009 w 10777"/>
                <a:gd name="connsiteY3" fmla="*/ 7932 h 15889"/>
                <a:gd name="connsiteX4" fmla="*/ 2309 w 10777"/>
                <a:gd name="connsiteY4" fmla="*/ 1724 h 1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77" h="15889">
                  <a:moveTo>
                    <a:pt x="2309" y="1724"/>
                  </a:moveTo>
                  <a:cubicBezTo>
                    <a:pt x="3747" y="-2576"/>
                    <a:pt x="2795" y="-6769"/>
                    <a:pt x="192" y="-7640"/>
                  </a:cubicBezTo>
                  <a:cubicBezTo>
                    <a:pt x="-2416" y="-8506"/>
                    <a:pt x="-5697" y="-5726"/>
                    <a:pt x="-7131" y="-1426"/>
                  </a:cubicBezTo>
                  <a:cubicBezTo>
                    <a:pt x="-8564" y="2873"/>
                    <a:pt x="-7612" y="7066"/>
                    <a:pt x="-5009" y="7932"/>
                  </a:cubicBezTo>
                  <a:cubicBezTo>
                    <a:pt x="-2401" y="8803"/>
                    <a:pt x="876" y="6023"/>
                    <a:pt x="2309" y="1724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3DC99AF8-B725-614C-9B63-EAB6041A8AFF}"/>
                </a:ext>
              </a:extLst>
            </p:cNvPr>
            <p:cNvSpPr/>
            <p:nvPr/>
          </p:nvSpPr>
          <p:spPr>
            <a:xfrm flipV="1">
              <a:off x="6464734" y="2727008"/>
              <a:ext cx="25304" cy="16233"/>
            </a:xfrm>
            <a:custGeom>
              <a:avLst/>
              <a:gdLst>
                <a:gd name="connsiteX0" fmla="*/ 16898 w 25304"/>
                <a:gd name="connsiteY0" fmla="*/ -2211 h 16233"/>
                <a:gd name="connsiteX1" fmla="*/ -4964 w 25304"/>
                <a:gd name="connsiteY1" fmla="*/ 8332 h 16233"/>
                <a:gd name="connsiteX2" fmla="*/ -4002 w 25304"/>
                <a:gd name="connsiteY2" fmla="*/ 1592 h 16233"/>
                <a:gd name="connsiteX3" fmla="*/ 11565 w 25304"/>
                <a:gd name="connsiteY3" fmla="*/ -6445 h 16233"/>
                <a:gd name="connsiteX4" fmla="*/ 16898 w 25304"/>
                <a:gd name="connsiteY4" fmla="*/ -2211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4" h="16233">
                  <a:moveTo>
                    <a:pt x="16898" y="-2211"/>
                  </a:moveTo>
                  <a:cubicBezTo>
                    <a:pt x="12066" y="5107"/>
                    <a:pt x="3695" y="8905"/>
                    <a:pt x="-4964" y="8332"/>
                  </a:cubicBezTo>
                  <a:cubicBezTo>
                    <a:pt x="-9339" y="8044"/>
                    <a:pt x="-8357" y="1303"/>
                    <a:pt x="-4002" y="1592"/>
                  </a:cubicBezTo>
                  <a:cubicBezTo>
                    <a:pt x="2363" y="2012"/>
                    <a:pt x="8096" y="-1193"/>
                    <a:pt x="11565" y="-6445"/>
                  </a:cubicBezTo>
                  <a:cubicBezTo>
                    <a:pt x="13976" y="-10101"/>
                    <a:pt x="19303" y="-5852"/>
                    <a:pt x="16898" y="-2211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33C9CFE5-221F-32D0-22C0-E1460FC0A88F}"/>
                </a:ext>
              </a:extLst>
            </p:cNvPr>
            <p:cNvSpPr/>
            <p:nvPr/>
          </p:nvSpPr>
          <p:spPr>
            <a:xfrm flipV="1">
              <a:off x="6533649" y="2733767"/>
              <a:ext cx="11319" cy="27709"/>
            </a:xfrm>
            <a:custGeom>
              <a:avLst/>
              <a:gdLst>
                <a:gd name="connsiteX0" fmla="*/ -3751 w 11319"/>
                <a:gd name="connsiteY0" fmla="*/ -7801 h 27709"/>
                <a:gd name="connsiteX1" fmla="*/ -2510 w 11319"/>
                <a:gd name="connsiteY1" fmla="*/ -7315 h 27709"/>
                <a:gd name="connsiteX2" fmla="*/ 194 w 11319"/>
                <a:gd name="connsiteY2" fmla="*/ 565 h 27709"/>
                <a:gd name="connsiteX3" fmla="*/ -5240 w 11319"/>
                <a:gd name="connsiteY3" fmla="*/ 2190 h 27709"/>
                <a:gd name="connsiteX4" fmla="*/ 2519 w 11319"/>
                <a:gd name="connsiteY4" fmla="*/ 17337 h 27709"/>
                <a:gd name="connsiteX5" fmla="*/ 3349 w 11319"/>
                <a:gd name="connsiteY5" fmla="*/ 18993 h 27709"/>
                <a:gd name="connsiteX6" fmla="*/ 1693 w 11319"/>
                <a:gd name="connsiteY6" fmla="*/ 19824 h 27709"/>
                <a:gd name="connsiteX7" fmla="*/ -7802 w 11319"/>
                <a:gd name="connsiteY7" fmla="*/ 1912 h 27709"/>
                <a:gd name="connsiteX8" fmla="*/ -6850 w 11319"/>
                <a:gd name="connsiteY8" fmla="*/ 139 h 27709"/>
                <a:gd name="connsiteX9" fmla="*/ -4895 w 11319"/>
                <a:gd name="connsiteY9" fmla="*/ -413 h 27709"/>
                <a:gd name="connsiteX10" fmla="*/ -2084 w 11319"/>
                <a:gd name="connsiteY10" fmla="*/ -727 h 27709"/>
                <a:gd name="connsiteX11" fmla="*/ -4576 w 11319"/>
                <a:gd name="connsiteY11" fmla="*/ -5695 h 27709"/>
                <a:gd name="connsiteX12" fmla="*/ -4353 w 11319"/>
                <a:gd name="connsiteY12" fmla="*/ -7538 h 27709"/>
                <a:gd name="connsiteX13" fmla="*/ -3751 w 11319"/>
                <a:gd name="connsiteY13" fmla="*/ -7801 h 2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319" h="27709">
                  <a:moveTo>
                    <a:pt x="-3751" y="-7801"/>
                  </a:moveTo>
                  <a:cubicBezTo>
                    <a:pt x="-3290" y="-7872"/>
                    <a:pt x="-2814" y="-7700"/>
                    <a:pt x="-2510" y="-7315"/>
                  </a:cubicBezTo>
                  <a:cubicBezTo>
                    <a:pt x="336" y="-3689"/>
                    <a:pt x="1197" y="-1188"/>
                    <a:pt x="194" y="565"/>
                  </a:cubicBezTo>
                  <a:cubicBezTo>
                    <a:pt x="-368" y="1557"/>
                    <a:pt x="-1765" y="2636"/>
                    <a:pt x="-5240" y="2190"/>
                  </a:cubicBezTo>
                  <a:cubicBezTo>
                    <a:pt x="-6252" y="14278"/>
                    <a:pt x="2433" y="17307"/>
                    <a:pt x="2519" y="17337"/>
                  </a:cubicBezTo>
                  <a:cubicBezTo>
                    <a:pt x="3207" y="17560"/>
                    <a:pt x="3577" y="18304"/>
                    <a:pt x="3349" y="18993"/>
                  </a:cubicBezTo>
                  <a:cubicBezTo>
                    <a:pt x="3132" y="19677"/>
                    <a:pt x="2387" y="20057"/>
                    <a:pt x="1693" y="19824"/>
                  </a:cubicBezTo>
                  <a:cubicBezTo>
                    <a:pt x="1592" y="19788"/>
                    <a:pt x="-9048" y="16091"/>
                    <a:pt x="-7802" y="1912"/>
                  </a:cubicBezTo>
                  <a:cubicBezTo>
                    <a:pt x="-7742" y="1223"/>
                    <a:pt x="-7397" y="580"/>
                    <a:pt x="-6850" y="139"/>
                  </a:cubicBezTo>
                  <a:cubicBezTo>
                    <a:pt x="-6303" y="-301"/>
                    <a:pt x="-5594" y="-494"/>
                    <a:pt x="-4895" y="-413"/>
                  </a:cubicBezTo>
                  <a:cubicBezTo>
                    <a:pt x="-3108" y="-180"/>
                    <a:pt x="-2221" y="-484"/>
                    <a:pt x="-2084" y="-727"/>
                  </a:cubicBezTo>
                  <a:cubicBezTo>
                    <a:pt x="-2059" y="-772"/>
                    <a:pt x="-1528" y="-1815"/>
                    <a:pt x="-4576" y="-5695"/>
                  </a:cubicBezTo>
                  <a:cubicBezTo>
                    <a:pt x="-5022" y="-6267"/>
                    <a:pt x="-4921" y="-7092"/>
                    <a:pt x="-4353" y="-7538"/>
                  </a:cubicBezTo>
                  <a:lnTo>
                    <a:pt x="-3751" y="-7801"/>
                  </a:lnTo>
                </a:path>
              </a:pathLst>
            </a:custGeom>
            <a:solidFill>
              <a:srgbClr val="E8E4E2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A6C866B4-D54A-FF40-4BAB-241101B42A04}"/>
                </a:ext>
              </a:extLst>
            </p:cNvPr>
            <p:cNvSpPr/>
            <p:nvPr/>
          </p:nvSpPr>
          <p:spPr>
            <a:xfrm flipV="1">
              <a:off x="6540201" y="2768107"/>
              <a:ext cx="19284" cy="10802"/>
            </a:xfrm>
            <a:custGeom>
              <a:avLst/>
              <a:gdLst>
                <a:gd name="connsiteX0" fmla="*/ -7921 w 19284"/>
                <a:gd name="connsiteY0" fmla="*/ -5628 h 10802"/>
                <a:gd name="connsiteX1" fmla="*/ 11363 w 19284"/>
                <a:gd name="connsiteY1" fmla="*/ 2864 h 10802"/>
                <a:gd name="connsiteX2" fmla="*/ 2926 w 19284"/>
                <a:gd name="connsiteY2" fmla="*/ 469 h 10802"/>
                <a:gd name="connsiteX3" fmla="*/ -7921 w 19284"/>
                <a:gd name="connsiteY3" fmla="*/ -5628 h 10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84" h="10802">
                  <a:moveTo>
                    <a:pt x="-7921" y="-5628"/>
                  </a:moveTo>
                  <a:cubicBezTo>
                    <a:pt x="-3911" y="-8358"/>
                    <a:pt x="3879" y="-10819"/>
                    <a:pt x="11363" y="2864"/>
                  </a:cubicBezTo>
                  <a:cubicBezTo>
                    <a:pt x="11363" y="2864"/>
                    <a:pt x="6284" y="4019"/>
                    <a:pt x="2926" y="469"/>
                  </a:cubicBezTo>
                  <a:cubicBezTo>
                    <a:pt x="2926" y="469"/>
                    <a:pt x="-3222" y="-7593"/>
                    <a:pt x="-7921" y="-5628"/>
                  </a:cubicBezTo>
                </a:path>
              </a:pathLst>
            </a:custGeom>
            <a:solidFill>
              <a:srgbClr val="E8E4E2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F5F79CB2-F82D-2507-14A3-8741EC107613}"/>
                </a:ext>
              </a:extLst>
            </p:cNvPr>
            <p:cNvSpPr/>
            <p:nvPr/>
          </p:nvSpPr>
          <p:spPr>
            <a:xfrm flipV="1">
              <a:off x="6413994" y="2619262"/>
              <a:ext cx="194269" cy="162221"/>
            </a:xfrm>
            <a:custGeom>
              <a:avLst/>
              <a:gdLst>
                <a:gd name="connsiteX0" fmla="*/ 74760 w 194269"/>
                <a:gd name="connsiteY0" fmla="*/ 75954 h 162221"/>
                <a:gd name="connsiteX1" fmla="*/ 104178 w 194269"/>
                <a:gd name="connsiteY1" fmla="*/ 30565 h 162221"/>
                <a:gd name="connsiteX2" fmla="*/ 111344 w 194269"/>
                <a:gd name="connsiteY2" fmla="*/ 43124 h 162221"/>
                <a:gd name="connsiteX3" fmla="*/ 125716 w 194269"/>
                <a:gd name="connsiteY3" fmla="*/ 44380 h 162221"/>
                <a:gd name="connsiteX4" fmla="*/ 137034 w 194269"/>
                <a:gd name="connsiteY4" fmla="*/ 25480 h 162221"/>
                <a:gd name="connsiteX5" fmla="*/ 129195 w 194269"/>
                <a:gd name="connsiteY5" fmla="*/ 2879 h 162221"/>
                <a:gd name="connsiteX6" fmla="*/ 129418 w 194269"/>
                <a:gd name="connsiteY6" fmla="*/ 2920 h 162221"/>
                <a:gd name="connsiteX7" fmla="*/ 171273 w 194269"/>
                <a:gd name="connsiteY7" fmla="*/ -7923 h 162221"/>
                <a:gd name="connsiteX8" fmla="*/ 183427 w 194269"/>
                <a:gd name="connsiteY8" fmla="*/ 48218 h 162221"/>
                <a:gd name="connsiteX9" fmla="*/ 183245 w 194269"/>
                <a:gd name="connsiteY9" fmla="*/ 87151 h 162221"/>
                <a:gd name="connsiteX10" fmla="*/ 168852 w 194269"/>
                <a:gd name="connsiteY10" fmla="*/ 103169 h 162221"/>
                <a:gd name="connsiteX11" fmla="*/ 172473 w 194269"/>
                <a:gd name="connsiteY11" fmla="*/ 104111 h 162221"/>
                <a:gd name="connsiteX12" fmla="*/ 173623 w 194269"/>
                <a:gd name="connsiteY12" fmla="*/ 110021 h 162221"/>
                <a:gd name="connsiteX13" fmla="*/ 137444 w 194269"/>
                <a:gd name="connsiteY13" fmla="*/ 120423 h 162221"/>
                <a:gd name="connsiteX14" fmla="*/ 76093 w 194269"/>
                <a:gd name="connsiteY14" fmla="*/ 153476 h 162221"/>
                <a:gd name="connsiteX15" fmla="*/ 74447 w 194269"/>
                <a:gd name="connsiteY15" fmla="*/ 149172 h 162221"/>
                <a:gd name="connsiteX16" fmla="*/ 77885 w 194269"/>
                <a:gd name="connsiteY16" fmla="*/ 145206 h 162221"/>
                <a:gd name="connsiteX17" fmla="*/ 72649 w 194269"/>
                <a:gd name="connsiteY17" fmla="*/ 143480 h 162221"/>
                <a:gd name="connsiteX18" fmla="*/ -3566 w 194269"/>
                <a:gd name="connsiteY18" fmla="*/ 113921 h 162221"/>
                <a:gd name="connsiteX19" fmla="*/ -3850 w 194269"/>
                <a:gd name="connsiteY19" fmla="*/ 113870 h 162221"/>
                <a:gd name="connsiteX20" fmla="*/ -7835 w 194269"/>
                <a:gd name="connsiteY20" fmla="*/ 108254 h 162221"/>
                <a:gd name="connsiteX21" fmla="*/ 25755 w 194269"/>
                <a:gd name="connsiteY21" fmla="*/ 68536 h 162221"/>
                <a:gd name="connsiteX22" fmla="*/ 74760 w 194269"/>
                <a:gd name="connsiteY22" fmla="*/ 75954 h 162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4269" h="162221">
                  <a:moveTo>
                    <a:pt x="74760" y="75954"/>
                  </a:moveTo>
                  <a:cubicBezTo>
                    <a:pt x="76695" y="59050"/>
                    <a:pt x="88368" y="36819"/>
                    <a:pt x="104178" y="30565"/>
                  </a:cubicBezTo>
                  <a:cubicBezTo>
                    <a:pt x="104371" y="35558"/>
                    <a:pt x="107116" y="40419"/>
                    <a:pt x="111344" y="43124"/>
                  </a:cubicBezTo>
                  <a:cubicBezTo>
                    <a:pt x="115542" y="45843"/>
                    <a:pt x="121128" y="46324"/>
                    <a:pt x="125716" y="44380"/>
                  </a:cubicBezTo>
                  <a:cubicBezTo>
                    <a:pt x="132887" y="41377"/>
                    <a:pt x="136867" y="33234"/>
                    <a:pt x="137034" y="25480"/>
                  </a:cubicBezTo>
                  <a:cubicBezTo>
                    <a:pt x="137242" y="17702"/>
                    <a:pt x="132512" y="9928"/>
                    <a:pt x="129195" y="2879"/>
                  </a:cubicBezTo>
                  <a:lnTo>
                    <a:pt x="129418" y="2920"/>
                  </a:lnTo>
                  <a:cubicBezTo>
                    <a:pt x="131540" y="3441"/>
                    <a:pt x="155417" y="1264"/>
                    <a:pt x="171273" y="-7923"/>
                  </a:cubicBezTo>
                  <a:cubicBezTo>
                    <a:pt x="173972" y="5153"/>
                    <a:pt x="180753" y="35178"/>
                    <a:pt x="183427" y="48218"/>
                  </a:cubicBezTo>
                  <a:cubicBezTo>
                    <a:pt x="186096" y="61172"/>
                    <a:pt x="188623" y="75114"/>
                    <a:pt x="183245" y="87151"/>
                  </a:cubicBezTo>
                  <a:cubicBezTo>
                    <a:pt x="180257" y="93836"/>
                    <a:pt x="175046" y="99219"/>
                    <a:pt x="168852" y="103169"/>
                  </a:cubicBezTo>
                  <a:lnTo>
                    <a:pt x="172473" y="104111"/>
                  </a:lnTo>
                  <a:cubicBezTo>
                    <a:pt x="175172" y="104815"/>
                    <a:pt x="175821" y="108289"/>
                    <a:pt x="173623" y="110021"/>
                  </a:cubicBezTo>
                  <a:cubicBezTo>
                    <a:pt x="156936" y="123041"/>
                    <a:pt x="137444" y="120423"/>
                    <a:pt x="137444" y="120423"/>
                  </a:cubicBezTo>
                  <a:cubicBezTo>
                    <a:pt x="131742" y="131999"/>
                    <a:pt x="116236" y="159376"/>
                    <a:pt x="76093" y="153476"/>
                  </a:cubicBezTo>
                  <a:cubicBezTo>
                    <a:pt x="74047" y="153198"/>
                    <a:pt x="73084" y="150747"/>
                    <a:pt x="74447" y="149172"/>
                  </a:cubicBezTo>
                  <a:lnTo>
                    <a:pt x="77885" y="145206"/>
                  </a:lnTo>
                  <a:lnTo>
                    <a:pt x="72649" y="143480"/>
                  </a:lnTo>
                  <a:cubicBezTo>
                    <a:pt x="51010" y="136319"/>
                    <a:pt x="18604" y="119248"/>
                    <a:pt x="-3566" y="113921"/>
                  </a:cubicBezTo>
                  <a:lnTo>
                    <a:pt x="-3850" y="113870"/>
                  </a:lnTo>
                  <a:cubicBezTo>
                    <a:pt x="-6367" y="113282"/>
                    <a:pt x="-8058" y="110856"/>
                    <a:pt x="-7835" y="108254"/>
                  </a:cubicBezTo>
                  <a:cubicBezTo>
                    <a:pt x="-6185" y="89911"/>
                    <a:pt x="7793" y="73048"/>
                    <a:pt x="25755" y="68536"/>
                  </a:cubicBezTo>
                  <a:cubicBezTo>
                    <a:pt x="42036" y="64474"/>
                    <a:pt x="59047" y="70176"/>
                    <a:pt x="74760" y="75954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1CD2AD6F-161B-C45A-3C06-AC336BA798E6}"/>
                </a:ext>
              </a:extLst>
            </p:cNvPr>
            <p:cNvSpPr/>
            <p:nvPr/>
          </p:nvSpPr>
          <p:spPr>
            <a:xfrm flipV="1">
              <a:off x="6485560" y="2796422"/>
              <a:ext cx="22928" cy="25599"/>
            </a:xfrm>
            <a:custGeom>
              <a:avLst/>
              <a:gdLst>
                <a:gd name="connsiteX0" fmla="*/ 9837 w 22928"/>
                <a:gd name="connsiteY0" fmla="*/ 16850 h 25599"/>
                <a:gd name="connsiteX1" fmla="*/ -6515 w 22928"/>
                <a:gd name="connsiteY1" fmla="*/ 4529 h 25599"/>
                <a:gd name="connsiteX2" fmla="*/ -6899 w 22928"/>
                <a:gd name="connsiteY2" fmla="*/ 1050 h 25599"/>
                <a:gd name="connsiteX3" fmla="*/ 13631 w 22928"/>
                <a:gd name="connsiteY3" fmla="*/ 16552 h 25599"/>
                <a:gd name="connsiteX4" fmla="*/ 9837 w 22928"/>
                <a:gd name="connsiteY4" fmla="*/ 16850 h 2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28" h="25599">
                  <a:moveTo>
                    <a:pt x="9837" y="16850"/>
                  </a:moveTo>
                  <a:cubicBezTo>
                    <a:pt x="7984" y="11994"/>
                    <a:pt x="3553" y="4838"/>
                    <a:pt x="-6515" y="4529"/>
                  </a:cubicBezTo>
                  <a:cubicBezTo>
                    <a:pt x="-8510" y="4468"/>
                    <a:pt x="-7897" y="2914"/>
                    <a:pt x="-6899" y="1050"/>
                  </a:cubicBezTo>
                  <a:cubicBezTo>
                    <a:pt x="-1613" y="-8810"/>
                    <a:pt x="21014" y="-17241"/>
                    <a:pt x="13631" y="16552"/>
                  </a:cubicBezTo>
                  <a:cubicBezTo>
                    <a:pt x="13251" y="18284"/>
                    <a:pt x="10410" y="18359"/>
                    <a:pt x="9837" y="16850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D53BFAC9-0BF1-1886-BADF-13A7E92D1723}"/>
                </a:ext>
              </a:extLst>
            </p:cNvPr>
            <p:cNvSpPr/>
            <p:nvPr/>
          </p:nvSpPr>
          <p:spPr>
            <a:xfrm flipV="1">
              <a:off x="6544542" y="2868866"/>
              <a:ext cx="137840" cy="369894"/>
            </a:xfrm>
            <a:custGeom>
              <a:avLst/>
              <a:gdLst>
                <a:gd name="connsiteX0" fmla="*/ -7509 w 137840"/>
                <a:gd name="connsiteY0" fmla="*/ 362763 h 369894"/>
                <a:gd name="connsiteX1" fmla="*/ 9846 w 137840"/>
                <a:gd name="connsiteY1" fmla="*/ 317267 h 369894"/>
                <a:gd name="connsiteX2" fmla="*/ 71922 w 137840"/>
                <a:gd name="connsiteY2" fmla="*/ 14244 h 369894"/>
                <a:gd name="connsiteX3" fmla="*/ 109867 w 137840"/>
                <a:gd name="connsiteY3" fmla="*/ -7132 h 369894"/>
                <a:gd name="connsiteX4" fmla="*/ 129810 w 137840"/>
                <a:gd name="connsiteY4" fmla="*/ 40441 h 369894"/>
                <a:gd name="connsiteX5" fmla="*/ 20222 w 137840"/>
                <a:gd name="connsiteY5" fmla="*/ 322341 h 369894"/>
                <a:gd name="connsiteX6" fmla="*/ -7509 w 137840"/>
                <a:gd name="connsiteY6" fmla="*/ 362763 h 369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840" h="369894">
                  <a:moveTo>
                    <a:pt x="-7509" y="362763"/>
                  </a:moveTo>
                  <a:cubicBezTo>
                    <a:pt x="-7509" y="362763"/>
                    <a:pt x="-12725" y="327010"/>
                    <a:pt x="9846" y="317267"/>
                  </a:cubicBezTo>
                  <a:cubicBezTo>
                    <a:pt x="9846" y="317267"/>
                    <a:pt x="20288" y="131413"/>
                    <a:pt x="71922" y="14244"/>
                  </a:cubicBezTo>
                  <a:lnTo>
                    <a:pt x="109867" y="-7132"/>
                  </a:lnTo>
                  <a:lnTo>
                    <a:pt x="129810" y="40441"/>
                  </a:lnTo>
                  <a:cubicBezTo>
                    <a:pt x="129810" y="40441"/>
                    <a:pt x="39076" y="162132"/>
                    <a:pt x="20222" y="322341"/>
                  </a:cubicBezTo>
                  <a:cubicBezTo>
                    <a:pt x="20222" y="322341"/>
                    <a:pt x="23352" y="359856"/>
                    <a:pt x="-7509" y="362763"/>
                  </a:cubicBezTo>
                </a:path>
              </a:pathLst>
            </a:custGeom>
            <a:solidFill>
              <a:srgbClr val="FFFFFF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540E524D-3BEA-6F3B-6AD8-73DCB39FC60A}"/>
                </a:ext>
              </a:extLst>
            </p:cNvPr>
            <p:cNvSpPr/>
            <p:nvPr/>
          </p:nvSpPr>
          <p:spPr>
            <a:xfrm flipV="1">
              <a:off x="6536054" y="2796236"/>
              <a:ext cx="92328" cy="105120"/>
            </a:xfrm>
            <a:custGeom>
              <a:avLst/>
              <a:gdLst>
                <a:gd name="connsiteX0" fmla="*/ 68795 w 92328"/>
                <a:gd name="connsiteY0" fmla="*/ 97530 h 105120"/>
                <a:gd name="connsiteX1" fmla="*/ -7977 w 92328"/>
                <a:gd name="connsiteY1" fmla="*/ 24125 h 105120"/>
                <a:gd name="connsiteX2" fmla="*/ 30171 w 92328"/>
                <a:gd name="connsiteY2" fmla="*/ -7571 h 105120"/>
                <a:gd name="connsiteX3" fmla="*/ 84352 w 92328"/>
                <a:gd name="connsiteY3" fmla="*/ 80226 h 105120"/>
                <a:gd name="connsiteX4" fmla="*/ 68795 w 92328"/>
                <a:gd name="connsiteY4" fmla="*/ 97530 h 105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328" h="105120">
                  <a:moveTo>
                    <a:pt x="68795" y="97530"/>
                  </a:moveTo>
                  <a:lnTo>
                    <a:pt x="-7977" y="24125"/>
                  </a:lnTo>
                  <a:cubicBezTo>
                    <a:pt x="-7977" y="24125"/>
                    <a:pt x="31042" y="-8503"/>
                    <a:pt x="30171" y="-7571"/>
                  </a:cubicBezTo>
                  <a:cubicBezTo>
                    <a:pt x="29295" y="-6644"/>
                    <a:pt x="84352" y="80226"/>
                    <a:pt x="84352" y="80226"/>
                  </a:cubicBezTo>
                  <a:lnTo>
                    <a:pt x="68795" y="97530"/>
                  </a:lnTo>
                </a:path>
              </a:pathLst>
            </a:custGeom>
            <a:solidFill>
              <a:srgbClr val="4DA5C3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05244C88-1486-E9EA-5302-073408EB6458}"/>
                </a:ext>
              </a:extLst>
            </p:cNvPr>
            <p:cNvSpPr/>
            <p:nvPr/>
          </p:nvSpPr>
          <p:spPr>
            <a:xfrm flipV="1">
              <a:off x="6071375" y="3275678"/>
              <a:ext cx="57137" cy="50250"/>
            </a:xfrm>
            <a:custGeom>
              <a:avLst/>
              <a:gdLst>
                <a:gd name="connsiteX0" fmla="*/ 49987 w 57137"/>
                <a:gd name="connsiteY0" fmla="*/ 43424 h 50250"/>
                <a:gd name="connsiteX1" fmla="*/ 6420 w 57137"/>
                <a:gd name="connsiteY1" fmla="*/ 35316 h 50250"/>
                <a:gd name="connsiteX2" fmla="*/ -7147 w 57137"/>
                <a:gd name="connsiteY2" fmla="*/ 3078 h 50250"/>
                <a:gd name="connsiteX3" fmla="*/ -2220 w 57137"/>
                <a:gd name="connsiteY3" fmla="*/ -6382 h 50250"/>
                <a:gd name="connsiteX4" fmla="*/ 7458 w 57137"/>
                <a:gd name="connsiteY4" fmla="*/ 475 h 50250"/>
                <a:gd name="connsiteX5" fmla="*/ 16209 w 57137"/>
                <a:gd name="connsiteY5" fmla="*/ 23891 h 50250"/>
                <a:gd name="connsiteX6" fmla="*/ 43722 w 57137"/>
                <a:gd name="connsiteY6" fmla="*/ 34030 h 50250"/>
                <a:gd name="connsiteX7" fmla="*/ 49987 w 57137"/>
                <a:gd name="connsiteY7" fmla="*/ 43424 h 5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137" h="50250">
                  <a:moveTo>
                    <a:pt x="49987" y="43424"/>
                  </a:moveTo>
                  <a:cubicBezTo>
                    <a:pt x="38015" y="44198"/>
                    <a:pt x="15115" y="43581"/>
                    <a:pt x="6420" y="35316"/>
                  </a:cubicBezTo>
                  <a:cubicBezTo>
                    <a:pt x="-2270" y="27051"/>
                    <a:pt x="-7319" y="15075"/>
                    <a:pt x="-7147" y="3078"/>
                  </a:cubicBezTo>
                  <a:cubicBezTo>
                    <a:pt x="-7097" y="-741"/>
                    <a:pt x="-5896" y="-5344"/>
                    <a:pt x="-2220" y="-6382"/>
                  </a:cubicBezTo>
                  <a:cubicBezTo>
                    <a:pt x="1912" y="-7547"/>
                    <a:pt x="5452" y="-3323"/>
                    <a:pt x="7458" y="475"/>
                  </a:cubicBezTo>
                  <a:cubicBezTo>
                    <a:pt x="11367" y="7858"/>
                    <a:pt x="14315" y="15753"/>
                    <a:pt x="16209" y="23891"/>
                  </a:cubicBezTo>
                  <a:lnTo>
                    <a:pt x="43722" y="34030"/>
                  </a:lnTo>
                  <a:lnTo>
                    <a:pt x="49987" y="43424"/>
                  </a:ln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24AFB264-F89D-AD4E-A52F-8541CD66EC48}"/>
                </a:ext>
              </a:extLst>
            </p:cNvPr>
            <p:cNvSpPr/>
            <p:nvPr/>
          </p:nvSpPr>
          <p:spPr>
            <a:xfrm flipV="1">
              <a:off x="6076200" y="3339611"/>
              <a:ext cx="55092" cy="32089"/>
            </a:xfrm>
            <a:custGeom>
              <a:avLst/>
              <a:gdLst>
                <a:gd name="connsiteX0" fmla="*/ 47935 w 55092"/>
                <a:gd name="connsiteY0" fmla="*/ 15297 h 32089"/>
                <a:gd name="connsiteX1" fmla="*/ 30160 w 55092"/>
                <a:gd name="connsiteY1" fmla="*/ 25592 h 32089"/>
                <a:gd name="connsiteX2" fmla="*/ 10293 w 55092"/>
                <a:gd name="connsiteY2" fmla="*/ 18988 h 32089"/>
                <a:gd name="connsiteX3" fmla="*/ -7158 w 55092"/>
                <a:gd name="connsiteY3" fmla="*/ 2464 h 32089"/>
                <a:gd name="connsiteX4" fmla="*/ 15124 w 55092"/>
                <a:gd name="connsiteY4" fmla="*/ -6454 h 32089"/>
                <a:gd name="connsiteX5" fmla="*/ 34141 w 55092"/>
                <a:gd name="connsiteY5" fmla="*/ 236 h 32089"/>
                <a:gd name="connsiteX6" fmla="*/ 47935 w 55092"/>
                <a:gd name="connsiteY6" fmla="*/ 15297 h 32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92" h="32089">
                  <a:moveTo>
                    <a:pt x="47935" y="15297"/>
                  </a:moveTo>
                  <a:cubicBezTo>
                    <a:pt x="44304" y="21434"/>
                    <a:pt x="37275" y="25177"/>
                    <a:pt x="30160" y="25592"/>
                  </a:cubicBezTo>
                  <a:cubicBezTo>
                    <a:pt x="23045" y="26002"/>
                    <a:pt x="15945" y="23333"/>
                    <a:pt x="10293" y="18988"/>
                  </a:cubicBezTo>
                  <a:cubicBezTo>
                    <a:pt x="4637" y="14648"/>
                    <a:pt x="-3932" y="8819"/>
                    <a:pt x="-7158" y="2464"/>
                  </a:cubicBezTo>
                  <a:cubicBezTo>
                    <a:pt x="-3512" y="-3324"/>
                    <a:pt x="8288" y="-6363"/>
                    <a:pt x="15124" y="-6454"/>
                  </a:cubicBezTo>
                  <a:cubicBezTo>
                    <a:pt x="21961" y="-6545"/>
                    <a:pt x="28620" y="-3800"/>
                    <a:pt x="34141" y="236"/>
                  </a:cubicBezTo>
                  <a:cubicBezTo>
                    <a:pt x="39660" y="4272"/>
                    <a:pt x="43828" y="9832"/>
                    <a:pt x="47935" y="15297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</p:grp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F19D8AA8-AD51-27DB-CB66-CB79C53DB5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333" y="891038"/>
            <a:ext cx="6350000" cy="519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5677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5FFD05-DA13-4586-8689-F7C5A1E64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5FFD05-DA13-4586-8689-F7C5A1E64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CE9BFC-8864-4B3F-B888-5F528EA261BC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fld id="{00000000-1234-1234-1234-123412341234}" type="slidenum">
              <a:rPr kumimoji="0" lang="nl-NL" sz="1733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Ubuntu Ligh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  <a:tabLst/>
                <a:defRPr/>
              </a:pPr>
              <a:t>5</a:t>
            </a:fld>
            <a:endParaRPr kumimoji="0" lang="nl-NL" sz="1733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Ubuntu Light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27C0868B-A5FC-4E71-9B18-BB6D27B302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440" y="336182"/>
            <a:ext cx="11705119" cy="1318998"/>
          </a:xfrm>
        </p:spPr>
        <p:txBody>
          <a:bodyPr vert="horz" tIns="0" bIns="0" anchor="t"/>
          <a:lstStyle/>
          <a:p>
            <a:pPr algn="l"/>
            <a:r>
              <a:rPr lang="en-US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me Series Forecasting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EE3682B-36DD-8122-AD41-A50E944C57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30" y="6146867"/>
            <a:ext cx="1279999" cy="5248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6445B68-8578-CEF1-BEC4-5F4CFBBB43EB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220" y="6441734"/>
            <a:ext cx="1905000" cy="207708"/>
          </a:xfrm>
          <a:prstGeom prst="rect">
            <a:avLst/>
          </a:prstGeom>
        </p:spPr>
      </p:pic>
      <p:grpSp>
        <p:nvGrpSpPr>
          <p:cNvPr id="402" name="Group 401">
            <a:extLst>
              <a:ext uri="{FF2B5EF4-FFF2-40B4-BE49-F238E27FC236}">
                <a16:creationId xmlns:a16="http://schemas.microsoft.com/office/drawing/2014/main" id="{6F04B63D-62D0-5A0C-81C6-1E47E423DB94}"/>
              </a:ext>
            </a:extLst>
          </p:cNvPr>
          <p:cNvGrpSpPr/>
          <p:nvPr/>
        </p:nvGrpSpPr>
        <p:grpSpPr>
          <a:xfrm>
            <a:off x="9219999" y="3045399"/>
            <a:ext cx="2349065" cy="3101468"/>
            <a:chOff x="4953134" y="1836052"/>
            <a:chExt cx="2443737" cy="3226463"/>
          </a:xfrm>
        </p:grpSpPr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79B02943-6DB6-A9C8-B7C2-ADD56C1A2461}"/>
                </a:ext>
              </a:extLst>
            </p:cNvPr>
            <p:cNvSpPr/>
            <p:nvPr/>
          </p:nvSpPr>
          <p:spPr>
            <a:xfrm flipV="1">
              <a:off x="5055882" y="4176439"/>
              <a:ext cx="2332102" cy="886076"/>
            </a:xfrm>
            <a:custGeom>
              <a:avLst/>
              <a:gdLst>
                <a:gd name="connsiteX0" fmla="*/ 1712457 w 2332102"/>
                <a:gd name="connsiteY0" fmla="*/ 886044 h 886076"/>
                <a:gd name="connsiteX1" fmla="*/ 2152586 w 2332102"/>
                <a:gd name="connsiteY1" fmla="*/ 872320 h 886076"/>
                <a:gd name="connsiteX2" fmla="*/ 2221154 w 2332102"/>
                <a:gd name="connsiteY2" fmla="*/ 789096 h 886076"/>
                <a:gd name="connsiteX3" fmla="*/ 2168943 w 2332102"/>
                <a:gd name="connsiteY3" fmla="*/ 456940 h 886076"/>
                <a:gd name="connsiteX4" fmla="*/ 2139469 w 2332102"/>
                <a:gd name="connsiteY4" fmla="*/ 269450 h 886076"/>
                <a:gd name="connsiteX5" fmla="*/ 2180692 w 2332102"/>
                <a:gd name="connsiteY5" fmla="*/ 192622 h 886076"/>
                <a:gd name="connsiteX6" fmla="*/ 2289976 w 2332102"/>
                <a:gd name="connsiteY6" fmla="*/ 143100 h 886076"/>
                <a:gd name="connsiteX7" fmla="*/ 2331704 w 2332102"/>
                <a:gd name="connsiteY7" fmla="*/ 70182 h 886076"/>
                <a:gd name="connsiteX8" fmla="*/ 2324248 w 2332102"/>
                <a:gd name="connsiteY8" fmla="*/ 0 h 886076"/>
                <a:gd name="connsiteX9" fmla="*/ 0 w 2332102"/>
                <a:gd name="connsiteY9" fmla="*/ 0 h 886076"/>
                <a:gd name="connsiteX10" fmla="*/ 73708 w 2332102"/>
                <a:gd name="connsiteY10" fmla="*/ 102957 h 886076"/>
                <a:gd name="connsiteX11" fmla="*/ 128062 w 2332102"/>
                <a:gd name="connsiteY11" fmla="*/ 127913 h 886076"/>
                <a:gd name="connsiteX12" fmla="*/ 182815 w 2332102"/>
                <a:gd name="connsiteY12" fmla="*/ 191498 h 886076"/>
                <a:gd name="connsiteX13" fmla="*/ 237169 w 2332102"/>
                <a:gd name="connsiteY13" fmla="*/ 216454 h 886076"/>
                <a:gd name="connsiteX14" fmla="*/ 523722 w 2332102"/>
                <a:gd name="connsiteY14" fmla="*/ 226284 h 886076"/>
                <a:gd name="connsiteX15" fmla="*/ 586725 w 2332102"/>
                <a:gd name="connsiteY15" fmla="*/ 263698 h 886076"/>
                <a:gd name="connsiteX16" fmla="*/ 658272 w 2332102"/>
                <a:gd name="connsiteY16" fmla="*/ 399715 h 886076"/>
                <a:gd name="connsiteX17" fmla="*/ 721279 w 2332102"/>
                <a:gd name="connsiteY17" fmla="*/ 437174 h 886076"/>
                <a:gd name="connsiteX18" fmla="*/ 914729 w 2332102"/>
                <a:gd name="connsiteY18" fmla="*/ 437174 h 886076"/>
                <a:gd name="connsiteX19" fmla="*/ 980219 w 2332102"/>
                <a:gd name="connsiteY19" fmla="*/ 479668 h 886076"/>
                <a:gd name="connsiteX20" fmla="*/ 1333903 w 2332102"/>
                <a:gd name="connsiteY20" fmla="*/ 795588 h 886076"/>
                <a:gd name="connsiteX21" fmla="*/ 1395199 w 2332102"/>
                <a:gd name="connsiteY21" fmla="*/ 837985 h 886076"/>
                <a:gd name="connsiteX22" fmla="*/ 1620492 w 2332102"/>
                <a:gd name="connsiteY22" fmla="*/ 851173 h 886076"/>
                <a:gd name="connsiteX23" fmla="*/ 1663274 w 2332102"/>
                <a:gd name="connsiteY23" fmla="*/ 868558 h 886076"/>
                <a:gd name="connsiteX24" fmla="*/ 1712457 w 2332102"/>
                <a:gd name="connsiteY24" fmla="*/ 886044 h 886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332102" h="886076">
                  <a:moveTo>
                    <a:pt x="1712457" y="886044"/>
                  </a:moveTo>
                  <a:lnTo>
                    <a:pt x="2152586" y="872320"/>
                  </a:lnTo>
                  <a:cubicBezTo>
                    <a:pt x="2195884" y="870953"/>
                    <a:pt x="2228092" y="831833"/>
                    <a:pt x="2221154" y="789096"/>
                  </a:cubicBezTo>
                  <a:lnTo>
                    <a:pt x="2168943" y="456940"/>
                  </a:lnTo>
                  <a:lnTo>
                    <a:pt x="2139469" y="269450"/>
                  </a:lnTo>
                  <a:cubicBezTo>
                    <a:pt x="2134304" y="237455"/>
                    <a:pt x="2151168" y="205956"/>
                    <a:pt x="2180692" y="192622"/>
                  </a:cubicBezTo>
                  <a:lnTo>
                    <a:pt x="2289976" y="143100"/>
                  </a:lnTo>
                  <a:cubicBezTo>
                    <a:pt x="2318183" y="130354"/>
                    <a:pt x="2334945" y="100951"/>
                    <a:pt x="2331704" y="70182"/>
                  </a:cubicBezTo>
                  <a:lnTo>
                    <a:pt x="2324248" y="0"/>
                  </a:lnTo>
                  <a:lnTo>
                    <a:pt x="0" y="0"/>
                  </a:lnTo>
                  <a:lnTo>
                    <a:pt x="73708" y="102957"/>
                  </a:lnTo>
                  <a:cubicBezTo>
                    <a:pt x="94603" y="102957"/>
                    <a:pt x="114439" y="112087"/>
                    <a:pt x="128062" y="127913"/>
                  </a:cubicBezTo>
                  <a:lnTo>
                    <a:pt x="182815" y="191498"/>
                  </a:lnTo>
                  <a:cubicBezTo>
                    <a:pt x="196438" y="207324"/>
                    <a:pt x="216314" y="216454"/>
                    <a:pt x="237169" y="216454"/>
                  </a:cubicBezTo>
                  <a:lnTo>
                    <a:pt x="523722" y="226284"/>
                  </a:lnTo>
                  <a:cubicBezTo>
                    <a:pt x="549995" y="226284"/>
                    <a:pt x="574126" y="240646"/>
                    <a:pt x="586725" y="263698"/>
                  </a:cubicBezTo>
                  <a:lnTo>
                    <a:pt x="658272" y="399715"/>
                  </a:lnTo>
                  <a:cubicBezTo>
                    <a:pt x="670830" y="422818"/>
                    <a:pt x="695002" y="437174"/>
                    <a:pt x="721279" y="437174"/>
                  </a:cubicBezTo>
                  <a:lnTo>
                    <a:pt x="914729" y="437174"/>
                  </a:lnTo>
                  <a:cubicBezTo>
                    <a:pt x="943007" y="437174"/>
                    <a:pt x="968698" y="453830"/>
                    <a:pt x="980219" y="479668"/>
                  </a:cubicBezTo>
                  <a:lnTo>
                    <a:pt x="1333903" y="795588"/>
                  </a:lnTo>
                  <a:cubicBezTo>
                    <a:pt x="1344796" y="820063"/>
                    <a:pt x="1368435" y="836421"/>
                    <a:pt x="1395199" y="837985"/>
                  </a:cubicBezTo>
                  <a:lnTo>
                    <a:pt x="1620492" y="851173"/>
                  </a:lnTo>
                  <a:cubicBezTo>
                    <a:pt x="1636267" y="852099"/>
                    <a:pt x="1651313" y="858206"/>
                    <a:pt x="1663274" y="868558"/>
                  </a:cubicBezTo>
                  <a:cubicBezTo>
                    <a:pt x="1676901" y="880377"/>
                    <a:pt x="1694438" y="886581"/>
                    <a:pt x="1712457" y="886044"/>
                  </a:cubicBez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5C64E0CF-98FD-02A4-D9F3-C36D90BCB663}"/>
                </a:ext>
              </a:extLst>
            </p:cNvPr>
            <p:cNvSpPr/>
            <p:nvPr/>
          </p:nvSpPr>
          <p:spPr>
            <a:xfrm flipV="1">
              <a:off x="5031388" y="4140655"/>
              <a:ext cx="2264931" cy="921860"/>
            </a:xfrm>
            <a:custGeom>
              <a:avLst/>
              <a:gdLst>
                <a:gd name="connsiteX0" fmla="*/ 1738049 w 2264931"/>
                <a:gd name="connsiteY0" fmla="*/ 921811 h 921860"/>
                <a:gd name="connsiteX1" fmla="*/ 2226935 w 2264931"/>
                <a:gd name="connsiteY1" fmla="*/ 908087 h 921860"/>
                <a:gd name="connsiteX2" fmla="*/ 2264916 w 2264931"/>
                <a:gd name="connsiteY2" fmla="*/ 867944 h 921860"/>
                <a:gd name="connsiteX3" fmla="*/ 2224758 w 2264931"/>
                <a:gd name="connsiteY3" fmla="*/ 829948 h 921860"/>
                <a:gd name="connsiteX4" fmla="*/ 1735800 w 2264931"/>
                <a:gd name="connsiteY4" fmla="*/ 843671 h 921860"/>
                <a:gd name="connsiteX5" fmla="*/ 1713285 w 2264931"/>
                <a:gd name="connsiteY5" fmla="*/ 835756 h 921860"/>
                <a:gd name="connsiteX6" fmla="*/ 1647204 w 2264931"/>
                <a:gd name="connsiteY6" fmla="*/ 808896 h 921860"/>
                <a:gd name="connsiteX7" fmla="*/ 1421911 w 2264931"/>
                <a:gd name="connsiteY7" fmla="*/ 795709 h 921860"/>
                <a:gd name="connsiteX8" fmla="*/ 1394124 w 2264931"/>
                <a:gd name="connsiteY8" fmla="*/ 776663 h 921860"/>
                <a:gd name="connsiteX9" fmla="*/ 1040328 w 2264931"/>
                <a:gd name="connsiteY9" fmla="*/ 460428 h 921860"/>
                <a:gd name="connsiteX10" fmla="*/ 939136 w 2264931"/>
                <a:gd name="connsiteY10" fmla="*/ 394837 h 921860"/>
                <a:gd name="connsiteX11" fmla="*/ 745681 w 2264931"/>
                <a:gd name="connsiteY11" fmla="*/ 394837 h 921860"/>
                <a:gd name="connsiteX12" fmla="*/ 717110 w 2264931"/>
                <a:gd name="connsiteY12" fmla="*/ 377938 h 921860"/>
                <a:gd name="connsiteX13" fmla="*/ 645417 w 2264931"/>
                <a:gd name="connsiteY13" fmla="*/ 241678 h 921860"/>
                <a:gd name="connsiteX14" fmla="*/ 548125 w 2264931"/>
                <a:gd name="connsiteY14" fmla="*/ 183896 h 921860"/>
                <a:gd name="connsiteX15" fmla="*/ 261586 w 2264931"/>
                <a:gd name="connsiteY15" fmla="*/ 174082 h 921860"/>
                <a:gd name="connsiteX16" fmla="*/ 248009 w 2264931"/>
                <a:gd name="connsiteY16" fmla="*/ 171104 h 921860"/>
                <a:gd name="connsiteX17" fmla="*/ 178821 w 2264931"/>
                <a:gd name="connsiteY17" fmla="*/ 77495 h 921860"/>
                <a:gd name="connsiteX18" fmla="*/ 118999 w 2264931"/>
                <a:gd name="connsiteY18" fmla="*/ 0 h 921860"/>
                <a:gd name="connsiteX19" fmla="*/ 0 w 2264931"/>
                <a:gd name="connsiteY19" fmla="*/ 0 h 921860"/>
                <a:gd name="connsiteX20" fmla="*/ 12032 w 2264931"/>
                <a:gd name="connsiteY20" fmla="*/ 15450 h 921860"/>
                <a:gd name="connsiteX21" fmla="*/ 157123 w 2264931"/>
                <a:gd name="connsiteY21" fmla="*/ 196794 h 921860"/>
                <a:gd name="connsiteX22" fmla="*/ 172847 w 2264931"/>
                <a:gd name="connsiteY22" fmla="*/ 208128 h 921860"/>
                <a:gd name="connsiteX23" fmla="*/ 177632 w 2264931"/>
                <a:gd name="connsiteY23" fmla="*/ 213693 h 921860"/>
                <a:gd name="connsiteX24" fmla="*/ 261586 w 2264931"/>
                <a:gd name="connsiteY24" fmla="*/ 252226 h 921860"/>
                <a:gd name="connsiteX25" fmla="*/ 548125 w 2264931"/>
                <a:gd name="connsiteY25" fmla="*/ 262041 h 921860"/>
                <a:gd name="connsiteX26" fmla="*/ 576747 w 2264931"/>
                <a:gd name="connsiteY26" fmla="*/ 278940 h 921860"/>
                <a:gd name="connsiteX27" fmla="*/ 648344 w 2264931"/>
                <a:gd name="connsiteY27" fmla="*/ 415104 h 921860"/>
                <a:gd name="connsiteX28" fmla="*/ 745681 w 2264931"/>
                <a:gd name="connsiteY28" fmla="*/ 472977 h 921860"/>
                <a:gd name="connsiteX29" fmla="*/ 939136 w 2264931"/>
                <a:gd name="connsiteY29" fmla="*/ 472977 h 921860"/>
                <a:gd name="connsiteX30" fmla="*/ 968827 w 2264931"/>
                <a:gd name="connsiteY30" fmla="*/ 492028 h 921860"/>
                <a:gd name="connsiteX31" fmla="*/ 1322623 w 2264931"/>
                <a:gd name="connsiteY31" fmla="*/ 808162 h 921860"/>
                <a:gd name="connsiteX32" fmla="*/ 1417368 w 2264931"/>
                <a:gd name="connsiteY32" fmla="*/ 873707 h 921860"/>
                <a:gd name="connsiteX33" fmla="*/ 1642615 w 2264931"/>
                <a:gd name="connsiteY33" fmla="*/ 886894 h 921860"/>
                <a:gd name="connsiteX34" fmla="*/ 1662148 w 2264931"/>
                <a:gd name="connsiteY34" fmla="*/ 894804 h 921860"/>
                <a:gd name="connsiteX35" fmla="*/ 1738049 w 2264931"/>
                <a:gd name="connsiteY35" fmla="*/ 921811 h 921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264931" h="921860">
                  <a:moveTo>
                    <a:pt x="1738049" y="921811"/>
                  </a:moveTo>
                  <a:lnTo>
                    <a:pt x="2226935" y="908087"/>
                  </a:lnTo>
                  <a:cubicBezTo>
                    <a:pt x="2248509" y="907454"/>
                    <a:pt x="2265524" y="889482"/>
                    <a:pt x="2264916" y="867944"/>
                  </a:cubicBezTo>
                  <a:cubicBezTo>
                    <a:pt x="2264309" y="846355"/>
                    <a:pt x="2246432" y="829309"/>
                    <a:pt x="2224758" y="829948"/>
                  </a:cubicBezTo>
                  <a:lnTo>
                    <a:pt x="1735800" y="843671"/>
                  </a:lnTo>
                  <a:cubicBezTo>
                    <a:pt x="1727500" y="843960"/>
                    <a:pt x="1719489" y="841129"/>
                    <a:pt x="1713285" y="835756"/>
                  </a:cubicBezTo>
                  <a:cubicBezTo>
                    <a:pt x="1694872" y="819840"/>
                    <a:pt x="1671425" y="810314"/>
                    <a:pt x="1647204" y="808896"/>
                  </a:cubicBezTo>
                  <a:lnTo>
                    <a:pt x="1421911" y="795709"/>
                  </a:lnTo>
                  <a:cubicBezTo>
                    <a:pt x="1409751" y="794975"/>
                    <a:pt x="1399152" y="787698"/>
                    <a:pt x="1394124" y="776663"/>
                  </a:cubicBezTo>
                  <a:lnTo>
                    <a:pt x="1040328" y="460428"/>
                  </a:lnTo>
                  <a:cubicBezTo>
                    <a:pt x="1022502" y="420578"/>
                    <a:pt x="982794" y="394837"/>
                    <a:pt x="939136" y="394837"/>
                  </a:cubicBezTo>
                  <a:lnTo>
                    <a:pt x="745681" y="394837"/>
                  </a:lnTo>
                  <a:cubicBezTo>
                    <a:pt x="733766" y="394837"/>
                    <a:pt x="722873" y="388345"/>
                    <a:pt x="717110" y="377938"/>
                  </a:cubicBezTo>
                  <a:lnTo>
                    <a:pt x="645417" y="241678"/>
                  </a:lnTo>
                  <a:cubicBezTo>
                    <a:pt x="625975" y="206026"/>
                    <a:pt x="588663" y="183896"/>
                    <a:pt x="548125" y="183896"/>
                  </a:cubicBezTo>
                  <a:lnTo>
                    <a:pt x="261586" y="174082"/>
                  </a:lnTo>
                  <a:cubicBezTo>
                    <a:pt x="256846" y="174082"/>
                    <a:pt x="252207" y="173059"/>
                    <a:pt x="248009" y="171104"/>
                  </a:cubicBezTo>
                  <a:cubicBezTo>
                    <a:pt x="246421" y="166769"/>
                    <a:pt x="219239" y="130274"/>
                    <a:pt x="178821" y="77495"/>
                  </a:cubicBezTo>
                  <a:lnTo>
                    <a:pt x="118999" y="0"/>
                  </a:lnTo>
                  <a:lnTo>
                    <a:pt x="0" y="0"/>
                  </a:lnTo>
                  <a:lnTo>
                    <a:pt x="12032" y="15450"/>
                  </a:lnTo>
                  <a:cubicBezTo>
                    <a:pt x="87829" y="112485"/>
                    <a:pt x="150528" y="191703"/>
                    <a:pt x="157123" y="196794"/>
                  </a:cubicBezTo>
                  <a:cubicBezTo>
                    <a:pt x="162005" y="200557"/>
                    <a:pt x="167281" y="204512"/>
                    <a:pt x="172847" y="208128"/>
                  </a:cubicBezTo>
                  <a:lnTo>
                    <a:pt x="177632" y="213693"/>
                  </a:lnTo>
                  <a:cubicBezTo>
                    <a:pt x="198730" y="238209"/>
                    <a:pt x="229307" y="252226"/>
                    <a:pt x="261586" y="252226"/>
                  </a:cubicBezTo>
                  <a:lnTo>
                    <a:pt x="548125" y="262041"/>
                  </a:lnTo>
                  <a:cubicBezTo>
                    <a:pt x="559995" y="262041"/>
                    <a:pt x="570933" y="268538"/>
                    <a:pt x="576747" y="278940"/>
                  </a:cubicBezTo>
                  <a:lnTo>
                    <a:pt x="648344" y="415104"/>
                  </a:lnTo>
                  <a:cubicBezTo>
                    <a:pt x="667785" y="450761"/>
                    <a:pt x="705047" y="472977"/>
                    <a:pt x="745681" y="472977"/>
                  </a:cubicBezTo>
                  <a:lnTo>
                    <a:pt x="939136" y="472977"/>
                  </a:lnTo>
                  <a:cubicBezTo>
                    <a:pt x="951928" y="472977"/>
                    <a:pt x="963551" y="480452"/>
                    <a:pt x="968827" y="492028"/>
                  </a:cubicBezTo>
                  <a:lnTo>
                    <a:pt x="1322623" y="808162"/>
                  </a:lnTo>
                  <a:cubicBezTo>
                    <a:pt x="1339517" y="846158"/>
                    <a:pt x="1375801" y="871261"/>
                    <a:pt x="1417368" y="873707"/>
                  </a:cubicBezTo>
                  <a:lnTo>
                    <a:pt x="1642615" y="886894"/>
                  </a:lnTo>
                  <a:cubicBezTo>
                    <a:pt x="1649796" y="887284"/>
                    <a:pt x="1656729" y="890115"/>
                    <a:pt x="1662148" y="894804"/>
                  </a:cubicBezTo>
                  <a:cubicBezTo>
                    <a:pt x="1683154" y="913020"/>
                    <a:pt x="1710110" y="922642"/>
                    <a:pt x="1738049" y="921811"/>
                  </a:cubicBezTo>
                  <a:close/>
                </a:path>
              </a:pathLst>
            </a:custGeom>
            <a:solidFill>
              <a:srgbClr val="FFFFFF">
                <a:lumMod val="6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AF685C71-18D8-FE22-7A3A-148470757868}"/>
                </a:ext>
              </a:extLst>
            </p:cNvPr>
            <p:cNvSpPr/>
            <p:nvPr/>
          </p:nvSpPr>
          <p:spPr>
            <a:xfrm flipV="1">
              <a:off x="6043587" y="4605097"/>
              <a:ext cx="1343972" cy="457418"/>
            </a:xfrm>
            <a:custGeom>
              <a:avLst/>
              <a:gdLst>
                <a:gd name="connsiteX0" fmla="*/ 1180805 w 1343972"/>
                <a:gd name="connsiteY0" fmla="*/ 457418 h 457418"/>
                <a:gd name="connsiteX1" fmla="*/ 1151332 w 1343972"/>
                <a:gd name="connsiteY1" fmla="*/ 269928 h 457418"/>
                <a:gd name="connsiteX2" fmla="*/ 1150370 w 1343972"/>
                <a:gd name="connsiteY2" fmla="*/ 258357 h 457418"/>
                <a:gd name="connsiteX3" fmla="*/ 1192554 w 1343972"/>
                <a:gd name="connsiteY3" fmla="*/ 193100 h 457418"/>
                <a:gd name="connsiteX4" fmla="*/ 1301838 w 1343972"/>
                <a:gd name="connsiteY4" fmla="*/ 143578 h 457418"/>
                <a:gd name="connsiteX5" fmla="*/ 1343972 w 1343972"/>
                <a:gd name="connsiteY5" fmla="*/ 78200 h 457418"/>
                <a:gd name="connsiteX6" fmla="*/ 1343567 w 1343972"/>
                <a:gd name="connsiteY6" fmla="*/ 70660 h 457418"/>
                <a:gd name="connsiteX7" fmla="*/ 1336046 w 1343972"/>
                <a:gd name="connsiteY7" fmla="*/ 0 h 457418"/>
                <a:gd name="connsiteX8" fmla="*/ 0 w 1343972"/>
                <a:gd name="connsiteY8" fmla="*/ 0 h 457418"/>
                <a:gd name="connsiteX9" fmla="*/ 17226 w 1343972"/>
                <a:gd name="connsiteY9" fmla="*/ 12174 h 457418"/>
                <a:gd name="connsiteX10" fmla="*/ 1180805 w 1343972"/>
                <a:gd name="connsiteY10" fmla="*/ 457418 h 457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3972" h="457418">
                  <a:moveTo>
                    <a:pt x="1180805" y="457418"/>
                  </a:moveTo>
                  <a:lnTo>
                    <a:pt x="1151332" y="269928"/>
                  </a:lnTo>
                  <a:cubicBezTo>
                    <a:pt x="1150674" y="266054"/>
                    <a:pt x="1150370" y="262185"/>
                    <a:pt x="1150370" y="258357"/>
                  </a:cubicBezTo>
                  <a:cubicBezTo>
                    <a:pt x="1150421" y="230575"/>
                    <a:pt x="1166626" y="204819"/>
                    <a:pt x="1192554" y="193100"/>
                  </a:cubicBezTo>
                  <a:lnTo>
                    <a:pt x="1301838" y="143578"/>
                  </a:lnTo>
                  <a:cubicBezTo>
                    <a:pt x="1327716" y="131880"/>
                    <a:pt x="1343972" y="106144"/>
                    <a:pt x="1343972" y="78200"/>
                  </a:cubicBezTo>
                  <a:cubicBezTo>
                    <a:pt x="1343972" y="75699"/>
                    <a:pt x="1343820" y="73187"/>
                    <a:pt x="1343567" y="70660"/>
                  </a:cubicBezTo>
                  <a:lnTo>
                    <a:pt x="1336046" y="0"/>
                  </a:lnTo>
                  <a:lnTo>
                    <a:pt x="0" y="0"/>
                  </a:lnTo>
                  <a:lnTo>
                    <a:pt x="17226" y="12174"/>
                  </a:lnTo>
                  <a:cubicBezTo>
                    <a:pt x="366552" y="242481"/>
                    <a:pt x="767068" y="393832"/>
                    <a:pt x="1180805" y="457418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59E0D9F7-34E4-76C4-A8B2-55FECA6CF2D2}"/>
                </a:ext>
              </a:extLst>
            </p:cNvPr>
            <p:cNvSpPr/>
            <p:nvPr/>
          </p:nvSpPr>
          <p:spPr>
            <a:xfrm flipV="1">
              <a:off x="6032041" y="3282869"/>
              <a:ext cx="116207" cy="90242"/>
            </a:xfrm>
            <a:custGeom>
              <a:avLst/>
              <a:gdLst>
                <a:gd name="connsiteX0" fmla="*/ 108333 w 116207"/>
                <a:gd name="connsiteY0" fmla="*/ 78109 h 90242"/>
                <a:gd name="connsiteX1" fmla="*/ 103891 w 116207"/>
                <a:gd name="connsiteY1" fmla="*/ 61493 h 90242"/>
                <a:gd name="connsiteX2" fmla="*/ 99299 w 116207"/>
                <a:gd name="connsiteY2" fmla="*/ 28759 h 90242"/>
                <a:gd name="connsiteX3" fmla="*/ 97217 w 116207"/>
                <a:gd name="connsiteY3" fmla="*/ 23148 h 90242"/>
                <a:gd name="connsiteX4" fmla="*/ 83230 w 116207"/>
                <a:gd name="connsiteY4" fmla="*/ 10670 h 90242"/>
                <a:gd name="connsiteX5" fmla="*/ 74216 w 116207"/>
                <a:gd name="connsiteY5" fmla="*/ 7611 h 90242"/>
                <a:gd name="connsiteX6" fmla="*/ 45771 w 116207"/>
                <a:gd name="connsiteY6" fmla="*/ 4375 h 90242"/>
                <a:gd name="connsiteX7" fmla="*/ 19872 w 116207"/>
                <a:gd name="connsiteY7" fmla="*/ -6518 h 90242"/>
                <a:gd name="connsiteX8" fmla="*/ -7135 w 116207"/>
                <a:gd name="connsiteY8" fmla="*/ 31048 h 90242"/>
                <a:gd name="connsiteX9" fmla="*/ 27438 w 116207"/>
                <a:gd name="connsiteY9" fmla="*/ 59305 h 90242"/>
                <a:gd name="connsiteX10" fmla="*/ 36888 w 116207"/>
                <a:gd name="connsiteY10" fmla="*/ 68857 h 90242"/>
                <a:gd name="connsiteX11" fmla="*/ 46986 w 116207"/>
                <a:gd name="connsiteY11" fmla="*/ 74088 h 90242"/>
                <a:gd name="connsiteX12" fmla="*/ 59211 w 116207"/>
                <a:gd name="connsiteY12" fmla="*/ 79375 h 90242"/>
                <a:gd name="connsiteX13" fmla="*/ 90720 w 116207"/>
                <a:gd name="connsiteY13" fmla="*/ 82910 h 90242"/>
                <a:gd name="connsiteX14" fmla="*/ 103076 w 116207"/>
                <a:gd name="connsiteY14" fmla="*/ 82783 h 90242"/>
                <a:gd name="connsiteX15" fmla="*/ 108333 w 116207"/>
                <a:gd name="connsiteY15" fmla="*/ 78109 h 90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6207" h="90242">
                  <a:moveTo>
                    <a:pt x="108333" y="78109"/>
                  </a:moveTo>
                  <a:cubicBezTo>
                    <a:pt x="110855" y="72584"/>
                    <a:pt x="106322" y="66922"/>
                    <a:pt x="103891" y="61493"/>
                  </a:cubicBezTo>
                  <a:cubicBezTo>
                    <a:pt x="99405" y="51411"/>
                    <a:pt x="102013" y="39262"/>
                    <a:pt x="99299" y="28759"/>
                  </a:cubicBezTo>
                  <a:cubicBezTo>
                    <a:pt x="98822" y="26819"/>
                    <a:pt x="98133" y="24946"/>
                    <a:pt x="97217" y="23148"/>
                  </a:cubicBezTo>
                  <a:cubicBezTo>
                    <a:pt x="94265" y="17481"/>
                    <a:pt x="89119" y="13389"/>
                    <a:pt x="83230" y="10670"/>
                  </a:cubicBezTo>
                  <a:cubicBezTo>
                    <a:pt x="80349" y="9333"/>
                    <a:pt x="77279" y="8310"/>
                    <a:pt x="74216" y="7611"/>
                  </a:cubicBezTo>
                  <a:cubicBezTo>
                    <a:pt x="64898" y="5464"/>
                    <a:pt x="55235" y="5595"/>
                    <a:pt x="45771" y="4375"/>
                  </a:cubicBezTo>
                  <a:cubicBezTo>
                    <a:pt x="36291" y="3170"/>
                    <a:pt x="26532" y="318"/>
                    <a:pt x="19872" y="-6518"/>
                  </a:cubicBezTo>
                  <a:cubicBezTo>
                    <a:pt x="17791" y="5069"/>
                    <a:pt x="1991" y="23603"/>
                    <a:pt x="-7135" y="31048"/>
                  </a:cubicBezTo>
                  <a:cubicBezTo>
                    <a:pt x="4558" y="39540"/>
                    <a:pt x="20612" y="46559"/>
                    <a:pt x="27438" y="59305"/>
                  </a:cubicBezTo>
                  <a:cubicBezTo>
                    <a:pt x="29591" y="63321"/>
                    <a:pt x="32902" y="66648"/>
                    <a:pt x="36888" y="68857"/>
                  </a:cubicBezTo>
                  <a:cubicBezTo>
                    <a:pt x="40220" y="70705"/>
                    <a:pt x="43588" y="72462"/>
                    <a:pt x="46986" y="74088"/>
                  </a:cubicBezTo>
                  <a:cubicBezTo>
                    <a:pt x="50991" y="75992"/>
                    <a:pt x="55048" y="77785"/>
                    <a:pt x="59211" y="79375"/>
                  </a:cubicBezTo>
                  <a:cubicBezTo>
                    <a:pt x="69040" y="83218"/>
                    <a:pt x="80318" y="80955"/>
                    <a:pt x="90720" y="82910"/>
                  </a:cubicBezTo>
                  <a:cubicBezTo>
                    <a:pt x="94816" y="83679"/>
                    <a:pt x="99050" y="84327"/>
                    <a:pt x="103076" y="82783"/>
                  </a:cubicBezTo>
                  <a:cubicBezTo>
                    <a:pt x="105350" y="81917"/>
                    <a:pt x="107310" y="80337"/>
                    <a:pt x="108333" y="78109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CAC34D72-24DB-E917-02AA-34F264839047}"/>
                </a:ext>
              </a:extLst>
            </p:cNvPr>
            <p:cNvSpPr/>
            <p:nvPr/>
          </p:nvSpPr>
          <p:spPr>
            <a:xfrm flipV="1">
              <a:off x="6079523" y="3292450"/>
              <a:ext cx="22221" cy="33139"/>
            </a:xfrm>
            <a:custGeom>
              <a:avLst/>
              <a:gdLst>
                <a:gd name="connsiteX0" fmla="*/ 15086 w 22221"/>
                <a:gd name="connsiteY0" fmla="*/ 26143 h 33139"/>
                <a:gd name="connsiteX1" fmla="*/ -7135 w 22221"/>
                <a:gd name="connsiteY1" fmla="*/ -6561 h 33139"/>
                <a:gd name="connsiteX2" fmla="*/ 592 w 22221"/>
                <a:gd name="connsiteY2" fmla="*/ 21292 h 33139"/>
                <a:gd name="connsiteX3" fmla="*/ 12817 w 22221"/>
                <a:gd name="connsiteY3" fmla="*/ 26579 h 33139"/>
                <a:gd name="connsiteX4" fmla="*/ 15086 w 22221"/>
                <a:gd name="connsiteY4" fmla="*/ 26143 h 33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21" h="33139">
                  <a:moveTo>
                    <a:pt x="15086" y="26143"/>
                  </a:moveTo>
                  <a:cubicBezTo>
                    <a:pt x="10078" y="1071"/>
                    <a:pt x="-7135" y="-6561"/>
                    <a:pt x="-7135" y="-6561"/>
                  </a:cubicBezTo>
                  <a:lnTo>
                    <a:pt x="592" y="21292"/>
                  </a:lnTo>
                  <a:cubicBezTo>
                    <a:pt x="4598" y="23196"/>
                    <a:pt x="8665" y="24989"/>
                    <a:pt x="12817" y="26579"/>
                  </a:cubicBezTo>
                  <a:lnTo>
                    <a:pt x="15086" y="26143"/>
                  </a:lnTo>
                </a:path>
              </a:pathLst>
            </a:custGeom>
            <a:solidFill>
              <a:srgbClr val="FFFFFF">
                <a:lumMod val="6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38F7967B-6513-BBF1-7D38-B706B9366D62}"/>
                </a:ext>
              </a:extLst>
            </p:cNvPr>
            <p:cNvSpPr/>
            <p:nvPr/>
          </p:nvSpPr>
          <p:spPr>
            <a:xfrm flipV="1">
              <a:off x="6091783" y="3334900"/>
              <a:ext cx="46691" cy="21023"/>
            </a:xfrm>
            <a:custGeom>
              <a:avLst/>
              <a:gdLst>
                <a:gd name="connsiteX0" fmla="*/ 39514 w 46691"/>
                <a:gd name="connsiteY0" fmla="*/ 11610 h 21023"/>
                <a:gd name="connsiteX1" fmla="*/ 37433 w 46691"/>
                <a:gd name="connsiteY1" fmla="*/ 5999 h 21023"/>
                <a:gd name="connsiteX2" fmla="*/ 23445 w 46691"/>
                <a:gd name="connsiteY2" fmla="*/ -6479 h 21023"/>
                <a:gd name="connsiteX3" fmla="*/ -7177 w 46691"/>
                <a:gd name="connsiteY3" fmla="*/ 1659 h 21023"/>
                <a:gd name="connsiteX4" fmla="*/ 39514 w 46691"/>
                <a:gd name="connsiteY4" fmla="*/ 11610 h 21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91" h="21023">
                  <a:moveTo>
                    <a:pt x="39514" y="11610"/>
                  </a:moveTo>
                  <a:cubicBezTo>
                    <a:pt x="39038" y="9670"/>
                    <a:pt x="38349" y="7797"/>
                    <a:pt x="37433" y="5999"/>
                  </a:cubicBezTo>
                  <a:cubicBezTo>
                    <a:pt x="34480" y="332"/>
                    <a:pt x="29335" y="-3760"/>
                    <a:pt x="23445" y="-6479"/>
                  </a:cubicBezTo>
                  <a:lnTo>
                    <a:pt x="-7177" y="1659"/>
                  </a:lnTo>
                  <a:cubicBezTo>
                    <a:pt x="-7177" y="1659"/>
                    <a:pt x="7651" y="21946"/>
                    <a:pt x="39514" y="11610"/>
                  </a:cubicBezTo>
                </a:path>
              </a:pathLst>
            </a:custGeom>
            <a:solidFill>
              <a:srgbClr val="FFFFFF">
                <a:lumMod val="6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D282E240-A30E-AACF-A842-CB429B389830}"/>
                </a:ext>
              </a:extLst>
            </p:cNvPr>
            <p:cNvSpPr/>
            <p:nvPr/>
          </p:nvSpPr>
          <p:spPr>
            <a:xfrm flipV="1">
              <a:off x="5443751" y="3300284"/>
              <a:ext cx="101201" cy="47007"/>
            </a:xfrm>
            <a:custGeom>
              <a:avLst/>
              <a:gdLst>
                <a:gd name="connsiteX0" fmla="*/ -6115 w 101201"/>
                <a:gd name="connsiteY0" fmla="*/ 39720 h 47007"/>
                <a:gd name="connsiteX1" fmla="*/ 95087 w 101201"/>
                <a:gd name="connsiteY1" fmla="*/ 40480 h 47007"/>
                <a:gd name="connsiteX2" fmla="*/ 90048 w 101201"/>
                <a:gd name="connsiteY2" fmla="*/ -6505 h 47007"/>
                <a:gd name="connsiteX3" fmla="*/ -5269 w 101201"/>
                <a:gd name="connsiteY3" fmla="*/ 17565 h 47007"/>
                <a:gd name="connsiteX4" fmla="*/ -6115 w 101201"/>
                <a:gd name="connsiteY4" fmla="*/ 39720 h 4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01" h="47007">
                  <a:moveTo>
                    <a:pt x="-6115" y="39720"/>
                  </a:moveTo>
                  <a:lnTo>
                    <a:pt x="95087" y="40480"/>
                  </a:lnTo>
                  <a:cubicBezTo>
                    <a:pt x="95087" y="40480"/>
                    <a:pt x="90068" y="-7720"/>
                    <a:pt x="90048" y="-6505"/>
                  </a:cubicBezTo>
                  <a:cubicBezTo>
                    <a:pt x="90033" y="-5290"/>
                    <a:pt x="-5269" y="17565"/>
                    <a:pt x="-5269" y="17565"/>
                  </a:cubicBezTo>
                  <a:lnTo>
                    <a:pt x="-6115" y="39720"/>
                  </a:ln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21EF6459-132E-B5F2-8E45-3B0DC28CF8E5}"/>
                </a:ext>
              </a:extLst>
            </p:cNvPr>
            <p:cNvSpPr/>
            <p:nvPr/>
          </p:nvSpPr>
          <p:spPr>
            <a:xfrm flipV="1">
              <a:off x="5098757" y="3780134"/>
              <a:ext cx="121687" cy="76054"/>
            </a:xfrm>
            <a:custGeom>
              <a:avLst/>
              <a:gdLst>
                <a:gd name="connsiteX0" fmla="*/ 940 w 121687"/>
                <a:gd name="connsiteY0" fmla="*/ 52599 h 76054"/>
                <a:gd name="connsiteX1" fmla="*/ -5542 w 121687"/>
                <a:gd name="connsiteY1" fmla="*/ 14263 h 76054"/>
                <a:gd name="connsiteX2" fmla="*/ 11463 w 121687"/>
                <a:gd name="connsiteY2" fmla="*/ 11387 h 76054"/>
                <a:gd name="connsiteX3" fmla="*/ 17946 w 121687"/>
                <a:gd name="connsiteY3" fmla="*/ 49722 h 76054"/>
                <a:gd name="connsiteX4" fmla="*/ 23015 w 121687"/>
                <a:gd name="connsiteY4" fmla="*/ 53328 h 76054"/>
                <a:gd name="connsiteX5" fmla="*/ 95234 w 121687"/>
                <a:gd name="connsiteY5" fmla="*/ 40855 h 76054"/>
                <a:gd name="connsiteX6" fmla="*/ 98835 w 121687"/>
                <a:gd name="connsiteY6" fmla="*/ 35791 h 76054"/>
                <a:gd name="connsiteX7" fmla="*/ 92353 w 121687"/>
                <a:gd name="connsiteY7" fmla="*/ -2550 h 76054"/>
                <a:gd name="connsiteX8" fmla="*/ 109358 w 121687"/>
                <a:gd name="connsiteY8" fmla="*/ -5421 h 76054"/>
                <a:gd name="connsiteX9" fmla="*/ 115840 w 121687"/>
                <a:gd name="connsiteY9" fmla="*/ 32914 h 76054"/>
                <a:gd name="connsiteX10" fmla="*/ 98111 w 121687"/>
                <a:gd name="connsiteY10" fmla="*/ 57860 h 76054"/>
                <a:gd name="connsiteX11" fmla="*/ 25886 w 121687"/>
                <a:gd name="connsiteY11" fmla="*/ 70328 h 76054"/>
                <a:gd name="connsiteX12" fmla="*/ 940 w 121687"/>
                <a:gd name="connsiteY12" fmla="*/ 52599 h 76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687" h="76054">
                  <a:moveTo>
                    <a:pt x="940" y="52599"/>
                  </a:moveTo>
                  <a:lnTo>
                    <a:pt x="-5542" y="14263"/>
                  </a:lnTo>
                  <a:lnTo>
                    <a:pt x="11463" y="11387"/>
                  </a:lnTo>
                  <a:lnTo>
                    <a:pt x="17946" y="49722"/>
                  </a:lnTo>
                  <a:cubicBezTo>
                    <a:pt x="18346" y="52107"/>
                    <a:pt x="20635" y="53728"/>
                    <a:pt x="23015" y="53328"/>
                  </a:cubicBezTo>
                  <a:lnTo>
                    <a:pt x="95234" y="40855"/>
                  </a:lnTo>
                  <a:cubicBezTo>
                    <a:pt x="97614" y="40455"/>
                    <a:pt x="99240" y="38171"/>
                    <a:pt x="98835" y="35791"/>
                  </a:cubicBezTo>
                  <a:lnTo>
                    <a:pt x="92353" y="-2550"/>
                  </a:lnTo>
                  <a:lnTo>
                    <a:pt x="109358" y="-5421"/>
                  </a:lnTo>
                  <a:lnTo>
                    <a:pt x="115840" y="32914"/>
                  </a:lnTo>
                  <a:cubicBezTo>
                    <a:pt x="117830" y="44689"/>
                    <a:pt x="109885" y="55870"/>
                    <a:pt x="98111" y="57860"/>
                  </a:cubicBezTo>
                  <a:lnTo>
                    <a:pt x="25886" y="70328"/>
                  </a:lnTo>
                  <a:cubicBezTo>
                    <a:pt x="14112" y="72318"/>
                    <a:pt x="2930" y="64373"/>
                    <a:pt x="940" y="52599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DD4B7F8C-6E22-2451-4C0F-C51446895EA1}"/>
                </a:ext>
              </a:extLst>
            </p:cNvPr>
            <p:cNvSpPr/>
            <p:nvPr/>
          </p:nvSpPr>
          <p:spPr>
            <a:xfrm flipV="1">
              <a:off x="5095364" y="3820953"/>
              <a:ext cx="25867" cy="13146"/>
            </a:xfrm>
            <a:custGeom>
              <a:avLst/>
              <a:gdLst>
                <a:gd name="connsiteX0" fmla="*/ 17420 w 25867"/>
                <a:gd name="connsiteY0" fmla="*/ 4348 h 13146"/>
                <a:gd name="connsiteX1" fmla="*/ -51 w 25867"/>
                <a:gd name="connsiteY1" fmla="*/ 7681 h 13146"/>
                <a:gd name="connsiteX2" fmla="*/ -4355 w 25867"/>
                <a:gd name="connsiteY2" fmla="*/ 4753 h 13146"/>
                <a:gd name="connsiteX3" fmla="*/ -5454 w 25867"/>
                <a:gd name="connsiteY3" fmla="*/ -1020 h 13146"/>
                <a:gd name="connsiteX4" fmla="*/ 19309 w 25867"/>
                <a:gd name="connsiteY4" fmla="*/ -5400 h 13146"/>
                <a:gd name="connsiteX5" fmla="*/ 20347 w 25867"/>
                <a:gd name="connsiteY5" fmla="*/ 44 h 13146"/>
                <a:gd name="connsiteX6" fmla="*/ 17420 w 25867"/>
                <a:gd name="connsiteY6" fmla="*/ 4348 h 1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67" h="13146">
                  <a:moveTo>
                    <a:pt x="17420" y="4348"/>
                  </a:moveTo>
                  <a:lnTo>
                    <a:pt x="-51" y="7681"/>
                  </a:lnTo>
                  <a:cubicBezTo>
                    <a:pt x="-2046" y="8060"/>
                    <a:pt x="-3971" y="6754"/>
                    <a:pt x="-4355" y="4753"/>
                  </a:cubicBezTo>
                  <a:lnTo>
                    <a:pt x="-5454" y="-1020"/>
                  </a:lnTo>
                  <a:lnTo>
                    <a:pt x="19309" y="-5400"/>
                  </a:lnTo>
                  <a:lnTo>
                    <a:pt x="20347" y="44"/>
                  </a:lnTo>
                  <a:cubicBezTo>
                    <a:pt x="20727" y="2039"/>
                    <a:pt x="19416" y="3968"/>
                    <a:pt x="17420" y="4348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B770F4D0-D976-E6AA-C73D-F9056FD077D7}"/>
                </a:ext>
              </a:extLst>
            </p:cNvPr>
            <p:cNvSpPr/>
            <p:nvPr/>
          </p:nvSpPr>
          <p:spPr>
            <a:xfrm flipV="1">
              <a:off x="5193760" y="3837675"/>
              <a:ext cx="25867" cy="13146"/>
            </a:xfrm>
            <a:custGeom>
              <a:avLst/>
              <a:gdLst>
                <a:gd name="connsiteX0" fmla="*/ 17252 w 25867"/>
                <a:gd name="connsiteY0" fmla="*/ 4386 h 13146"/>
                <a:gd name="connsiteX1" fmla="*/ -219 w 25867"/>
                <a:gd name="connsiteY1" fmla="*/ 7718 h 13146"/>
                <a:gd name="connsiteX2" fmla="*/ -4519 w 25867"/>
                <a:gd name="connsiteY2" fmla="*/ 4796 h 13146"/>
                <a:gd name="connsiteX3" fmla="*/ -5623 w 25867"/>
                <a:gd name="connsiteY3" fmla="*/ -977 h 13146"/>
                <a:gd name="connsiteX4" fmla="*/ 19136 w 25867"/>
                <a:gd name="connsiteY4" fmla="*/ -5363 h 13146"/>
                <a:gd name="connsiteX5" fmla="*/ 20179 w 25867"/>
                <a:gd name="connsiteY5" fmla="*/ 86 h 13146"/>
                <a:gd name="connsiteX6" fmla="*/ 17252 w 25867"/>
                <a:gd name="connsiteY6" fmla="*/ 4386 h 1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67" h="13146">
                  <a:moveTo>
                    <a:pt x="17252" y="4386"/>
                  </a:moveTo>
                  <a:lnTo>
                    <a:pt x="-219" y="7718"/>
                  </a:lnTo>
                  <a:cubicBezTo>
                    <a:pt x="-2215" y="8098"/>
                    <a:pt x="-4139" y="6791"/>
                    <a:pt x="-4519" y="4796"/>
                  </a:cubicBezTo>
                  <a:lnTo>
                    <a:pt x="-5623" y="-977"/>
                  </a:lnTo>
                  <a:lnTo>
                    <a:pt x="19136" y="-5363"/>
                  </a:lnTo>
                  <a:lnTo>
                    <a:pt x="20179" y="86"/>
                  </a:lnTo>
                  <a:cubicBezTo>
                    <a:pt x="20559" y="2082"/>
                    <a:pt x="19247" y="4001"/>
                    <a:pt x="17252" y="4386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FD910FB8-BD86-5971-F9C0-F1E1A6960112}"/>
                </a:ext>
              </a:extLst>
            </p:cNvPr>
            <p:cNvSpPr/>
            <p:nvPr/>
          </p:nvSpPr>
          <p:spPr>
            <a:xfrm flipV="1">
              <a:off x="4953134" y="3825465"/>
              <a:ext cx="352877" cy="281448"/>
            </a:xfrm>
            <a:custGeom>
              <a:avLst/>
              <a:gdLst>
                <a:gd name="connsiteX0" fmla="*/ 339132 w 352877"/>
                <a:gd name="connsiteY0" fmla="*/ 129302 h 281448"/>
                <a:gd name="connsiteX1" fmla="*/ 347387 w 352877"/>
                <a:gd name="connsiteY1" fmla="*/ 226011 h 281448"/>
                <a:gd name="connsiteX2" fmla="*/ 49682 w 352877"/>
                <a:gd name="connsiteY2" fmla="*/ 276359 h 281448"/>
                <a:gd name="connsiteX3" fmla="*/ 25678 w 352877"/>
                <a:gd name="connsiteY3" fmla="*/ 182313 h 281448"/>
                <a:gd name="connsiteX4" fmla="*/ -5148 w 352877"/>
                <a:gd name="connsiteY4" fmla="*/ 61392 h 281448"/>
                <a:gd name="connsiteX5" fmla="*/ 3674 w 352877"/>
                <a:gd name="connsiteY5" fmla="*/ 47830 h 281448"/>
                <a:gd name="connsiteX6" fmla="*/ 315691 w 352877"/>
                <a:gd name="connsiteY6" fmla="*/ -4933 h 281448"/>
                <a:gd name="connsiteX7" fmla="*/ 328478 w 352877"/>
                <a:gd name="connsiteY7" fmla="*/ 4967 h 281448"/>
                <a:gd name="connsiteX8" fmla="*/ 339132 w 352877"/>
                <a:gd name="connsiteY8" fmla="*/ 129302 h 281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877" h="281448">
                  <a:moveTo>
                    <a:pt x="339132" y="129302"/>
                  </a:moveTo>
                  <a:lnTo>
                    <a:pt x="347387" y="226011"/>
                  </a:lnTo>
                  <a:lnTo>
                    <a:pt x="49682" y="276359"/>
                  </a:lnTo>
                  <a:lnTo>
                    <a:pt x="25678" y="182313"/>
                  </a:lnTo>
                  <a:lnTo>
                    <a:pt x="-5148" y="61392"/>
                  </a:lnTo>
                  <a:cubicBezTo>
                    <a:pt x="-6733" y="55158"/>
                    <a:pt x="-2661" y="48904"/>
                    <a:pt x="3674" y="47830"/>
                  </a:cubicBezTo>
                  <a:lnTo>
                    <a:pt x="315691" y="-4933"/>
                  </a:lnTo>
                  <a:cubicBezTo>
                    <a:pt x="322026" y="-6007"/>
                    <a:pt x="327931" y="-1434"/>
                    <a:pt x="328478" y="4967"/>
                  </a:cubicBezTo>
                  <a:lnTo>
                    <a:pt x="339132" y="129302"/>
                  </a:lnTo>
                </a:path>
              </a:pathLst>
            </a:custGeom>
            <a:solidFill>
              <a:srgbClr val="4DA5C3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59B5CA09-8761-5AE0-ACB2-D0EC66F81E58}"/>
                </a:ext>
              </a:extLst>
            </p:cNvPr>
            <p:cNvSpPr/>
            <p:nvPr/>
          </p:nvSpPr>
          <p:spPr>
            <a:xfrm flipV="1">
              <a:off x="4976775" y="3813776"/>
              <a:ext cx="340513" cy="187232"/>
            </a:xfrm>
            <a:custGeom>
              <a:avLst/>
              <a:gdLst>
                <a:gd name="connsiteX0" fmla="*/ 327854 w 340513"/>
                <a:gd name="connsiteY0" fmla="*/ 36760 h 187232"/>
                <a:gd name="connsiteX1" fmla="*/ 334954 w 340513"/>
                <a:gd name="connsiteY1" fmla="*/ 119893 h 187232"/>
                <a:gd name="connsiteX2" fmla="*/ 326030 w 340513"/>
                <a:gd name="connsiteY2" fmla="*/ 131414 h 187232"/>
                <a:gd name="connsiteX3" fmla="*/ 27743 w 340513"/>
                <a:gd name="connsiteY3" fmla="*/ 181858 h 187232"/>
                <a:gd name="connsiteX4" fmla="*/ 15528 w 340513"/>
                <a:gd name="connsiteY4" fmla="*/ 173917 h 187232"/>
                <a:gd name="connsiteX5" fmla="*/ -5103 w 340513"/>
                <a:gd name="connsiteY5" fmla="*/ 93068 h 187232"/>
                <a:gd name="connsiteX6" fmla="*/ 1313 w 340513"/>
                <a:gd name="connsiteY6" fmla="*/ 78078 h 187232"/>
                <a:gd name="connsiteX7" fmla="*/ 149515 w 340513"/>
                <a:gd name="connsiteY7" fmla="*/ -5221 h 187232"/>
                <a:gd name="connsiteX8" fmla="*/ 316870 w 340513"/>
                <a:gd name="connsiteY8" fmla="*/ 24713 h 187232"/>
                <a:gd name="connsiteX9" fmla="*/ 327854 w 340513"/>
                <a:gd name="connsiteY9" fmla="*/ 36760 h 187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0513" h="187232">
                  <a:moveTo>
                    <a:pt x="327854" y="36760"/>
                  </a:moveTo>
                  <a:lnTo>
                    <a:pt x="334954" y="119893"/>
                  </a:lnTo>
                  <a:cubicBezTo>
                    <a:pt x="335430" y="125473"/>
                    <a:pt x="331550" y="130477"/>
                    <a:pt x="326030" y="131414"/>
                  </a:cubicBezTo>
                  <a:lnTo>
                    <a:pt x="27743" y="181858"/>
                  </a:lnTo>
                  <a:cubicBezTo>
                    <a:pt x="22223" y="182795"/>
                    <a:pt x="16911" y="179336"/>
                    <a:pt x="15528" y="173917"/>
                  </a:cubicBezTo>
                  <a:lnTo>
                    <a:pt x="-5103" y="93068"/>
                  </a:lnTo>
                  <a:cubicBezTo>
                    <a:pt x="-6602" y="87194"/>
                    <a:pt x="-3974" y="81051"/>
                    <a:pt x="1313" y="78078"/>
                  </a:cubicBezTo>
                  <a:lnTo>
                    <a:pt x="149515" y="-5221"/>
                  </a:lnTo>
                  <a:lnTo>
                    <a:pt x="316870" y="24713"/>
                  </a:lnTo>
                  <a:cubicBezTo>
                    <a:pt x="322835" y="25781"/>
                    <a:pt x="327342" y="30719"/>
                    <a:pt x="327854" y="36760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6DCC972B-0DEB-F74D-9A2C-2261706E51A6}"/>
                </a:ext>
              </a:extLst>
            </p:cNvPr>
            <p:cNvSpPr/>
            <p:nvPr/>
          </p:nvSpPr>
          <p:spPr>
            <a:xfrm flipV="1">
              <a:off x="5110946" y="3973581"/>
              <a:ext cx="47248" cy="40123"/>
            </a:xfrm>
            <a:custGeom>
              <a:avLst/>
              <a:gdLst>
                <a:gd name="connsiteX0" fmla="*/ 41749 w 47248"/>
                <a:gd name="connsiteY0" fmla="*/ 27640 h 40123"/>
                <a:gd name="connsiteX1" fmla="*/ 39136 w 47248"/>
                <a:gd name="connsiteY1" fmla="*/ 11972 h 40123"/>
                <a:gd name="connsiteX2" fmla="*/ 25721 w 47248"/>
                <a:gd name="connsiteY2" fmla="*/ -5028 h 40123"/>
                <a:gd name="connsiteX3" fmla="*/ 1661 w 47248"/>
                <a:gd name="connsiteY3" fmla="*/ -1008 h 40123"/>
                <a:gd name="connsiteX4" fmla="*/ -5499 w 47248"/>
                <a:gd name="connsiteY4" fmla="*/ 19421 h 40123"/>
                <a:gd name="connsiteX5" fmla="*/ -2886 w 47248"/>
                <a:gd name="connsiteY5" fmla="*/ 35095 h 40123"/>
                <a:gd name="connsiteX6" fmla="*/ 41749 w 47248"/>
                <a:gd name="connsiteY6" fmla="*/ 27640 h 4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48" h="40123">
                  <a:moveTo>
                    <a:pt x="41749" y="27640"/>
                  </a:moveTo>
                  <a:lnTo>
                    <a:pt x="39136" y="11972"/>
                  </a:lnTo>
                  <a:cubicBezTo>
                    <a:pt x="39136" y="11972"/>
                    <a:pt x="27104" y="10453"/>
                    <a:pt x="25721" y="-5028"/>
                  </a:cubicBezTo>
                  <a:lnTo>
                    <a:pt x="1661" y="-1008"/>
                  </a:lnTo>
                  <a:cubicBezTo>
                    <a:pt x="5389" y="14079"/>
                    <a:pt x="-5499" y="19421"/>
                    <a:pt x="-5499" y="19421"/>
                  </a:cubicBezTo>
                  <a:lnTo>
                    <a:pt x="-2886" y="35095"/>
                  </a:lnTo>
                  <a:lnTo>
                    <a:pt x="41749" y="27640"/>
                  </a:ln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15E39918-37CE-8AB2-9026-50B339782273}"/>
                </a:ext>
              </a:extLst>
            </p:cNvPr>
            <p:cNvSpPr/>
            <p:nvPr/>
          </p:nvSpPr>
          <p:spPr>
            <a:xfrm flipV="1">
              <a:off x="5106164" y="3999150"/>
              <a:ext cx="47766" cy="34574"/>
            </a:xfrm>
            <a:custGeom>
              <a:avLst/>
              <a:gdLst>
                <a:gd name="connsiteX0" fmla="*/ -2365 w 47766"/>
                <a:gd name="connsiteY0" fmla="*/ 29597 h 34574"/>
                <a:gd name="connsiteX1" fmla="*/ -5338 w 47766"/>
                <a:gd name="connsiteY1" fmla="*/ 11802 h 34574"/>
                <a:gd name="connsiteX2" fmla="*/ 3828 w 47766"/>
                <a:gd name="connsiteY2" fmla="*/ -1041 h 34574"/>
                <a:gd name="connsiteX3" fmla="*/ 26460 w 47766"/>
                <a:gd name="connsiteY3" fmla="*/ -4824 h 34574"/>
                <a:gd name="connsiteX4" fmla="*/ 39302 w 47766"/>
                <a:gd name="connsiteY4" fmla="*/ 4342 h 34574"/>
                <a:gd name="connsiteX5" fmla="*/ 42275 w 47766"/>
                <a:gd name="connsiteY5" fmla="*/ 22143 h 34574"/>
                <a:gd name="connsiteX6" fmla="*/ -2365 w 47766"/>
                <a:gd name="connsiteY6" fmla="*/ 29597 h 34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766" h="34574">
                  <a:moveTo>
                    <a:pt x="-2365" y="29597"/>
                  </a:moveTo>
                  <a:lnTo>
                    <a:pt x="-5338" y="11802"/>
                  </a:lnTo>
                  <a:cubicBezTo>
                    <a:pt x="-6351" y="5720"/>
                    <a:pt x="-2249" y="-28"/>
                    <a:pt x="3828" y="-1041"/>
                  </a:cubicBezTo>
                  <a:lnTo>
                    <a:pt x="26460" y="-4824"/>
                  </a:lnTo>
                  <a:cubicBezTo>
                    <a:pt x="32537" y="-5837"/>
                    <a:pt x="38290" y="-1735"/>
                    <a:pt x="39302" y="4342"/>
                  </a:cubicBezTo>
                  <a:lnTo>
                    <a:pt x="42275" y="22143"/>
                  </a:lnTo>
                  <a:lnTo>
                    <a:pt x="-2365" y="29597"/>
                  </a:ln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C8C4A20D-CC5E-B1E3-88E3-D44D0FA0D418}"/>
                </a:ext>
              </a:extLst>
            </p:cNvPr>
            <p:cNvSpPr/>
            <p:nvPr/>
          </p:nvSpPr>
          <p:spPr>
            <a:xfrm flipV="1">
              <a:off x="5131322" y="3731785"/>
              <a:ext cx="71237" cy="92774"/>
            </a:xfrm>
            <a:custGeom>
              <a:avLst/>
              <a:gdLst>
                <a:gd name="connsiteX0" fmla="*/ 64622 w 71237"/>
                <a:gd name="connsiteY0" fmla="*/ 26652 h 92774"/>
                <a:gd name="connsiteX1" fmla="*/ 53658 w 71237"/>
                <a:gd name="connsiteY1" fmla="*/ 27128 h 92774"/>
                <a:gd name="connsiteX2" fmla="*/ 54645 w 71237"/>
                <a:gd name="connsiteY2" fmla="*/ 10543 h 92774"/>
                <a:gd name="connsiteX3" fmla="*/ 37265 w 71237"/>
                <a:gd name="connsiteY3" fmla="*/ 1114 h 92774"/>
                <a:gd name="connsiteX4" fmla="*/ 30150 w 71237"/>
                <a:gd name="connsiteY4" fmla="*/ 3939 h 92774"/>
                <a:gd name="connsiteX5" fmla="*/ 16456 w 71237"/>
                <a:gd name="connsiteY5" fmla="*/ 7029 h 92774"/>
                <a:gd name="connsiteX6" fmla="*/ 7701 w 71237"/>
                <a:gd name="connsiteY6" fmla="*/ 9095 h 92774"/>
                <a:gd name="connsiteX7" fmla="*/ 9503 w 71237"/>
                <a:gd name="connsiteY7" fmla="*/ 85401 h 92774"/>
                <a:gd name="connsiteX8" fmla="*/ 47140 w 71237"/>
                <a:gd name="connsiteY8" fmla="*/ 80388 h 92774"/>
                <a:gd name="connsiteX9" fmla="*/ 64622 w 71237"/>
                <a:gd name="connsiteY9" fmla="*/ 26652 h 9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237" h="92774">
                  <a:moveTo>
                    <a:pt x="64622" y="26652"/>
                  </a:moveTo>
                  <a:cubicBezTo>
                    <a:pt x="64196" y="26348"/>
                    <a:pt x="65275" y="26449"/>
                    <a:pt x="53658" y="27128"/>
                  </a:cubicBezTo>
                  <a:cubicBezTo>
                    <a:pt x="50675" y="20327"/>
                    <a:pt x="53845" y="16073"/>
                    <a:pt x="54645" y="10543"/>
                  </a:cubicBezTo>
                  <a:cubicBezTo>
                    <a:pt x="52564" y="-7870"/>
                    <a:pt x="45140" y="-9627"/>
                    <a:pt x="37265" y="1114"/>
                  </a:cubicBezTo>
                  <a:cubicBezTo>
                    <a:pt x="35614" y="3352"/>
                    <a:pt x="32864" y="4486"/>
                    <a:pt x="30150" y="3939"/>
                  </a:cubicBezTo>
                  <a:cubicBezTo>
                    <a:pt x="22103" y="2329"/>
                    <a:pt x="25440" y="10376"/>
                    <a:pt x="16456" y="7029"/>
                  </a:cubicBezTo>
                  <a:cubicBezTo>
                    <a:pt x="13413" y="5899"/>
                    <a:pt x="9914" y="6730"/>
                    <a:pt x="7701" y="9095"/>
                  </a:cubicBezTo>
                  <a:cubicBezTo>
                    <a:pt x="2095" y="14923"/>
                    <a:pt x="-20091" y="-6711"/>
                    <a:pt x="9503" y="85401"/>
                  </a:cubicBezTo>
                  <a:cubicBezTo>
                    <a:pt x="22073" y="89883"/>
                    <a:pt x="34774" y="85507"/>
                    <a:pt x="47140" y="80388"/>
                  </a:cubicBezTo>
                  <a:cubicBezTo>
                    <a:pt x="52701" y="62121"/>
                    <a:pt x="70126" y="36937"/>
                    <a:pt x="64622" y="26652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B8A1C1A2-E597-F644-9465-AA3329FD561B}"/>
                </a:ext>
              </a:extLst>
            </p:cNvPr>
            <p:cNvSpPr/>
            <p:nvPr/>
          </p:nvSpPr>
          <p:spPr>
            <a:xfrm flipV="1">
              <a:off x="5139118" y="3317673"/>
              <a:ext cx="917323" cy="451168"/>
            </a:xfrm>
            <a:custGeom>
              <a:avLst/>
              <a:gdLst>
                <a:gd name="connsiteX0" fmla="*/ 910220 w 917323"/>
                <a:gd name="connsiteY0" fmla="*/ 385227 h 451168"/>
                <a:gd name="connsiteX1" fmla="*/ 675163 w 917323"/>
                <a:gd name="connsiteY1" fmla="*/ 299349 h 451168"/>
                <a:gd name="connsiteX2" fmla="*/ 623215 w 917323"/>
                <a:gd name="connsiteY2" fmla="*/ 295683 h 451168"/>
                <a:gd name="connsiteX3" fmla="*/ 490287 w 917323"/>
                <a:gd name="connsiteY3" fmla="*/ 322867 h 451168"/>
                <a:gd name="connsiteX4" fmla="*/ 505773 w 917323"/>
                <a:gd name="connsiteY4" fmla="*/ 233921 h 451168"/>
                <a:gd name="connsiteX5" fmla="*/ 514549 w 917323"/>
                <a:gd name="connsiteY5" fmla="*/ 95412 h 451168"/>
                <a:gd name="connsiteX6" fmla="*/ 514655 w 917323"/>
                <a:gd name="connsiteY6" fmla="*/ 95630 h 451168"/>
                <a:gd name="connsiteX7" fmla="*/ 517066 w 917323"/>
                <a:gd name="connsiteY7" fmla="*/ 66749 h 451168"/>
                <a:gd name="connsiteX8" fmla="*/ 521239 w 917323"/>
                <a:gd name="connsiteY8" fmla="*/ 45338 h 451168"/>
                <a:gd name="connsiteX9" fmla="*/ 510715 w 917323"/>
                <a:gd name="connsiteY9" fmla="*/ 7250 h 451168"/>
                <a:gd name="connsiteX10" fmla="*/ 511379 w 917323"/>
                <a:gd name="connsiteY10" fmla="*/ -3055 h 451168"/>
                <a:gd name="connsiteX11" fmla="*/ 407681 w 917323"/>
                <a:gd name="connsiteY11" fmla="*/ -4711 h 451168"/>
                <a:gd name="connsiteX12" fmla="*/ 301607 w 917323"/>
                <a:gd name="connsiteY12" fmla="*/ 10633 h 451168"/>
                <a:gd name="connsiteX13" fmla="*/ 302949 w 917323"/>
                <a:gd name="connsiteY13" fmla="*/ 24089 h 451168"/>
                <a:gd name="connsiteX14" fmla="*/ 300407 w 917323"/>
                <a:gd name="connsiteY14" fmla="*/ 27664 h 451168"/>
                <a:gd name="connsiteX15" fmla="*/ 290031 w 917323"/>
                <a:gd name="connsiteY15" fmla="*/ 55228 h 451168"/>
                <a:gd name="connsiteX16" fmla="*/ 295490 w 917323"/>
                <a:gd name="connsiteY16" fmla="*/ 80543 h 451168"/>
                <a:gd name="connsiteX17" fmla="*/ 295535 w 917323"/>
                <a:gd name="connsiteY17" fmla="*/ 80918 h 451168"/>
                <a:gd name="connsiteX18" fmla="*/ 247320 w 917323"/>
                <a:gd name="connsiteY18" fmla="*/ 292199 h 451168"/>
                <a:gd name="connsiteX19" fmla="*/ 97984 w 917323"/>
                <a:gd name="connsiteY19" fmla="*/ 236063 h 451168"/>
                <a:gd name="connsiteX20" fmla="*/ 50588 w 917323"/>
                <a:gd name="connsiteY20" fmla="*/ 19997 h 451168"/>
                <a:gd name="connsiteX21" fmla="*/ -6292 w 917323"/>
                <a:gd name="connsiteY21" fmla="*/ 28570 h 451168"/>
                <a:gd name="connsiteX22" fmla="*/ 28595 w 917323"/>
                <a:gd name="connsiteY22" fmla="*/ 260386 h 451168"/>
                <a:gd name="connsiteX23" fmla="*/ 77803 w 917323"/>
                <a:gd name="connsiteY23" fmla="*/ 322118 h 451168"/>
                <a:gd name="connsiteX24" fmla="*/ 228390 w 917323"/>
                <a:gd name="connsiteY24" fmla="*/ 402880 h 451168"/>
                <a:gd name="connsiteX25" fmla="*/ 229069 w 917323"/>
                <a:gd name="connsiteY25" fmla="*/ 403270 h 451168"/>
                <a:gd name="connsiteX26" fmla="*/ 412497 w 917323"/>
                <a:gd name="connsiteY26" fmla="*/ 444528 h 451168"/>
                <a:gd name="connsiteX27" fmla="*/ 474168 w 917323"/>
                <a:gd name="connsiteY27" fmla="*/ 439276 h 451168"/>
                <a:gd name="connsiteX28" fmla="*/ 654628 w 917323"/>
                <a:gd name="connsiteY28" fmla="*/ 384645 h 451168"/>
                <a:gd name="connsiteX29" fmla="*/ 892181 w 917323"/>
                <a:gd name="connsiteY29" fmla="*/ 439033 h 451168"/>
                <a:gd name="connsiteX30" fmla="*/ 910220 w 917323"/>
                <a:gd name="connsiteY30" fmla="*/ 385227 h 4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17323" h="451168">
                  <a:moveTo>
                    <a:pt x="910220" y="385227"/>
                  </a:moveTo>
                  <a:lnTo>
                    <a:pt x="675163" y="299349"/>
                  </a:lnTo>
                  <a:cubicBezTo>
                    <a:pt x="658391" y="293824"/>
                    <a:pt x="640560" y="292609"/>
                    <a:pt x="623215" y="295683"/>
                  </a:cubicBezTo>
                  <a:lnTo>
                    <a:pt x="490287" y="322867"/>
                  </a:lnTo>
                  <a:cubicBezTo>
                    <a:pt x="499772" y="294371"/>
                    <a:pt x="505013" y="264437"/>
                    <a:pt x="505773" y="233921"/>
                  </a:cubicBezTo>
                  <a:lnTo>
                    <a:pt x="514549" y="95412"/>
                  </a:lnTo>
                  <a:lnTo>
                    <a:pt x="514655" y="95630"/>
                  </a:lnTo>
                  <a:cubicBezTo>
                    <a:pt x="514893" y="86418"/>
                    <a:pt x="516038" y="75261"/>
                    <a:pt x="517066" y="66749"/>
                  </a:cubicBezTo>
                  <a:cubicBezTo>
                    <a:pt x="517942" y="59517"/>
                    <a:pt x="519487" y="52412"/>
                    <a:pt x="521239" y="45338"/>
                  </a:cubicBezTo>
                  <a:cubicBezTo>
                    <a:pt x="529463" y="12066"/>
                    <a:pt x="510715" y="7250"/>
                    <a:pt x="510715" y="7250"/>
                  </a:cubicBezTo>
                  <a:lnTo>
                    <a:pt x="511379" y="-3055"/>
                  </a:lnTo>
                  <a:cubicBezTo>
                    <a:pt x="478568" y="-6276"/>
                    <a:pt x="443666" y="-6980"/>
                    <a:pt x="407681" y="-4711"/>
                  </a:cubicBezTo>
                  <a:cubicBezTo>
                    <a:pt x="370409" y="-2372"/>
                    <a:pt x="334671" y="2951"/>
                    <a:pt x="301607" y="10633"/>
                  </a:cubicBezTo>
                  <a:cubicBezTo>
                    <a:pt x="302089" y="15135"/>
                    <a:pt x="302514" y="19637"/>
                    <a:pt x="302949" y="24089"/>
                  </a:cubicBezTo>
                  <a:lnTo>
                    <a:pt x="300407" y="27664"/>
                  </a:lnTo>
                  <a:cubicBezTo>
                    <a:pt x="294766" y="35766"/>
                    <a:pt x="287580" y="45763"/>
                    <a:pt x="290031" y="55228"/>
                  </a:cubicBezTo>
                  <a:cubicBezTo>
                    <a:pt x="291753" y="61791"/>
                    <a:pt x="293748" y="70395"/>
                    <a:pt x="295490" y="80543"/>
                  </a:cubicBezTo>
                  <a:lnTo>
                    <a:pt x="295535" y="80918"/>
                  </a:lnTo>
                  <a:cubicBezTo>
                    <a:pt x="296305" y="87031"/>
                    <a:pt x="310510" y="168269"/>
                    <a:pt x="247320" y="292199"/>
                  </a:cubicBezTo>
                  <a:lnTo>
                    <a:pt x="97984" y="236063"/>
                  </a:lnTo>
                  <a:lnTo>
                    <a:pt x="50588" y="19997"/>
                  </a:lnTo>
                  <a:cubicBezTo>
                    <a:pt x="18213" y="14274"/>
                    <a:pt x="-6292" y="28570"/>
                    <a:pt x="-6292" y="28570"/>
                  </a:cubicBezTo>
                  <a:lnTo>
                    <a:pt x="28595" y="260386"/>
                  </a:lnTo>
                  <a:cubicBezTo>
                    <a:pt x="33198" y="288087"/>
                    <a:pt x="51849" y="311407"/>
                    <a:pt x="77803" y="322118"/>
                  </a:cubicBezTo>
                  <a:lnTo>
                    <a:pt x="228390" y="402880"/>
                  </a:lnTo>
                  <a:lnTo>
                    <a:pt x="229069" y="403270"/>
                  </a:lnTo>
                  <a:cubicBezTo>
                    <a:pt x="277051" y="428019"/>
                    <a:pt x="370915" y="441110"/>
                    <a:pt x="412497" y="444528"/>
                  </a:cubicBezTo>
                  <a:cubicBezTo>
                    <a:pt x="433204" y="446189"/>
                    <a:pt x="453992" y="444422"/>
                    <a:pt x="474168" y="439276"/>
                  </a:cubicBezTo>
                  <a:lnTo>
                    <a:pt x="654628" y="384645"/>
                  </a:lnTo>
                  <a:lnTo>
                    <a:pt x="892181" y="439033"/>
                  </a:lnTo>
                  <a:cubicBezTo>
                    <a:pt x="892181" y="439033"/>
                    <a:pt x="915633" y="414710"/>
                    <a:pt x="910220" y="385227"/>
                  </a:cubicBezTo>
                </a:path>
              </a:pathLst>
            </a:custGeom>
            <a:solidFill>
              <a:srgbClr val="4DA5C3">
                <a:lumMod val="20000"/>
                <a:lumOff val="8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F5B06556-543A-20FA-9ED1-B0ECC0081B06}"/>
                </a:ext>
              </a:extLst>
            </p:cNvPr>
            <p:cNvSpPr/>
            <p:nvPr/>
          </p:nvSpPr>
          <p:spPr>
            <a:xfrm flipV="1">
              <a:off x="5608115" y="3395182"/>
              <a:ext cx="32373" cy="52058"/>
            </a:xfrm>
            <a:custGeom>
              <a:avLst/>
              <a:gdLst>
                <a:gd name="connsiteX0" fmla="*/ 872 w 32373"/>
                <a:gd name="connsiteY0" fmla="*/ 44156 h 52058"/>
                <a:gd name="connsiteX1" fmla="*/ -4739 w 32373"/>
                <a:gd name="connsiteY1" fmla="*/ 44946 h 52058"/>
                <a:gd name="connsiteX2" fmla="*/ -5529 w 32373"/>
                <a:gd name="connsiteY2" fmla="*/ 39330 h 52058"/>
                <a:gd name="connsiteX3" fmla="*/ 18080 w 32373"/>
                <a:gd name="connsiteY3" fmla="*/ -3017 h 52058"/>
                <a:gd name="connsiteX4" fmla="*/ 22111 w 32373"/>
                <a:gd name="connsiteY4" fmla="*/ -6308 h 52058"/>
                <a:gd name="connsiteX5" fmla="*/ 22719 w 32373"/>
                <a:gd name="connsiteY5" fmla="*/ -6248 h 52058"/>
                <a:gd name="connsiteX6" fmla="*/ 25975 w 32373"/>
                <a:gd name="connsiteY6" fmla="*/ -1609 h 52058"/>
                <a:gd name="connsiteX7" fmla="*/ 872 w 32373"/>
                <a:gd name="connsiteY7" fmla="*/ 44156 h 5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373" h="52058">
                  <a:moveTo>
                    <a:pt x="872" y="44156"/>
                  </a:moveTo>
                  <a:cubicBezTo>
                    <a:pt x="-465" y="45928"/>
                    <a:pt x="-2977" y="46267"/>
                    <a:pt x="-4739" y="44946"/>
                  </a:cubicBezTo>
                  <a:cubicBezTo>
                    <a:pt x="-6512" y="43609"/>
                    <a:pt x="-6861" y="41097"/>
                    <a:pt x="-5529" y="39330"/>
                  </a:cubicBezTo>
                  <a:cubicBezTo>
                    <a:pt x="15041" y="12069"/>
                    <a:pt x="18044" y="-2814"/>
                    <a:pt x="18080" y="-3017"/>
                  </a:cubicBezTo>
                  <a:cubicBezTo>
                    <a:pt x="18439" y="-4987"/>
                    <a:pt x="20171" y="-6354"/>
                    <a:pt x="22111" y="-6308"/>
                  </a:cubicBezTo>
                  <a:lnTo>
                    <a:pt x="22719" y="-6248"/>
                  </a:lnTo>
                  <a:cubicBezTo>
                    <a:pt x="24901" y="-5868"/>
                    <a:pt x="26360" y="-3786"/>
                    <a:pt x="25975" y="-1609"/>
                  </a:cubicBezTo>
                  <a:cubicBezTo>
                    <a:pt x="25863" y="-940"/>
                    <a:pt x="22860" y="15017"/>
                    <a:pt x="872" y="44156"/>
                  </a:cubicBez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BD987F62-D6B4-508B-C2BB-93B7049B5B5E}"/>
                </a:ext>
              </a:extLst>
            </p:cNvPr>
            <p:cNvSpPr/>
            <p:nvPr/>
          </p:nvSpPr>
          <p:spPr>
            <a:xfrm flipV="1">
              <a:off x="5388684" y="3456227"/>
              <a:ext cx="35579" cy="18380"/>
            </a:xfrm>
            <a:custGeom>
              <a:avLst/>
              <a:gdLst>
                <a:gd name="connsiteX0" fmla="*/ 24192 w 35579"/>
                <a:gd name="connsiteY0" fmla="*/ 11915 h 18380"/>
                <a:gd name="connsiteX1" fmla="*/ -3362 w 35579"/>
                <a:gd name="connsiteY1" fmla="*/ 1554 h 18380"/>
                <a:gd name="connsiteX2" fmla="*/ -5707 w 35579"/>
                <a:gd name="connsiteY2" fmla="*/ -3612 h 18380"/>
                <a:gd name="connsiteX3" fmla="*/ -1858 w 35579"/>
                <a:gd name="connsiteY3" fmla="*/ -6210 h 18380"/>
                <a:gd name="connsiteX4" fmla="*/ -546 w 35579"/>
                <a:gd name="connsiteY4" fmla="*/ -5951 h 18380"/>
                <a:gd name="connsiteX5" fmla="*/ 27013 w 35579"/>
                <a:gd name="connsiteY5" fmla="*/ 4410 h 18380"/>
                <a:gd name="connsiteX6" fmla="*/ 29357 w 35579"/>
                <a:gd name="connsiteY6" fmla="*/ 9575 h 18380"/>
                <a:gd name="connsiteX7" fmla="*/ 24192 w 35579"/>
                <a:gd name="connsiteY7" fmla="*/ 11915 h 18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579" h="18380">
                  <a:moveTo>
                    <a:pt x="24192" y="11915"/>
                  </a:moveTo>
                  <a:lnTo>
                    <a:pt x="-3362" y="1554"/>
                  </a:lnTo>
                  <a:cubicBezTo>
                    <a:pt x="-5438" y="774"/>
                    <a:pt x="-6487" y="-1535"/>
                    <a:pt x="-5707" y="-3612"/>
                  </a:cubicBezTo>
                  <a:cubicBezTo>
                    <a:pt x="-5089" y="-5248"/>
                    <a:pt x="-3519" y="-6245"/>
                    <a:pt x="-1858" y="-6210"/>
                  </a:cubicBezTo>
                  <a:lnTo>
                    <a:pt x="-546" y="-5951"/>
                  </a:lnTo>
                  <a:lnTo>
                    <a:pt x="27013" y="4410"/>
                  </a:lnTo>
                  <a:cubicBezTo>
                    <a:pt x="29089" y="5190"/>
                    <a:pt x="30137" y="7499"/>
                    <a:pt x="29357" y="9575"/>
                  </a:cubicBezTo>
                  <a:cubicBezTo>
                    <a:pt x="28572" y="11641"/>
                    <a:pt x="26268" y="12690"/>
                    <a:pt x="24192" y="11915"/>
                  </a:cubicBez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198D78E4-CC0C-BDE9-5522-1D9AA5C64C8D}"/>
                </a:ext>
              </a:extLst>
            </p:cNvPr>
            <p:cNvSpPr/>
            <p:nvPr/>
          </p:nvSpPr>
          <p:spPr>
            <a:xfrm flipV="1">
              <a:off x="5440836" y="3250509"/>
              <a:ext cx="90085" cy="72834"/>
            </a:xfrm>
            <a:custGeom>
              <a:avLst/>
              <a:gdLst>
                <a:gd name="connsiteX0" fmla="*/ -1332 w 90085"/>
                <a:gd name="connsiteY0" fmla="*/ -3103 h 72834"/>
                <a:gd name="connsiteX1" fmla="*/ -5930 w 90085"/>
                <a:gd name="connsiteY1" fmla="*/ -2460 h 72834"/>
                <a:gd name="connsiteX2" fmla="*/ -5793 w 90085"/>
                <a:gd name="connsiteY2" fmla="*/ 22668 h 72834"/>
                <a:gd name="connsiteX3" fmla="*/ -5803 w 90085"/>
                <a:gd name="connsiteY3" fmla="*/ 22749 h 72834"/>
                <a:gd name="connsiteX4" fmla="*/ 60734 w 90085"/>
                <a:gd name="connsiteY4" fmla="*/ 43851 h 72834"/>
                <a:gd name="connsiteX5" fmla="*/ 61165 w 90085"/>
                <a:gd name="connsiteY5" fmla="*/ 42216 h 72834"/>
                <a:gd name="connsiteX6" fmla="*/ 83948 w 90085"/>
                <a:gd name="connsiteY6" fmla="*/ -5721 h 72834"/>
                <a:gd name="connsiteX7" fmla="*/ -1332 w 90085"/>
                <a:gd name="connsiteY7" fmla="*/ -3103 h 72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085" h="72834">
                  <a:moveTo>
                    <a:pt x="-1332" y="-3103"/>
                  </a:moveTo>
                  <a:lnTo>
                    <a:pt x="-5930" y="-2460"/>
                  </a:lnTo>
                  <a:lnTo>
                    <a:pt x="-5793" y="22668"/>
                  </a:lnTo>
                  <a:lnTo>
                    <a:pt x="-5803" y="22749"/>
                  </a:lnTo>
                  <a:cubicBezTo>
                    <a:pt x="-11278" y="106191"/>
                    <a:pt x="60734" y="43851"/>
                    <a:pt x="60734" y="43851"/>
                  </a:cubicBezTo>
                  <a:cubicBezTo>
                    <a:pt x="60876" y="43305"/>
                    <a:pt x="61023" y="42763"/>
                    <a:pt x="61165" y="42216"/>
                  </a:cubicBezTo>
                  <a:cubicBezTo>
                    <a:pt x="66659" y="23068"/>
                    <a:pt x="75476" y="6772"/>
                    <a:pt x="83948" y="-5721"/>
                  </a:cubicBezTo>
                  <a:cubicBezTo>
                    <a:pt x="86030" y="-8739"/>
                    <a:pt x="-1332" y="-3103"/>
                    <a:pt x="-1332" y="-3103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C204BF09-E1EC-5F4B-2AE3-401AE10E8F16}"/>
                </a:ext>
              </a:extLst>
            </p:cNvPr>
            <p:cNvSpPr/>
            <p:nvPr/>
          </p:nvSpPr>
          <p:spPr>
            <a:xfrm flipV="1">
              <a:off x="5471335" y="3274498"/>
              <a:ext cx="59554" cy="47972"/>
            </a:xfrm>
            <a:custGeom>
              <a:avLst/>
              <a:gdLst>
                <a:gd name="connsiteX0" fmla="*/ -6127 w 59554"/>
                <a:gd name="connsiteY0" fmla="*/ 32470 h 47972"/>
                <a:gd name="connsiteX1" fmla="*/ 53428 w 59554"/>
                <a:gd name="connsiteY1" fmla="*/ -6584 h 47972"/>
                <a:gd name="connsiteX2" fmla="*/ 30649 w 59554"/>
                <a:gd name="connsiteY2" fmla="*/ 41388 h 47972"/>
                <a:gd name="connsiteX3" fmla="*/ -6127 w 59554"/>
                <a:gd name="connsiteY3" fmla="*/ 32470 h 4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54" h="47972">
                  <a:moveTo>
                    <a:pt x="-6127" y="32470"/>
                  </a:moveTo>
                  <a:lnTo>
                    <a:pt x="53428" y="-6584"/>
                  </a:lnTo>
                  <a:cubicBezTo>
                    <a:pt x="44966" y="5929"/>
                    <a:pt x="36124" y="22205"/>
                    <a:pt x="30649" y="41388"/>
                  </a:cubicBezTo>
                  <a:lnTo>
                    <a:pt x="-6127" y="32470"/>
                  </a:ln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4911CDFE-F2D4-5DDB-336B-F17F44F986DC}"/>
                </a:ext>
              </a:extLst>
            </p:cNvPr>
            <p:cNvSpPr/>
            <p:nvPr/>
          </p:nvSpPr>
          <p:spPr>
            <a:xfrm flipV="1">
              <a:off x="5395105" y="3144430"/>
              <a:ext cx="159030" cy="146358"/>
            </a:xfrm>
            <a:custGeom>
              <a:avLst/>
              <a:gdLst>
                <a:gd name="connsiteX0" fmla="*/ 141290 w 159030"/>
                <a:gd name="connsiteY0" fmla="*/ 6655 h 146358"/>
                <a:gd name="connsiteX1" fmla="*/ 139472 w 159030"/>
                <a:gd name="connsiteY1" fmla="*/ 5040 h 146358"/>
                <a:gd name="connsiteX2" fmla="*/ 114607 w 159030"/>
                <a:gd name="connsiteY2" fmla="*/ -5636 h 146358"/>
                <a:gd name="connsiteX3" fmla="*/ 68959 w 159030"/>
                <a:gd name="connsiteY3" fmla="*/ 168 h 146358"/>
                <a:gd name="connsiteX4" fmla="*/ 64801 w 159030"/>
                <a:gd name="connsiteY4" fmla="*/ 4082 h 146358"/>
                <a:gd name="connsiteX5" fmla="*/ 43436 w 159030"/>
                <a:gd name="connsiteY5" fmla="*/ 19108 h 146358"/>
                <a:gd name="connsiteX6" fmla="*/ -6081 w 159030"/>
                <a:gd name="connsiteY6" fmla="*/ 82116 h 146358"/>
                <a:gd name="connsiteX7" fmla="*/ 56917 w 159030"/>
                <a:gd name="connsiteY7" fmla="*/ 120249 h 146358"/>
                <a:gd name="connsiteX8" fmla="*/ 89965 w 159030"/>
                <a:gd name="connsiteY8" fmla="*/ 139594 h 146358"/>
                <a:gd name="connsiteX9" fmla="*/ 101334 w 159030"/>
                <a:gd name="connsiteY9" fmla="*/ 130265 h 146358"/>
                <a:gd name="connsiteX10" fmla="*/ 110693 w 159030"/>
                <a:gd name="connsiteY10" fmla="*/ 117737 h 146358"/>
                <a:gd name="connsiteX11" fmla="*/ 122659 w 159030"/>
                <a:gd name="connsiteY11" fmla="*/ 87230 h 146358"/>
                <a:gd name="connsiteX12" fmla="*/ 122644 w 159030"/>
                <a:gd name="connsiteY12" fmla="*/ 87175 h 146358"/>
                <a:gd name="connsiteX13" fmla="*/ 122694 w 159030"/>
                <a:gd name="connsiteY13" fmla="*/ 87165 h 146358"/>
                <a:gd name="connsiteX14" fmla="*/ 147696 w 159030"/>
                <a:gd name="connsiteY14" fmla="*/ 65698 h 146358"/>
                <a:gd name="connsiteX15" fmla="*/ 148061 w 159030"/>
                <a:gd name="connsiteY15" fmla="*/ 60071 h 146358"/>
                <a:gd name="connsiteX16" fmla="*/ 141346 w 159030"/>
                <a:gd name="connsiteY16" fmla="*/ 53959 h 146358"/>
                <a:gd name="connsiteX17" fmla="*/ 141290 w 159030"/>
                <a:gd name="connsiteY17" fmla="*/ 6655 h 146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9030" h="146358">
                  <a:moveTo>
                    <a:pt x="141290" y="6655"/>
                  </a:moveTo>
                  <a:cubicBezTo>
                    <a:pt x="140758" y="6098"/>
                    <a:pt x="140115" y="5571"/>
                    <a:pt x="139472" y="5040"/>
                  </a:cubicBezTo>
                  <a:cubicBezTo>
                    <a:pt x="132448" y="-804"/>
                    <a:pt x="123586" y="-4030"/>
                    <a:pt x="114607" y="-5636"/>
                  </a:cubicBezTo>
                  <a:cubicBezTo>
                    <a:pt x="99283" y="-8335"/>
                    <a:pt x="83199" y="-6117"/>
                    <a:pt x="68959" y="168"/>
                  </a:cubicBezTo>
                  <a:cubicBezTo>
                    <a:pt x="67531" y="1373"/>
                    <a:pt x="66123" y="2680"/>
                    <a:pt x="64801" y="4082"/>
                  </a:cubicBezTo>
                  <a:cubicBezTo>
                    <a:pt x="57342" y="8564"/>
                    <a:pt x="50186" y="13598"/>
                    <a:pt x="43436" y="19108"/>
                  </a:cubicBezTo>
                  <a:cubicBezTo>
                    <a:pt x="22480" y="36083"/>
                    <a:pt x="5348" y="57732"/>
                    <a:pt x="-6081" y="82116"/>
                  </a:cubicBezTo>
                  <a:cubicBezTo>
                    <a:pt x="12124" y="98220"/>
                    <a:pt x="33794" y="111321"/>
                    <a:pt x="56917" y="120249"/>
                  </a:cubicBezTo>
                  <a:cubicBezTo>
                    <a:pt x="69987" y="125262"/>
                    <a:pt x="89965" y="139594"/>
                    <a:pt x="89965" y="139594"/>
                  </a:cubicBezTo>
                  <a:cubicBezTo>
                    <a:pt x="91621" y="138849"/>
                    <a:pt x="99810" y="131547"/>
                    <a:pt x="101334" y="130265"/>
                  </a:cubicBezTo>
                  <a:cubicBezTo>
                    <a:pt x="104823" y="127141"/>
                    <a:pt x="107983" y="122669"/>
                    <a:pt x="110693" y="117737"/>
                  </a:cubicBezTo>
                  <a:cubicBezTo>
                    <a:pt x="118111" y="104529"/>
                    <a:pt x="122375" y="88208"/>
                    <a:pt x="122659" y="87230"/>
                  </a:cubicBezTo>
                  <a:lnTo>
                    <a:pt x="122644" y="87175"/>
                  </a:lnTo>
                  <a:lnTo>
                    <a:pt x="122694" y="87165"/>
                  </a:lnTo>
                  <a:lnTo>
                    <a:pt x="147696" y="65698"/>
                  </a:lnTo>
                  <a:cubicBezTo>
                    <a:pt x="149225" y="64189"/>
                    <a:pt x="149327" y="61768"/>
                    <a:pt x="148061" y="60071"/>
                  </a:cubicBezTo>
                  <a:lnTo>
                    <a:pt x="141346" y="53959"/>
                  </a:lnTo>
                  <a:cubicBezTo>
                    <a:pt x="141346" y="53959"/>
                    <a:pt x="167492" y="30482"/>
                    <a:pt x="141290" y="6655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3CBC893B-E099-5D68-F318-028FD1D8905C}"/>
                </a:ext>
              </a:extLst>
            </p:cNvPr>
            <p:cNvSpPr/>
            <p:nvPr/>
          </p:nvSpPr>
          <p:spPr>
            <a:xfrm flipV="1">
              <a:off x="5503223" y="3188822"/>
              <a:ext cx="10594" cy="14913"/>
            </a:xfrm>
            <a:custGeom>
              <a:avLst/>
              <a:gdLst>
                <a:gd name="connsiteX0" fmla="*/ -5227 w 10594"/>
                <a:gd name="connsiteY0" fmla="*/ -1157 h 14913"/>
                <a:gd name="connsiteX1" fmla="*/ 2131 w 10594"/>
                <a:gd name="connsiteY1" fmla="*/ -6591 h 14913"/>
                <a:gd name="connsiteX2" fmla="*/ 3539 w 10594"/>
                <a:gd name="connsiteY2" fmla="*/ 2444 h 14913"/>
                <a:gd name="connsiteX3" fmla="*/ -3819 w 10594"/>
                <a:gd name="connsiteY3" fmla="*/ 7877 h 14913"/>
                <a:gd name="connsiteX4" fmla="*/ -5227 w 10594"/>
                <a:gd name="connsiteY4" fmla="*/ -1157 h 14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94" h="14913">
                  <a:moveTo>
                    <a:pt x="-5227" y="-1157"/>
                  </a:moveTo>
                  <a:cubicBezTo>
                    <a:pt x="-3586" y="-5153"/>
                    <a:pt x="-289" y="-7584"/>
                    <a:pt x="2131" y="-6591"/>
                  </a:cubicBezTo>
                  <a:cubicBezTo>
                    <a:pt x="4552" y="-5593"/>
                    <a:pt x="5185" y="-1547"/>
                    <a:pt x="3539" y="2444"/>
                  </a:cubicBezTo>
                  <a:cubicBezTo>
                    <a:pt x="1899" y="6439"/>
                    <a:pt x="-1393" y="8875"/>
                    <a:pt x="-3819" y="7877"/>
                  </a:cubicBezTo>
                  <a:cubicBezTo>
                    <a:pt x="-6234" y="6885"/>
                    <a:pt x="-6867" y="2838"/>
                    <a:pt x="-5227" y="-1157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219D4D04-D17C-66F9-8241-44374590B4A6}"/>
                </a:ext>
              </a:extLst>
            </p:cNvPr>
            <p:cNvSpPr/>
            <p:nvPr/>
          </p:nvSpPr>
          <p:spPr>
            <a:xfrm flipV="1">
              <a:off x="5488472" y="3167499"/>
              <a:ext cx="14234" cy="24828"/>
            </a:xfrm>
            <a:custGeom>
              <a:avLst/>
              <a:gdLst>
                <a:gd name="connsiteX0" fmla="*/ -5934 w 14234"/>
                <a:gd name="connsiteY0" fmla="*/ -3881 h 24828"/>
                <a:gd name="connsiteX1" fmla="*/ 3278 w 14234"/>
                <a:gd name="connsiteY1" fmla="*/ 17333 h 24828"/>
                <a:gd name="connsiteX2" fmla="*/ 6777 w 14234"/>
                <a:gd name="connsiteY2" fmla="*/ 11869 h 24828"/>
                <a:gd name="connsiteX3" fmla="*/ 553 w 14234"/>
                <a:gd name="connsiteY3" fmla="*/ -3618 h 24828"/>
                <a:gd name="connsiteX4" fmla="*/ -5934 w 14234"/>
                <a:gd name="connsiteY4" fmla="*/ -3881 h 24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34" h="24828">
                  <a:moveTo>
                    <a:pt x="-5934" y="-3881"/>
                  </a:moveTo>
                  <a:cubicBezTo>
                    <a:pt x="-7003" y="4404"/>
                    <a:pt x="-3326" y="12355"/>
                    <a:pt x="3278" y="17333"/>
                  </a:cubicBezTo>
                  <a:cubicBezTo>
                    <a:pt x="6615" y="19850"/>
                    <a:pt x="10094" y="14375"/>
                    <a:pt x="6777" y="11869"/>
                  </a:cubicBezTo>
                  <a:cubicBezTo>
                    <a:pt x="1926" y="8212"/>
                    <a:pt x="-217" y="2328"/>
                    <a:pt x="553" y="-3618"/>
                  </a:cubicBezTo>
                  <a:cubicBezTo>
                    <a:pt x="1085" y="-7755"/>
                    <a:pt x="-5402" y="-8003"/>
                    <a:pt x="-5934" y="-3881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BA3778D3-471E-CF80-9D72-F82DC4E717E1}"/>
                </a:ext>
              </a:extLst>
            </p:cNvPr>
            <p:cNvSpPr/>
            <p:nvPr/>
          </p:nvSpPr>
          <p:spPr>
            <a:xfrm flipV="1">
              <a:off x="5446519" y="3224755"/>
              <a:ext cx="22186" cy="17705"/>
            </a:xfrm>
            <a:custGeom>
              <a:avLst/>
              <a:gdLst>
                <a:gd name="connsiteX0" fmla="*/ 15837 w 22186"/>
                <a:gd name="connsiteY0" fmla="*/ -6290 h 17705"/>
                <a:gd name="connsiteX1" fmla="*/ 14647 w 22186"/>
                <a:gd name="connsiteY1" fmla="*/ -6705 h 17705"/>
                <a:gd name="connsiteX2" fmla="*/ 7785 w 22186"/>
                <a:gd name="connsiteY2" fmla="*/ -2705 h 17705"/>
                <a:gd name="connsiteX3" fmla="*/ 10697 w 22186"/>
                <a:gd name="connsiteY3" fmla="*/ 1848 h 17705"/>
                <a:gd name="connsiteX4" fmla="*/ -4328 w 22186"/>
                <a:gd name="connsiteY4" fmla="*/ 7945 h 17705"/>
                <a:gd name="connsiteX5" fmla="*/ -5954 w 22186"/>
                <a:gd name="connsiteY5" fmla="*/ 8619 h 17705"/>
                <a:gd name="connsiteX6" fmla="*/ -5280 w 22186"/>
                <a:gd name="connsiteY6" fmla="*/ 10250 h 17705"/>
                <a:gd name="connsiteX7" fmla="*/ 12718 w 22186"/>
                <a:gd name="connsiteY7" fmla="*/ 3241 h 17705"/>
                <a:gd name="connsiteX8" fmla="*/ 13138 w 22186"/>
                <a:gd name="connsiteY8" fmla="*/ 1372 h 17705"/>
                <a:gd name="connsiteX9" fmla="*/ 12069 w 22186"/>
                <a:gd name="connsiteY9" fmla="*/ -243 h 17705"/>
                <a:gd name="connsiteX10" fmla="*/ 10241 w 22186"/>
                <a:gd name="connsiteY10" fmla="*/ -2223 h 17705"/>
                <a:gd name="connsiteX11" fmla="*/ 15128 w 22186"/>
                <a:gd name="connsiteY11" fmla="*/ -4259 h 17705"/>
                <a:gd name="connsiteX12" fmla="*/ 16111 w 22186"/>
                <a:gd name="connsiteY12" fmla="*/ -5723 h 17705"/>
                <a:gd name="connsiteX13" fmla="*/ 15837 w 22186"/>
                <a:gd name="connsiteY13" fmla="*/ -6290 h 17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186" h="17705">
                  <a:moveTo>
                    <a:pt x="15837" y="-6290"/>
                  </a:moveTo>
                  <a:cubicBezTo>
                    <a:pt x="15559" y="-6624"/>
                    <a:pt x="15108" y="-6796"/>
                    <a:pt x="14647" y="-6705"/>
                  </a:cubicBezTo>
                  <a:cubicBezTo>
                    <a:pt x="10338" y="-5864"/>
                    <a:pt x="8160" y="-4593"/>
                    <a:pt x="7785" y="-2705"/>
                  </a:cubicBezTo>
                  <a:cubicBezTo>
                    <a:pt x="7578" y="-1641"/>
                    <a:pt x="7917" y="10"/>
                    <a:pt x="10697" y="1848"/>
                  </a:cubicBezTo>
                  <a:cubicBezTo>
                    <a:pt x="3906" y="11202"/>
                    <a:pt x="-4247" y="7976"/>
                    <a:pt x="-4328" y="7945"/>
                  </a:cubicBezTo>
                  <a:cubicBezTo>
                    <a:pt x="-4966" y="7677"/>
                    <a:pt x="-5695" y="7981"/>
                    <a:pt x="-5954" y="8619"/>
                  </a:cubicBezTo>
                  <a:cubicBezTo>
                    <a:pt x="-6222" y="9257"/>
                    <a:pt x="-5923" y="9986"/>
                    <a:pt x="-5280" y="10250"/>
                  </a:cubicBezTo>
                  <a:cubicBezTo>
                    <a:pt x="-5179" y="10295"/>
                    <a:pt x="4797" y="14245"/>
                    <a:pt x="12718" y="3241"/>
                  </a:cubicBezTo>
                  <a:cubicBezTo>
                    <a:pt x="13103" y="2709"/>
                    <a:pt x="13255" y="2025"/>
                    <a:pt x="13138" y="1372"/>
                  </a:cubicBezTo>
                  <a:cubicBezTo>
                    <a:pt x="13017" y="709"/>
                    <a:pt x="12627" y="131"/>
                    <a:pt x="12069" y="-243"/>
                  </a:cubicBezTo>
                  <a:cubicBezTo>
                    <a:pt x="10631" y="-1190"/>
                    <a:pt x="10186" y="-1955"/>
                    <a:pt x="10241" y="-2223"/>
                  </a:cubicBezTo>
                  <a:cubicBezTo>
                    <a:pt x="10252" y="-2269"/>
                    <a:pt x="10510" y="-3353"/>
                    <a:pt x="15128" y="-4259"/>
                  </a:cubicBezTo>
                  <a:cubicBezTo>
                    <a:pt x="15802" y="-4391"/>
                    <a:pt x="16242" y="-5044"/>
                    <a:pt x="16111" y="-5723"/>
                  </a:cubicBezTo>
                  <a:lnTo>
                    <a:pt x="15837" y="-6290"/>
                  </a:lnTo>
                </a:path>
              </a:pathLst>
            </a:custGeom>
            <a:solidFill>
              <a:srgbClr val="E8E4E2">
                <a:lumMod val="5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A815255C-587A-C9D7-8A9A-AD58951EF85B}"/>
                </a:ext>
              </a:extLst>
            </p:cNvPr>
            <p:cNvSpPr/>
            <p:nvPr/>
          </p:nvSpPr>
          <p:spPr>
            <a:xfrm flipV="1">
              <a:off x="5454629" y="3254560"/>
              <a:ext cx="21588" cy="8618"/>
            </a:xfrm>
            <a:custGeom>
              <a:avLst/>
              <a:gdLst>
                <a:gd name="connsiteX0" fmla="*/ 15523 w 21588"/>
                <a:gd name="connsiteY0" fmla="*/ 1945 h 8618"/>
                <a:gd name="connsiteX1" fmla="*/ -6065 w 21588"/>
                <a:gd name="connsiteY1" fmla="*/ -4912 h 8618"/>
                <a:gd name="connsiteX2" fmla="*/ -733 w 21588"/>
                <a:gd name="connsiteY2" fmla="*/ 56 h 8618"/>
                <a:gd name="connsiteX3" fmla="*/ 15523 w 21588"/>
                <a:gd name="connsiteY3" fmla="*/ 1945 h 8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88" h="8618">
                  <a:moveTo>
                    <a:pt x="15523" y="1945"/>
                  </a:moveTo>
                  <a:cubicBezTo>
                    <a:pt x="14328" y="-2526"/>
                    <a:pt x="7856" y="-10128"/>
                    <a:pt x="-6065" y="-4912"/>
                  </a:cubicBezTo>
                  <a:cubicBezTo>
                    <a:pt x="-6065" y="-4912"/>
                    <a:pt x="-5372" y="522"/>
                    <a:pt x="-733" y="56"/>
                  </a:cubicBezTo>
                  <a:cubicBezTo>
                    <a:pt x="-733" y="56"/>
                    <a:pt x="13356" y="-2405"/>
                    <a:pt x="15523" y="1945"/>
                  </a:cubicBezTo>
                </a:path>
              </a:pathLst>
            </a:custGeom>
            <a:solidFill>
              <a:srgbClr val="E8E4E2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A3E170E2-E2B4-1E89-4C66-8379941C920E}"/>
                </a:ext>
              </a:extLst>
            </p:cNvPr>
            <p:cNvSpPr/>
            <p:nvPr/>
          </p:nvSpPr>
          <p:spPr>
            <a:xfrm flipV="1">
              <a:off x="5513051" y="3244779"/>
              <a:ext cx="24947" cy="19270"/>
            </a:xfrm>
            <a:custGeom>
              <a:avLst/>
              <a:gdLst>
                <a:gd name="connsiteX0" fmla="*/ -3436 w 24947"/>
                <a:gd name="connsiteY0" fmla="*/ 10873 h 19270"/>
                <a:gd name="connsiteX1" fmla="*/ 16031 w 24947"/>
                <a:gd name="connsiteY1" fmla="*/ 12159 h 19270"/>
                <a:gd name="connsiteX2" fmla="*/ 18472 w 24947"/>
                <a:gd name="connsiteY2" fmla="*/ 9885 h 19270"/>
                <a:gd name="connsiteX3" fmla="*/ -5983 w 24947"/>
                <a:gd name="connsiteY3" fmla="*/ 8295 h 19270"/>
                <a:gd name="connsiteX4" fmla="*/ -3436 w 24947"/>
                <a:gd name="connsiteY4" fmla="*/ 10873 h 19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47" h="19270">
                  <a:moveTo>
                    <a:pt x="-3436" y="10873"/>
                  </a:moveTo>
                  <a:cubicBezTo>
                    <a:pt x="924" y="8523"/>
                    <a:pt x="8576" y="6118"/>
                    <a:pt x="16031" y="12159"/>
                  </a:cubicBezTo>
                  <a:cubicBezTo>
                    <a:pt x="17509" y="13359"/>
                    <a:pt x="18031" y="11855"/>
                    <a:pt x="18472" y="9885"/>
                  </a:cubicBezTo>
                  <a:cubicBezTo>
                    <a:pt x="20791" y="-516"/>
                    <a:pt x="9716" y="-20682"/>
                    <a:pt x="-5983" y="8295"/>
                  </a:cubicBezTo>
                  <a:cubicBezTo>
                    <a:pt x="-6788" y="9779"/>
                    <a:pt x="-4788" y="11602"/>
                    <a:pt x="-3436" y="10873"/>
                  </a:cubicBezTo>
                </a:path>
              </a:pathLst>
            </a:custGeom>
            <a:solidFill>
              <a:srgbClr val="FFFFFF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24DB1792-9ECB-D952-81E9-6B20593943AB}"/>
                </a:ext>
              </a:extLst>
            </p:cNvPr>
            <p:cNvSpPr/>
            <p:nvPr/>
          </p:nvSpPr>
          <p:spPr>
            <a:xfrm flipV="1">
              <a:off x="5378443" y="3103466"/>
              <a:ext cx="124880" cy="186714"/>
            </a:xfrm>
            <a:custGeom>
              <a:avLst/>
              <a:gdLst>
                <a:gd name="connsiteX0" fmla="*/ 108269 w 124880"/>
                <a:gd name="connsiteY0" fmla="*/ 178703 h 186714"/>
                <a:gd name="connsiteX1" fmla="*/ 100527 w 124880"/>
                <a:gd name="connsiteY1" fmla="*/ 178530 h 186714"/>
                <a:gd name="connsiteX2" fmla="*/ 78016 w 124880"/>
                <a:gd name="connsiteY2" fmla="*/ 169096 h 186714"/>
                <a:gd name="connsiteX3" fmla="*/ 49277 w 124880"/>
                <a:gd name="connsiteY3" fmla="*/ 164513 h 186714"/>
                <a:gd name="connsiteX4" fmla="*/ 24843 w 124880"/>
                <a:gd name="connsiteY4" fmla="*/ 149812 h 186714"/>
                <a:gd name="connsiteX5" fmla="*/ 22442 w 124880"/>
                <a:gd name="connsiteY5" fmla="*/ 145689 h 186714"/>
                <a:gd name="connsiteX6" fmla="*/ 20002 w 124880"/>
                <a:gd name="connsiteY6" fmla="*/ 150101 h 186714"/>
                <a:gd name="connsiteX7" fmla="*/ 14791 w 124880"/>
                <a:gd name="connsiteY7" fmla="*/ 149640 h 186714"/>
                <a:gd name="connsiteX8" fmla="*/ 16477 w 124880"/>
                <a:gd name="connsiteY8" fmla="*/ 114029 h 186714"/>
                <a:gd name="connsiteX9" fmla="*/ -3298 w 124880"/>
                <a:gd name="connsiteY9" fmla="*/ 92481 h 186714"/>
                <a:gd name="connsiteX10" fmla="*/ -67 w 124880"/>
                <a:gd name="connsiteY10" fmla="*/ 88612 h 186714"/>
                <a:gd name="connsiteX11" fmla="*/ 2738 w 124880"/>
                <a:gd name="connsiteY11" fmla="*/ 89331 h 186714"/>
                <a:gd name="connsiteX12" fmla="*/ 1477 w 124880"/>
                <a:gd name="connsiteY12" fmla="*/ 87766 h 186714"/>
                <a:gd name="connsiteX13" fmla="*/ -5750 w 124880"/>
                <a:gd name="connsiteY13" fmla="*/ 63585 h 186714"/>
                <a:gd name="connsiteX14" fmla="*/ 11342 w 124880"/>
                <a:gd name="connsiteY14" fmla="*/ 37489 h 186714"/>
                <a:gd name="connsiteX15" fmla="*/ 56443 w 124880"/>
                <a:gd name="connsiteY15" fmla="*/ -6812 h 186714"/>
                <a:gd name="connsiteX16" fmla="*/ 75819 w 124880"/>
                <a:gd name="connsiteY16" fmla="*/ 26814 h 186714"/>
                <a:gd name="connsiteX17" fmla="*/ 61284 w 124880"/>
                <a:gd name="connsiteY17" fmla="*/ 35459 h 186714"/>
                <a:gd name="connsiteX18" fmla="*/ 54934 w 124880"/>
                <a:gd name="connsiteY18" fmla="*/ 50489 h 186714"/>
                <a:gd name="connsiteX19" fmla="*/ 63867 w 124880"/>
                <a:gd name="connsiteY19" fmla="*/ 63534 h 186714"/>
                <a:gd name="connsiteX20" fmla="*/ 80949 w 124880"/>
                <a:gd name="connsiteY20" fmla="*/ 62000 h 186714"/>
                <a:gd name="connsiteX21" fmla="*/ 73925 w 124880"/>
                <a:gd name="connsiteY21" fmla="*/ 113051 h 186714"/>
                <a:gd name="connsiteX22" fmla="*/ 103296 w 124880"/>
                <a:gd name="connsiteY22" fmla="*/ 127180 h 186714"/>
                <a:gd name="connsiteX23" fmla="*/ 118798 w 124880"/>
                <a:gd name="connsiteY23" fmla="*/ 154744 h 186714"/>
                <a:gd name="connsiteX24" fmla="*/ 108269 w 124880"/>
                <a:gd name="connsiteY24" fmla="*/ 178703 h 18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4880" h="186714">
                  <a:moveTo>
                    <a:pt x="108269" y="178703"/>
                  </a:moveTo>
                  <a:cubicBezTo>
                    <a:pt x="106001" y="180399"/>
                    <a:pt x="102780" y="180257"/>
                    <a:pt x="100527" y="178530"/>
                  </a:cubicBezTo>
                  <a:cubicBezTo>
                    <a:pt x="94024" y="173542"/>
                    <a:pt x="86160" y="170585"/>
                    <a:pt x="78016" y="169096"/>
                  </a:cubicBezTo>
                  <a:cubicBezTo>
                    <a:pt x="68470" y="167354"/>
                    <a:pt x="58697" y="166848"/>
                    <a:pt x="49277" y="164513"/>
                  </a:cubicBezTo>
                  <a:cubicBezTo>
                    <a:pt x="39853" y="162173"/>
                    <a:pt x="30500" y="157697"/>
                    <a:pt x="24843" y="149812"/>
                  </a:cubicBezTo>
                  <a:cubicBezTo>
                    <a:pt x="23911" y="148510"/>
                    <a:pt x="23146" y="147113"/>
                    <a:pt x="22442" y="145689"/>
                  </a:cubicBezTo>
                  <a:lnTo>
                    <a:pt x="20002" y="150101"/>
                  </a:lnTo>
                  <a:cubicBezTo>
                    <a:pt x="18812" y="152258"/>
                    <a:pt x="15566" y="151979"/>
                    <a:pt x="14791" y="149640"/>
                  </a:cubicBezTo>
                  <a:cubicBezTo>
                    <a:pt x="9635" y="134052"/>
                    <a:pt x="13130" y="121356"/>
                    <a:pt x="16477" y="114029"/>
                  </a:cubicBezTo>
                  <a:cubicBezTo>
                    <a:pt x="16477" y="114029"/>
                    <a:pt x="3882" y="108261"/>
                    <a:pt x="-3298" y="92481"/>
                  </a:cubicBezTo>
                  <a:cubicBezTo>
                    <a:pt x="-4266" y="90359"/>
                    <a:pt x="-2321" y="88034"/>
                    <a:pt x="-67" y="88612"/>
                  </a:cubicBezTo>
                  <a:lnTo>
                    <a:pt x="2738" y="89331"/>
                  </a:lnTo>
                  <a:cubicBezTo>
                    <a:pt x="2328" y="88809"/>
                    <a:pt x="1862" y="88283"/>
                    <a:pt x="1477" y="87766"/>
                  </a:cubicBezTo>
                  <a:cubicBezTo>
                    <a:pt x="-3683" y="80838"/>
                    <a:pt x="-7031" y="72123"/>
                    <a:pt x="-5750" y="63585"/>
                  </a:cubicBezTo>
                  <a:cubicBezTo>
                    <a:pt x="-4180" y="53107"/>
                    <a:pt x="3786" y="44913"/>
                    <a:pt x="11342" y="37489"/>
                  </a:cubicBezTo>
                  <a:cubicBezTo>
                    <a:pt x="26377" y="22722"/>
                    <a:pt x="41408" y="7955"/>
                    <a:pt x="56443" y="-6812"/>
                  </a:cubicBezTo>
                  <a:cubicBezTo>
                    <a:pt x="59132" y="6254"/>
                    <a:pt x="65716" y="18099"/>
                    <a:pt x="75819" y="26814"/>
                  </a:cubicBezTo>
                  <a:cubicBezTo>
                    <a:pt x="70562" y="28723"/>
                    <a:pt x="65199" y="31463"/>
                    <a:pt x="61284" y="35459"/>
                  </a:cubicBezTo>
                  <a:cubicBezTo>
                    <a:pt x="57365" y="39449"/>
                    <a:pt x="54716" y="44898"/>
                    <a:pt x="54934" y="50489"/>
                  </a:cubicBezTo>
                  <a:cubicBezTo>
                    <a:pt x="55157" y="56075"/>
                    <a:pt x="58606" y="61635"/>
                    <a:pt x="63867" y="63534"/>
                  </a:cubicBezTo>
                  <a:cubicBezTo>
                    <a:pt x="69256" y="65484"/>
                    <a:pt x="75581" y="63990"/>
                    <a:pt x="80949" y="62000"/>
                  </a:cubicBezTo>
                  <a:cubicBezTo>
                    <a:pt x="80949" y="62000"/>
                    <a:pt x="95052" y="90673"/>
                    <a:pt x="73925" y="113051"/>
                  </a:cubicBezTo>
                  <a:cubicBezTo>
                    <a:pt x="84387" y="115897"/>
                    <a:pt x="94870" y="120354"/>
                    <a:pt x="103296" y="127180"/>
                  </a:cubicBezTo>
                  <a:cubicBezTo>
                    <a:pt x="111728" y="134012"/>
                    <a:pt x="118079" y="143922"/>
                    <a:pt x="118798" y="154744"/>
                  </a:cubicBezTo>
                  <a:cubicBezTo>
                    <a:pt x="119395" y="163819"/>
                    <a:pt x="115440" y="173340"/>
                    <a:pt x="108269" y="178703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18C935CE-03BF-8FBE-902A-A383685C54B2}"/>
                </a:ext>
              </a:extLst>
            </p:cNvPr>
            <p:cNvSpPr/>
            <p:nvPr/>
          </p:nvSpPr>
          <p:spPr>
            <a:xfrm flipV="1">
              <a:off x="5460665" y="3175217"/>
              <a:ext cx="65655" cy="46036"/>
            </a:xfrm>
            <a:custGeom>
              <a:avLst/>
              <a:gdLst>
                <a:gd name="connsiteX0" fmla="*/ 56834 w 65655"/>
                <a:gd name="connsiteY0" fmla="*/ 8966 h 46036"/>
                <a:gd name="connsiteX1" fmla="*/ 48103 w 65655"/>
                <a:gd name="connsiteY1" fmla="*/ -2717 h 46036"/>
                <a:gd name="connsiteX2" fmla="*/ 33534 w 65655"/>
                <a:gd name="connsiteY2" fmla="*/ -3405 h 46036"/>
                <a:gd name="connsiteX3" fmla="*/ 21521 w 65655"/>
                <a:gd name="connsiteY3" fmla="*/ 7432 h 46036"/>
                <a:gd name="connsiteX4" fmla="*/ 19278 w 65655"/>
                <a:gd name="connsiteY4" fmla="*/ 23450 h 46036"/>
                <a:gd name="connsiteX5" fmla="*/ 28003 w 65655"/>
                <a:gd name="connsiteY5" fmla="*/ 35133 h 46036"/>
                <a:gd name="connsiteX6" fmla="*/ 35473 w 65655"/>
                <a:gd name="connsiteY6" fmla="*/ 37077 h 46036"/>
                <a:gd name="connsiteX7" fmla="*/ 42568 w 65655"/>
                <a:gd name="connsiteY7" fmla="*/ 35826 h 46036"/>
                <a:gd name="connsiteX8" fmla="*/ 54585 w 65655"/>
                <a:gd name="connsiteY8" fmla="*/ 24984 h 46036"/>
                <a:gd name="connsiteX9" fmla="*/ 56834 w 65655"/>
                <a:gd name="connsiteY9" fmla="*/ 8966 h 46036"/>
                <a:gd name="connsiteX10" fmla="*/ 56469 w 65655"/>
                <a:gd name="connsiteY10" fmla="*/ 25987 h 46036"/>
                <a:gd name="connsiteX11" fmla="*/ 43328 w 65655"/>
                <a:gd name="connsiteY11" fmla="*/ 37822 h 46036"/>
                <a:gd name="connsiteX12" fmla="*/ 27001 w 65655"/>
                <a:gd name="connsiteY12" fmla="*/ 37022 h 46036"/>
                <a:gd name="connsiteX13" fmla="*/ 17192 w 65655"/>
                <a:gd name="connsiteY13" fmla="*/ 23946 h 46036"/>
                <a:gd name="connsiteX14" fmla="*/ 17293 w 65655"/>
                <a:gd name="connsiteY14" fmla="*/ 12962 h 46036"/>
                <a:gd name="connsiteX15" fmla="*/ -6113 w 65655"/>
                <a:gd name="connsiteY15" fmla="*/ -5507 h 46036"/>
                <a:gd name="connsiteX16" fmla="*/ -4017 w 65655"/>
                <a:gd name="connsiteY16" fmla="*/ -5917 h 46036"/>
                <a:gd name="connsiteX17" fmla="*/ 17774 w 65655"/>
                <a:gd name="connsiteY17" fmla="*/ 10881 h 46036"/>
                <a:gd name="connsiteX18" fmla="*/ 19632 w 65655"/>
                <a:gd name="connsiteY18" fmla="*/ 6429 h 46036"/>
                <a:gd name="connsiteX19" fmla="*/ 32779 w 65655"/>
                <a:gd name="connsiteY19" fmla="*/ -5401 h 46036"/>
                <a:gd name="connsiteX20" fmla="*/ 40684 w 65655"/>
                <a:gd name="connsiteY20" fmla="*/ -6803 h 46036"/>
                <a:gd name="connsiteX21" fmla="*/ 49106 w 65655"/>
                <a:gd name="connsiteY21" fmla="*/ -4605 h 46036"/>
                <a:gd name="connsiteX22" fmla="*/ 58910 w 65655"/>
                <a:gd name="connsiteY22" fmla="*/ 8475 h 46036"/>
                <a:gd name="connsiteX23" fmla="*/ 56469 w 65655"/>
                <a:gd name="connsiteY23" fmla="*/ 25987 h 46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5655" h="46036">
                  <a:moveTo>
                    <a:pt x="56834" y="8966"/>
                  </a:moveTo>
                  <a:cubicBezTo>
                    <a:pt x="55593" y="3765"/>
                    <a:pt x="52494" y="-387"/>
                    <a:pt x="48103" y="-2717"/>
                  </a:cubicBezTo>
                  <a:cubicBezTo>
                    <a:pt x="43718" y="-5051"/>
                    <a:pt x="38532" y="-5294"/>
                    <a:pt x="33534" y="-3405"/>
                  </a:cubicBezTo>
                  <a:cubicBezTo>
                    <a:pt x="28485" y="-1496"/>
                    <a:pt x="24215" y="2353"/>
                    <a:pt x="21521" y="7432"/>
                  </a:cubicBezTo>
                  <a:cubicBezTo>
                    <a:pt x="18827" y="12511"/>
                    <a:pt x="18032" y="18198"/>
                    <a:pt x="19278" y="23450"/>
                  </a:cubicBezTo>
                  <a:cubicBezTo>
                    <a:pt x="20514" y="28656"/>
                    <a:pt x="23613" y="32803"/>
                    <a:pt x="28003" y="35133"/>
                  </a:cubicBezTo>
                  <a:cubicBezTo>
                    <a:pt x="30323" y="36368"/>
                    <a:pt x="32855" y="37017"/>
                    <a:pt x="35473" y="37077"/>
                  </a:cubicBezTo>
                  <a:cubicBezTo>
                    <a:pt x="37808" y="37133"/>
                    <a:pt x="40208" y="36713"/>
                    <a:pt x="42568" y="35826"/>
                  </a:cubicBezTo>
                  <a:cubicBezTo>
                    <a:pt x="47622" y="33912"/>
                    <a:pt x="51886" y="30064"/>
                    <a:pt x="54585" y="24984"/>
                  </a:cubicBezTo>
                  <a:cubicBezTo>
                    <a:pt x="57279" y="19910"/>
                    <a:pt x="58079" y="14218"/>
                    <a:pt x="56834" y="8966"/>
                  </a:cubicBezTo>
                  <a:close/>
                  <a:moveTo>
                    <a:pt x="56469" y="25987"/>
                  </a:moveTo>
                  <a:cubicBezTo>
                    <a:pt x="53532" y="31527"/>
                    <a:pt x="48863" y="35730"/>
                    <a:pt x="43328" y="37822"/>
                  </a:cubicBezTo>
                  <a:cubicBezTo>
                    <a:pt x="37737" y="39944"/>
                    <a:pt x="31943" y="39655"/>
                    <a:pt x="27001" y="37022"/>
                  </a:cubicBezTo>
                  <a:cubicBezTo>
                    <a:pt x="22053" y="34403"/>
                    <a:pt x="18574" y="29755"/>
                    <a:pt x="17192" y="23946"/>
                  </a:cubicBezTo>
                  <a:cubicBezTo>
                    <a:pt x="16341" y="20371"/>
                    <a:pt x="16457" y="16623"/>
                    <a:pt x="17293" y="12962"/>
                  </a:cubicBezTo>
                  <a:cubicBezTo>
                    <a:pt x="12857" y="12228"/>
                    <a:pt x="-3369" y="8586"/>
                    <a:pt x="-6113" y="-5507"/>
                  </a:cubicBezTo>
                  <a:lnTo>
                    <a:pt x="-4017" y="-5917"/>
                  </a:lnTo>
                  <a:cubicBezTo>
                    <a:pt x="-1495" y="7012"/>
                    <a:pt x="13930" y="10268"/>
                    <a:pt x="17774" y="10881"/>
                  </a:cubicBezTo>
                  <a:cubicBezTo>
                    <a:pt x="18255" y="9366"/>
                    <a:pt x="18868" y="7873"/>
                    <a:pt x="19632" y="6429"/>
                  </a:cubicBezTo>
                  <a:cubicBezTo>
                    <a:pt x="22575" y="889"/>
                    <a:pt x="27239" y="-3309"/>
                    <a:pt x="32779" y="-5401"/>
                  </a:cubicBezTo>
                  <a:cubicBezTo>
                    <a:pt x="35402" y="-6398"/>
                    <a:pt x="38076" y="-6864"/>
                    <a:pt x="40684" y="-6803"/>
                  </a:cubicBezTo>
                  <a:cubicBezTo>
                    <a:pt x="43626" y="-6733"/>
                    <a:pt x="46487" y="-5998"/>
                    <a:pt x="49106" y="-4605"/>
                  </a:cubicBezTo>
                  <a:cubicBezTo>
                    <a:pt x="54048" y="-1987"/>
                    <a:pt x="57527" y="2662"/>
                    <a:pt x="58910" y="8475"/>
                  </a:cubicBezTo>
                  <a:cubicBezTo>
                    <a:pt x="60277" y="14228"/>
                    <a:pt x="59411" y="20452"/>
                    <a:pt x="56469" y="25987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1C39C105-FF27-C5E5-4CB7-25125E2D9696}"/>
                </a:ext>
              </a:extLst>
            </p:cNvPr>
            <p:cNvSpPr/>
            <p:nvPr/>
          </p:nvSpPr>
          <p:spPr>
            <a:xfrm flipV="1">
              <a:off x="5530918" y="3323098"/>
              <a:ext cx="97679" cy="370861"/>
            </a:xfrm>
            <a:custGeom>
              <a:avLst/>
              <a:gdLst>
                <a:gd name="connsiteX0" fmla="*/ 821 w 97679"/>
                <a:gd name="connsiteY0" fmla="*/ 364748 h 370861"/>
                <a:gd name="connsiteX1" fmla="*/ 12296 w 97679"/>
                <a:gd name="connsiteY1" fmla="*/ 323809 h 370861"/>
                <a:gd name="connsiteX2" fmla="*/ 91307 w 97679"/>
                <a:gd name="connsiteY2" fmla="*/ 29882 h 370861"/>
                <a:gd name="connsiteX3" fmla="*/ 66741 w 97679"/>
                <a:gd name="connsiteY3" fmla="*/ -6114 h 370861"/>
                <a:gd name="connsiteX4" fmla="*/ 26390 w 97679"/>
                <a:gd name="connsiteY4" fmla="*/ 27041 h 370861"/>
                <a:gd name="connsiteX5" fmla="*/ 3540 w 97679"/>
                <a:gd name="connsiteY5" fmla="*/ 320477 h 370861"/>
                <a:gd name="connsiteX6" fmla="*/ 821 w 97679"/>
                <a:gd name="connsiteY6" fmla="*/ 364748 h 370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679" h="370861">
                  <a:moveTo>
                    <a:pt x="821" y="364748"/>
                  </a:moveTo>
                  <a:cubicBezTo>
                    <a:pt x="821" y="364748"/>
                    <a:pt x="20323" y="352386"/>
                    <a:pt x="12296" y="323809"/>
                  </a:cubicBezTo>
                  <a:cubicBezTo>
                    <a:pt x="12296" y="323809"/>
                    <a:pt x="94862" y="222476"/>
                    <a:pt x="91307" y="29882"/>
                  </a:cubicBezTo>
                  <a:lnTo>
                    <a:pt x="66741" y="-6114"/>
                  </a:lnTo>
                  <a:lnTo>
                    <a:pt x="26390" y="27041"/>
                  </a:lnTo>
                  <a:cubicBezTo>
                    <a:pt x="26390" y="27041"/>
                    <a:pt x="71096" y="225651"/>
                    <a:pt x="3540" y="320477"/>
                  </a:cubicBezTo>
                  <a:cubicBezTo>
                    <a:pt x="3540" y="320477"/>
                    <a:pt x="-16570" y="343706"/>
                    <a:pt x="821" y="364748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C75F792F-78B3-36ED-5154-BFDD29BD5442}"/>
                </a:ext>
              </a:extLst>
            </p:cNvPr>
            <p:cNvSpPr/>
            <p:nvPr/>
          </p:nvSpPr>
          <p:spPr>
            <a:xfrm flipV="1">
              <a:off x="5436605" y="3314818"/>
              <a:ext cx="101201" cy="47007"/>
            </a:xfrm>
            <a:custGeom>
              <a:avLst/>
              <a:gdLst>
                <a:gd name="connsiteX0" fmla="*/ -6103 w 101201"/>
                <a:gd name="connsiteY0" fmla="*/ 39753 h 47007"/>
                <a:gd name="connsiteX1" fmla="*/ 95099 w 101201"/>
                <a:gd name="connsiteY1" fmla="*/ 40513 h 47007"/>
                <a:gd name="connsiteX2" fmla="*/ 90060 w 101201"/>
                <a:gd name="connsiteY2" fmla="*/ -6472 h 47007"/>
                <a:gd name="connsiteX3" fmla="*/ -5257 w 101201"/>
                <a:gd name="connsiteY3" fmla="*/ 17592 h 47007"/>
                <a:gd name="connsiteX4" fmla="*/ -6103 w 101201"/>
                <a:gd name="connsiteY4" fmla="*/ 39753 h 4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01" h="47007">
                  <a:moveTo>
                    <a:pt x="-6103" y="39753"/>
                  </a:moveTo>
                  <a:lnTo>
                    <a:pt x="95099" y="40513"/>
                  </a:lnTo>
                  <a:cubicBezTo>
                    <a:pt x="95099" y="40513"/>
                    <a:pt x="90080" y="-7688"/>
                    <a:pt x="90060" y="-6472"/>
                  </a:cubicBezTo>
                  <a:cubicBezTo>
                    <a:pt x="90045" y="-5257"/>
                    <a:pt x="-5257" y="17592"/>
                    <a:pt x="-5257" y="17592"/>
                  </a:cubicBezTo>
                  <a:lnTo>
                    <a:pt x="-6103" y="39753"/>
                  </a:ln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FC85D7A5-02CD-58C2-2099-92A8BF81BB9E}"/>
                </a:ext>
              </a:extLst>
            </p:cNvPr>
            <p:cNvSpPr/>
            <p:nvPr/>
          </p:nvSpPr>
          <p:spPr>
            <a:xfrm flipV="1">
              <a:off x="5188577" y="4701418"/>
              <a:ext cx="133866" cy="170084"/>
            </a:xfrm>
            <a:custGeom>
              <a:avLst/>
              <a:gdLst>
                <a:gd name="connsiteX0" fmla="*/ 115314 w 133866"/>
                <a:gd name="connsiteY0" fmla="*/ 113 h 170084"/>
                <a:gd name="connsiteX1" fmla="*/ 23152 w 133866"/>
                <a:gd name="connsiteY1" fmla="*/ -3254 h 170084"/>
                <a:gd name="connsiteX2" fmla="*/ -5415 w 133866"/>
                <a:gd name="connsiteY2" fmla="*/ 29450 h 170084"/>
                <a:gd name="connsiteX3" fmla="*/ -1 w 133866"/>
                <a:gd name="connsiteY3" fmla="*/ 51925 h 170084"/>
                <a:gd name="connsiteX4" fmla="*/ 29396 w 133866"/>
                <a:gd name="connsiteY4" fmla="*/ 165336 h 170084"/>
                <a:gd name="connsiteX5" fmla="*/ 94121 w 133866"/>
                <a:gd name="connsiteY5" fmla="*/ 166830 h 170084"/>
                <a:gd name="connsiteX6" fmla="*/ 116722 w 133866"/>
                <a:gd name="connsiteY6" fmla="*/ 36185 h 170084"/>
                <a:gd name="connsiteX7" fmla="*/ 127630 w 133866"/>
                <a:gd name="connsiteY7" fmla="*/ 15635 h 170084"/>
                <a:gd name="connsiteX8" fmla="*/ 127686 w 133866"/>
                <a:gd name="connsiteY8" fmla="*/ 15478 h 170084"/>
                <a:gd name="connsiteX9" fmla="*/ 115314 w 133866"/>
                <a:gd name="connsiteY9" fmla="*/ 113 h 170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3866" h="170084">
                  <a:moveTo>
                    <a:pt x="115314" y="113"/>
                  </a:moveTo>
                  <a:lnTo>
                    <a:pt x="23152" y="-3254"/>
                  </a:lnTo>
                  <a:cubicBezTo>
                    <a:pt x="5919" y="-2854"/>
                    <a:pt x="-7907" y="12333"/>
                    <a:pt x="-5415" y="29450"/>
                  </a:cubicBezTo>
                  <a:cubicBezTo>
                    <a:pt x="-4311" y="37066"/>
                    <a:pt x="-2245" y="44759"/>
                    <a:pt x="-1" y="51925"/>
                  </a:cubicBezTo>
                  <a:cubicBezTo>
                    <a:pt x="12046" y="90387"/>
                    <a:pt x="18974" y="128140"/>
                    <a:pt x="29396" y="165336"/>
                  </a:cubicBezTo>
                  <a:lnTo>
                    <a:pt x="94121" y="166830"/>
                  </a:lnTo>
                  <a:cubicBezTo>
                    <a:pt x="76138" y="126205"/>
                    <a:pt x="92404" y="77012"/>
                    <a:pt x="116722" y="36185"/>
                  </a:cubicBezTo>
                  <a:cubicBezTo>
                    <a:pt x="120672" y="29485"/>
                    <a:pt x="125316" y="23069"/>
                    <a:pt x="127630" y="15635"/>
                  </a:cubicBezTo>
                  <a:lnTo>
                    <a:pt x="127686" y="15478"/>
                  </a:lnTo>
                  <a:cubicBezTo>
                    <a:pt x="130005" y="7619"/>
                    <a:pt x="123503" y="-125"/>
                    <a:pt x="115314" y="113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5D9D3695-F396-E324-E2D4-EEFC634A1D74}"/>
                </a:ext>
              </a:extLst>
            </p:cNvPr>
            <p:cNvSpPr/>
            <p:nvPr/>
          </p:nvSpPr>
          <p:spPr>
            <a:xfrm flipV="1">
              <a:off x="5726569" y="4502600"/>
              <a:ext cx="209357" cy="128442"/>
            </a:xfrm>
            <a:custGeom>
              <a:avLst/>
              <a:gdLst>
                <a:gd name="connsiteX0" fmla="*/ 201949 w 209357"/>
                <a:gd name="connsiteY0" fmla="*/ 23480 h 128442"/>
                <a:gd name="connsiteX1" fmla="*/ 185830 w 209357"/>
                <a:gd name="connsiteY1" fmla="*/ 36616 h 128442"/>
                <a:gd name="connsiteX2" fmla="*/ 75913 w 209357"/>
                <a:gd name="connsiteY2" fmla="*/ 124697 h 128442"/>
                <a:gd name="connsiteX3" fmla="*/ 22471 w 209357"/>
                <a:gd name="connsiteY3" fmla="*/ 123461 h 128442"/>
                <a:gd name="connsiteX4" fmla="*/ -5650 w 209357"/>
                <a:gd name="connsiteY4" fmla="*/ 22766 h 128442"/>
                <a:gd name="connsiteX5" fmla="*/ 13954 w 209357"/>
                <a:gd name="connsiteY5" fmla="*/ -3740 h 128442"/>
                <a:gd name="connsiteX6" fmla="*/ 184853 w 209357"/>
                <a:gd name="connsiteY6" fmla="*/ 225 h 128442"/>
                <a:gd name="connsiteX7" fmla="*/ 201949 w 209357"/>
                <a:gd name="connsiteY7" fmla="*/ 23480 h 128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357" h="128442">
                  <a:moveTo>
                    <a:pt x="201949" y="23480"/>
                  </a:moveTo>
                  <a:cubicBezTo>
                    <a:pt x="199843" y="30797"/>
                    <a:pt x="193432" y="36074"/>
                    <a:pt x="185830" y="36616"/>
                  </a:cubicBezTo>
                  <a:cubicBezTo>
                    <a:pt x="155886" y="38738"/>
                    <a:pt x="81874" y="51413"/>
                    <a:pt x="75913" y="124697"/>
                  </a:cubicBezTo>
                  <a:lnTo>
                    <a:pt x="22471" y="123461"/>
                  </a:lnTo>
                  <a:lnTo>
                    <a:pt x="-5650" y="22766"/>
                  </a:lnTo>
                  <a:cubicBezTo>
                    <a:pt x="-10040" y="9528"/>
                    <a:pt x="7" y="-4064"/>
                    <a:pt x="13954" y="-3740"/>
                  </a:cubicBezTo>
                  <a:lnTo>
                    <a:pt x="184853" y="225"/>
                  </a:lnTo>
                  <a:cubicBezTo>
                    <a:pt x="196789" y="504"/>
                    <a:pt x="205241" y="11994"/>
                    <a:pt x="201949" y="23480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3ABCC4CE-279F-3A59-E797-59B0C895D71B}"/>
                </a:ext>
              </a:extLst>
            </p:cNvPr>
            <p:cNvSpPr/>
            <p:nvPr/>
          </p:nvSpPr>
          <p:spPr>
            <a:xfrm flipV="1">
              <a:off x="5209064" y="3761757"/>
              <a:ext cx="765181" cy="960075"/>
            </a:xfrm>
            <a:custGeom>
              <a:avLst/>
              <a:gdLst>
                <a:gd name="connsiteX0" fmla="*/ 730433 w 765181"/>
                <a:gd name="connsiteY0" fmla="*/ 728272 h 960075"/>
                <a:gd name="connsiteX1" fmla="*/ 441636 w 765181"/>
                <a:gd name="connsiteY1" fmla="*/ 932276 h 960075"/>
                <a:gd name="connsiteX2" fmla="*/ 230077 w 765181"/>
                <a:gd name="connsiteY2" fmla="*/ 951940 h 960075"/>
                <a:gd name="connsiteX3" fmla="*/ 205612 w 765181"/>
                <a:gd name="connsiteY3" fmla="*/ 893920 h 960075"/>
                <a:gd name="connsiteX4" fmla="*/ 176205 w 765181"/>
                <a:gd name="connsiteY4" fmla="*/ 783258 h 960075"/>
                <a:gd name="connsiteX5" fmla="*/ 125644 w 765181"/>
                <a:gd name="connsiteY5" fmla="*/ 466993 h 960075"/>
                <a:gd name="connsiteX6" fmla="*/ -6281 w 765181"/>
                <a:gd name="connsiteY6" fmla="*/ 7985 h 960075"/>
                <a:gd name="connsiteX7" fmla="*/ 79930 w 765181"/>
                <a:gd name="connsiteY7" fmla="*/ 4638 h 960075"/>
                <a:gd name="connsiteX8" fmla="*/ 236873 w 765181"/>
                <a:gd name="connsiteY8" fmla="*/ 428698 h 960075"/>
                <a:gd name="connsiteX9" fmla="*/ 376177 w 765181"/>
                <a:gd name="connsiteY9" fmla="*/ 744077 h 960075"/>
                <a:gd name="connsiteX10" fmla="*/ 622603 w 765181"/>
                <a:gd name="connsiteY10" fmla="*/ 627901 h 960075"/>
                <a:gd name="connsiteX11" fmla="*/ 529818 w 765181"/>
                <a:gd name="connsiteY11" fmla="*/ 207790 h 960075"/>
                <a:gd name="connsiteX12" fmla="*/ 616536 w 765181"/>
                <a:gd name="connsiteY12" fmla="*/ 197141 h 960075"/>
                <a:gd name="connsiteX13" fmla="*/ 750128 w 765181"/>
                <a:gd name="connsiteY13" fmla="*/ 610531 h 960075"/>
                <a:gd name="connsiteX14" fmla="*/ 730433 w 765181"/>
                <a:gd name="connsiteY14" fmla="*/ 728272 h 960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5181" h="960075">
                  <a:moveTo>
                    <a:pt x="730433" y="728272"/>
                  </a:moveTo>
                  <a:cubicBezTo>
                    <a:pt x="614880" y="856273"/>
                    <a:pt x="441636" y="932276"/>
                    <a:pt x="441636" y="932276"/>
                  </a:cubicBezTo>
                  <a:cubicBezTo>
                    <a:pt x="441636" y="932276"/>
                    <a:pt x="285083" y="966656"/>
                    <a:pt x="230077" y="951940"/>
                  </a:cubicBezTo>
                  <a:lnTo>
                    <a:pt x="205612" y="893920"/>
                  </a:lnTo>
                  <a:cubicBezTo>
                    <a:pt x="191984" y="858157"/>
                    <a:pt x="182125" y="821067"/>
                    <a:pt x="176205" y="783258"/>
                  </a:cubicBezTo>
                  <a:lnTo>
                    <a:pt x="125644" y="466993"/>
                  </a:lnTo>
                  <a:cubicBezTo>
                    <a:pt x="125644" y="466993"/>
                    <a:pt x="35989" y="283408"/>
                    <a:pt x="-6281" y="7985"/>
                  </a:cubicBezTo>
                  <a:cubicBezTo>
                    <a:pt x="-6281" y="7985"/>
                    <a:pt x="41524" y="-17660"/>
                    <a:pt x="79930" y="4638"/>
                  </a:cubicBezTo>
                  <a:cubicBezTo>
                    <a:pt x="79930" y="4638"/>
                    <a:pt x="149365" y="294311"/>
                    <a:pt x="236873" y="428698"/>
                  </a:cubicBezTo>
                  <a:cubicBezTo>
                    <a:pt x="236873" y="428698"/>
                    <a:pt x="315752" y="596058"/>
                    <a:pt x="376177" y="744077"/>
                  </a:cubicBezTo>
                  <a:cubicBezTo>
                    <a:pt x="482301" y="699108"/>
                    <a:pt x="622603" y="627901"/>
                    <a:pt x="622603" y="627901"/>
                  </a:cubicBezTo>
                  <a:lnTo>
                    <a:pt x="529818" y="207790"/>
                  </a:lnTo>
                  <a:cubicBezTo>
                    <a:pt x="558617" y="167586"/>
                    <a:pt x="616536" y="197141"/>
                    <a:pt x="616536" y="197141"/>
                  </a:cubicBezTo>
                  <a:lnTo>
                    <a:pt x="750128" y="610531"/>
                  </a:lnTo>
                  <a:cubicBezTo>
                    <a:pt x="766849" y="650274"/>
                    <a:pt x="759329" y="696261"/>
                    <a:pt x="730433" y="728272"/>
                  </a:cubicBezTo>
                </a:path>
              </a:pathLst>
            </a:custGeom>
            <a:solidFill>
              <a:srgbClr val="74B6D6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BD193F55-F0C7-8786-CFE8-199222D40F1E}"/>
                </a:ext>
              </a:extLst>
            </p:cNvPr>
            <p:cNvSpPr/>
            <p:nvPr/>
          </p:nvSpPr>
          <p:spPr>
            <a:xfrm flipV="1">
              <a:off x="5445453" y="3738767"/>
              <a:ext cx="214811" cy="46306"/>
            </a:xfrm>
            <a:custGeom>
              <a:avLst/>
              <a:gdLst>
                <a:gd name="connsiteX0" fmla="*/ 206889 w 214811"/>
                <a:gd name="connsiteY0" fmla="*/ 94 h 46306"/>
                <a:gd name="connsiteX1" fmla="*/ 205324 w 214811"/>
                <a:gd name="connsiteY1" fmla="*/ -5547 h 46306"/>
                <a:gd name="connsiteX2" fmla="*/ 184784 w 214811"/>
                <a:gd name="connsiteY2" fmla="*/ -3511 h 46306"/>
                <a:gd name="connsiteX3" fmla="*/ 89092 w 214811"/>
                <a:gd name="connsiteY3" fmla="*/ 1097 h 46306"/>
                <a:gd name="connsiteX4" fmla="*/ 73869 w 214811"/>
                <a:gd name="connsiteY4" fmla="*/ 2789 h 46306"/>
                <a:gd name="connsiteX5" fmla="*/ -6215 w 214811"/>
                <a:gd name="connsiteY5" fmla="*/ 14127 h 46306"/>
                <a:gd name="connsiteX6" fmla="*/ -3329 w 214811"/>
                <a:gd name="connsiteY6" fmla="*/ 40759 h 46306"/>
                <a:gd name="connsiteX7" fmla="*/ 75404 w 214811"/>
                <a:gd name="connsiteY7" fmla="*/ 29856 h 46306"/>
                <a:gd name="connsiteX8" fmla="*/ 90682 w 214811"/>
                <a:gd name="connsiteY8" fmla="*/ 28286 h 46306"/>
                <a:gd name="connsiteX9" fmla="*/ 206129 w 214811"/>
                <a:gd name="connsiteY9" fmla="*/ 27871 h 46306"/>
                <a:gd name="connsiteX10" fmla="*/ 206185 w 214811"/>
                <a:gd name="connsiteY10" fmla="*/ 27871 h 46306"/>
                <a:gd name="connsiteX11" fmla="*/ 206479 w 214811"/>
                <a:gd name="connsiteY11" fmla="*/ 27937 h 46306"/>
                <a:gd name="connsiteX12" fmla="*/ 206889 w 214811"/>
                <a:gd name="connsiteY12" fmla="*/ 94 h 4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4811" h="46306">
                  <a:moveTo>
                    <a:pt x="206889" y="94"/>
                  </a:moveTo>
                  <a:cubicBezTo>
                    <a:pt x="206463" y="-1724"/>
                    <a:pt x="205982" y="-3602"/>
                    <a:pt x="205324" y="-5547"/>
                  </a:cubicBezTo>
                  <a:lnTo>
                    <a:pt x="184784" y="-3511"/>
                  </a:lnTo>
                  <a:cubicBezTo>
                    <a:pt x="159833" y="-5203"/>
                    <a:pt x="123452" y="-2600"/>
                    <a:pt x="89092" y="1097"/>
                  </a:cubicBezTo>
                  <a:cubicBezTo>
                    <a:pt x="83942" y="1680"/>
                    <a:pt x="78847" y="2262"/>
                    <a:pt x="73869" y="2789"/>
                  </a:cubicBezTo>
                  <a:cubicBezTo>
                    <a:pt x="30368" y="7969"/>
                    <a:pt x="-6215" y="14127"/>
                    <a:pt x="-6215" y="14127"/>
                  </a:cubicBezTo>
                  <a:cubicBezTo>
                    <a:pt x="-5076" y="22969"/>
                    <a:pt x="-4174" y="31867"/>
                    <a:pt x="-3329" y="40759"/>
                  </a:cubicBezTo>
                  <a:cubicBezTo>
                    <a:pt x="-3329" y="40759"/>
                    <a:pt x="32373" y="34703"/>
                    <a:pt x="75404" y="29856"/>
                  </a:cubicBezTo>
                  <a:cubicBezTo>
                    <a:pt x="80437" y="29335"/>
                    <a:pt x="85527" y="28752"/>
                    <a:pt x="90682" y="28286"/>
                  </a:cubicBezTo>
                  <a:cubicBezTo>
                    <a:pt x="134284" y="23866"/>
                    <a:pt x="181811" y="21409"/>
                    <a:pt x="206129" y="27871"/>
                  </a:cubicBezTo>
                  <a:lnTo>
                    <a:pt x="206185" y="27871"/>
                  </a:lnTo>
                  <a:lnTo>
                    <a:pt x="206479" y="27937"/>
                  </a:lnTo>
                  <a:cubicBezTo>
                    <a:pt x="207096" y="26372"/>
                    <a:pt x="210661" y="16122"/>
                    <a:pt x="206889" y="94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7C541B89-7CE6-A725-76B5-BE22E2563181}"/>
                </a:ext>
              </a:extLst>
            </p:cNvPr>
            <p:cNvSpPr/>
            <p:nvPr/>
          </p:nvSpPr>
          <p:spPr>
            <a:xfrm flipV="1">
              <a:off x="5629640" y="3746202"/>
              <a:ext cx="33706" cy="40518"/>
            </a:xfrm>
            <a:custGeom>
              <a:avLst/>
              <a:gdLst>
                <a:gd name="connsiteX0" fmla="*/ 19710 w 33706"/>
                <a:gd name="connsiteY0" fmla="*/ 34967 h 40518"/>
                <a:gd name="connsiteX1" fmla="*/ -3063 w 33706"/>
                <a:gd name="connsiteY1" fmla="*/ 32941 h 40518"/>
                <a:gd name="connsiteX2" fmla="*/ -6350 w 33706"/>
                <a:gd name="connsiteY2" fmla="*/ 28662 h 40518"/>
                <a:gd name="connsiteX3" fmla="*/ -2572 w 33706"/>
                <a:gd name="connsiteY3" fmla="*/ -2250 h 40518"/>
                <a:gd name="connsiteX4" fmla="*/ 1707 w 33706"/>
                <a:gd name="connsiteY4" fmla="*/ -5536 h 40518"/>
                <a:gd name="connsiteX5" fmla="*/ 24126 w 33706"/>
                <a:gd name="connsiteY5" fmla="*/ -5009 h 40518"/>
                <a:gd name="connsiteX6" fmla="*/ 23134 w 33706"/>
                <a:gd name="connsiteY6" fmla="*/ 2556 h 40518"/>
                <a:gd name="connsiteX7" fmla="*/ 4599 w 33706"/>
                <a:gd name="connsiteY7" fmla="*/ 2085 h 40518"/>
                <a:gd name="connsiteX8" fmla="*/ 1687 w 33706"/>
                <a:gd name="connsiteY8" fmla="*/ 25674 h 40518"/>
                <a:gd name="connsiteX9" fmla="*/ 20703 w 33706"/>
                <a:gd name="connsiteY9" fmla="*/ 27396 h 40518"/>
                <a:gd name="connsiteX10" fmla="*/ 19710 w 33706"/>
                <a:gd name="connsiteY10" fmla="*/ 34967 h 4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706" h="40518">
                  <a:moveTo>
                    <a:pt x="19710" y="34967"/>
                  </a:moveTo>
                  <a:cubicBezTo>
                    <a:pt x="9749" y="34167"/>
                    <a:pt x="6903" y="33736"/>
                    <a:pt x="-3063" y="32941"/>
                  </a:cubicBezTo>
                  <a:cubicBezTo>
                    <a:pt x="-5135" y="32774"/>
                    <a:pt x="-6588" y="30632"/>
                    <a:pt x="-6350" y="28662"/>
                  </a:cubicBezTo>
                  <a:cubicBezTo>
                    <a:pt x="-4967" y="17004"/>
                    <a:pt x="-3955" y="9413"/>
                    <a:pt x="-2572" y="-2250"/>
                  </a:cubicBezTo>
                  <a:cubicBezTo>
                    <a:pt x="-2303" y="-4468"/>
                    <a:pt x="-339" y="-5572"/>
                    <a:pt x="1707" y="-5536"/>
                  </a:cubicBezTo>
                  <a:cubicBezTo>
                    <a:pt x="11532" y="-5394"/>
                    <a:pt x="14297" y="-5156"/>
                    <a:pt x="24126" y="-5009"/>
                  </a:cubicBezTo>
                  <a:cubicBezTo>
                    <a:pt x="29033" y="-4939"/>
                    <a:pt x="27990" y="2627"/>
                    <a:pt x="23134" y="2556"/>
                  </a:cubicBezTo>
                  <a:cubicBezTo>
                    <a:pt x="14605" y="2435"/>
                    <a:pt x="13137" y="2212"/>
                    <a:pt x="4599" y="2085"/>
                  </a:cubicBezTo>
                  <a:cubicBezTo>
                    <a:pt x="3505" y="11307"/>
                    <a:pt x="2786" y="16457"/>
                    <a:pt x="1687" y="25674"/>
                  </a:cubicBezTo>
                  <a:cubicBezTo>
                    <a:pt x="10402" y="26373"/>
                    <a:pt x="11987" y="26697"/>
                    <a:pt x="20703" y="27396"/>
                  </a:cubicBezTo>
                  <a:cubicBezTo>
                    <a:pt x="25610" y="27791"/>
                    <a:pt x="24592" y="35357"/>
                    <a:pt x="19710" y="34967"/>
                  </a:cubicBezTo>
                </a:path>
              </a:pathLst>
            </a:custGeom>
            <a:solidFill>
              <a:srgbClr val="6BB4DA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ECA448D7-2539-CC7E-26FE-05817E24EA20}"/>
                </a:ext>
              </a:extLst>
            </p:cNvPr>
            <p:cNvSpPr/>
            <p:nvPr/>
          </p:nvSpPr>
          <p:spPr>
            <a:xfrm flipV="1">
              <a:off x="5525020" y="3749645"/>
              <a:ext cx="17349" cy="36360"/>
            </a:xfrm>
            <a:custGeom>
              <a:avLst/>
              <a:gdLst>
                <a:gd name="connsiteX0" fmla="*/ 11168 w 17349"/>
                <a:gd name="connsiteY0" fmla="*/ 29222 h 36360"/>
                <a:gd name="connsiteX1" fmla="*/ 9547 w 17349"/>
                <a:gd name="connsiteY1" fmla="*/ 2073 h 36360"/>
                <a:gd name="connsiteX2" fmla="*/ 9111 w 17349"/>
                <a:gd name="connsiteY2" fmla="*/ -5534 h 36360"/>
                <a:gd name="connsiteX3" fmla="*/ -6182 w 17349"/>
                <a:gd name="connsiteY3" fmla="*/ -4663 h 36360"/>
                <a:gd name="connsiteX4" fmla="*/ -5681 w 17349"/>
                <a:gd name="connsiteY4" fmla="*/ 3759 h 36360"/>
                <a:gd name="connsiteX5" fmla="*/ -4106 w 17349"/>
                <a:gd name="connsiteY5" fmla="*/ 30827 h 36360"/>
                <a:gd name="connsiteX6" fmla="*/ 11168 w 17349"/>
                <a:gd name="connsiteY6" fmla="*/ 29222 h 36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349" h="36360">
                  <a:moveTo>
                    <a:pt x="11168" y="29222"/>
                  </a:moveTo>
                  <a:lnTo>
                    <a:pt x="9547" y="2073"/>
                  </a:lnTo>
                  <a:lnTo>
                    <a:pt x="9111" y="-5534"/>
                  </a:lnTo>
                  <a:lnTo>
                    <a:pt x="-6182" y="-4663"/>
                  </a:lnTo>
                  <a:lnTo>
                    <a:pt x="-5681" y="3759"/>
                  </a:lnTo>
                  <a:lnTo>
                    <a:pt x="-4106" y="30827"/>
                  </a:lnTo>
                  <a:cubicBezTo>
                    <a:pt x="887" y="30290"/>
                    <a:pt x="6007" y="29718"/>
                    <a:pt x="11168" y="29222"/>
                  </a:cubicBezTo>
                </a:path>
              </a:pathLst>
            </a:custGeom>
            <a:solidFill>
              <a:srgbClr val="6BB4DA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04FDA7F3-19A9-739E-A788-8176DF00E56D}"/>
                </a:ext>
              </a:extLst>
            </p:cNvPr>
            <p:cNvSpPr/>
            <p:nvPr/>
          </p:nvSpPr>
          <p:spPr>
            <a:xfrm flipV="1">
              <a:off x="6505700" y="2806465"/>
              <a:ext cx="285526" cy="478425"/>
            </a:xfrm>
            <a:custGeom>
              <a:avLst/>
              <a:gdLst>
                <a:gd name="connsiteX0" fmla="*/ 277436 w 285526"/>
                <a:gd name="connsiteY0" fmla="*/ 19813 h 478425"/>
                <a:gd name="connsiteX1" fmla="*/ 222546 w 285526"/>
                <a:gd name="connsiteY1" fmla="*/ -611 h 478425"/>
                <a:gd name="connsiteX2" fmla="*/ 106861 w 285526"/>
                <a:gd name="connsiteY2" fmla="*/ -2540 h 478425"/>
                <a:gd name="connsiteX3" fmla="*/ 79185 w 285526"/>
                <a:gd name="connsiteY3" fmla="*/ 3572 h 478425"/>
                <a:gd name="connsiteX4" fmla="*/ 47276 w 285526"/>
                <a:gd name="connsiteY4" fmla="*/ 136784 h 478425"/>
                <a:gd name="connsiteX5" fmla="*/ -8090 w 285526"/>
                <a:gd name="connsiteY5" fmla="*/ 380177 h 478425"/>
                <a:gd name="connsiteX6" fmla="*/ 6029 w 285526"/>
                <a:gd name="connsiteY6" fmla="*/ 393895 h 478425"/>
                <a:gd name="connsiteX7" fmla="*/ 22366 w 285526"/>
                <a:gd name="connsiteY7" fmla="*/ 407543 h 478425"/>
                <a:gd name="connsiteX8" fmla="*/ 87404 w 285526"/>
                <a:gd name="connsiteY8" fmla="*/ 462145 h 478425"/>
                <a:gd name="connsiteX9" fmla="*/ 90372 w 285526"/>
                <a:gd name="connsiteY9" fmla="*/ 462332 h 478425"/>
                <a:gd name="connsiteX10" fmla="*/ 200086 w 285526"/>
                <a:gd name="connsiteY10" fmla="*/ 470759 h 478425"/>
                <a:gd name="connsiteX11" fmla="*/ 209966 w 285526"/>
                <a:gd name="connsiteY11" fmla="*/ 471275 h 478425"/>
                <a:gd name="connsiteX12" fmla="*/ 277436 w 285526"/>
                <a:gd name="connsiteY12" fmla="*/ 19813 h 478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5526" h="478425">
                  <a:moveTo>
                    <a:pt x="277436" y="19813"/>
                  </a:moveTo>
                  <a:cubicBezTo>
                    <a:pt x="259499" y="10085"/>
                    <a:pt x="240904" y="3598"/>
                    <a:pt x="222546" y="-611"/>
                  </a:cubicBezTo>
                  <a:cubicBezTo>
                    <a:pt x="177318" y="-10916"/>
                    <a:pt x="133857" y="-7037"/>
                    <a:pt x="106861" y="-2540"/>
                  </a:cubicBezTo>
                  <a:cubicBezTo>
                    <a:pt x="89739" y="382"/>
                    <a:pt x="79185" y="3572"/>
                    <a:pt x="79185" y="3572"/>
                  </a:cubicBezTo>
                  <a:cubicBezTo>
                    <a:pt x="71088" y="51408"/>
                    <a:pt x="59739" y="96322"/>
                    <a:pt x="47276" y="136784"/>
                  </a:cubicBezTo>
                  <a:lnTo>
                    <a:pt x="-8090" y="380177"/>
                  </a:lnTo>
                  <a:lnTo>
                    <a:pt x="6029" y="393895"/>
                  </a:lnTo>
                  <a:lnTo>
                    <a:pt x="22366" y="407543"/>
                  </a:lnTo>
                  <a:lnTo>
                    <a:pt x="87404" y="462145"/>
                  </a:lnTo>
                  <a:lnTo>
                    <a:pt x="90372" y="462332"/>
                  </a:lnTo>
                  <a:lnTo>
                    <a:pt x="200086" y="470759"/>
                  </a:lnTo>
                  <a:cubicBezTo>
                    <a:pt x="203398" y="471012"/>
                    <a:pt x="206654" y="471144"/>
                    <a:pt x="209966" y="471275"/>
                  </a:cubicBezTo>
                  <a:lnTo>
                    <a:pt x="277436" y="19813"/>
                  </a:lnTo>
                </a:path>
              </a:pathLst>
            </a:custGeom>
            <a:solidFill>
              <a:srgbClr val="4DA5C3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4AC4F11B-C355-6529-A1B6-527F99EE95FA}"/>
                </a:ext>
              </a:extLst>
            </p:cNvPr>
            <p:cNvSpPr/>
            <p:nvPr/>
          </p:nvSpPr>
          <p:spPr>
            <a:xfrm flipV="1">
              <a:off x="6471640" y="4103349"/>
              <a:ext cx="191336" cy="135084"/>
            </a:xfrm>
            <a:custGeom>
              <a:avLst/>
              <a:gdLst>
                <a:gd name="connsiteX0" fmla="*/ -630 w 191336"/>
                <a:gd name="connsiteY0" fmla="*/ -2825 h 135084"/>
                <a:gd name="connsiteX1" fmla="*/ 12461 w 191336"/>
                <a:gd name="connsiteY1" fmla="*/ -4613 h 135084"/>
                <a:gd name="connsiteX2" fmla="*/ 183386 w 191336"/>
                <a:gd name="connsiteY2" fmla="*/ 13826 h 135084"/>
                <a:gd name="connsiteX3" fmla="*/ 159341 w 191336"/>
                <a:gd name="connsiteY3" fmla="*/ 130453 h 135084"/>
                <a:gd name="connsiteX4" fmla="*/ 99832 w 191336"/>
                <a:gd name="connsiteY4" fmla="*/ 117185 h 135084"/>
                <a:gd name="connsiteX5" fmla="*/ 5604 w 191336"/>
                <a:gd name="connsiteY5" fmla="*/ 27838 h 135084"/>
                <a:gd name="connsiteX6" fmla="*/ -7831 w 191336"/>
                <a:gd name="connsiteY6" fmla="*/ 18029 h 135084"/>
                <a:gd name="connsiteX7" fmla="*/ -630 w 191336"/>
                <a:gd name="connsiteY7" fmla="*/ -2825 h 135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1336" h="135084">
                  <a:moveTo>
                    <a:pt x="-630" y="-2825"/>
                  </a:moveTo>
                  <a:cubicBezTo>
                    <a:pt x="3381" y="-4699"/>
                    <a:pt x="8025" y="-4674"/>
                    <a:pt x="12461" y="-4613"/>
                  </a:cubicBezTo>
                  <a:cubicBezTo>
                    <a:pt x="60844" y="-3823"/>
                    <a:pt x="135950" y="4330"/>
                    <a:pt x="183386" y="13826"/>
                  </a:cubicBezTo>
                  <a:cubicBezTo>
                    <a:pt x="183386" y="13826"/>
                    <a:pt x="166466" y="85736"/>
                    <a:pt x="159341" y="130453"/>
                  </a:cubicBezTo>
                  <a:lnTo>
                    <a:pt x="99832" y="117185"/>
                  </a:lnTo>
                  <a:cubicBezTo>
                    <a:pt x="92910" y="71911"/>
                    <a:pt x="49404" y="41202"/>
                    <a:pt x="5604" y="27838"/>
                  </a:cubicBezTo>
                  <a:cubicBezTo>
                    <a:pt x="-2" y="26137"/>
                    <a:pt x="-6752" y="23792"/>
                    <a:pt x="-7831" y="18029"/>
                  </a:cubicBezTo>
                  <a:cubicBezTo>
                    <a:pt x="-8702" y="13679"/>
                    <a:pt x="-4691" y="-952"/>
                    <a:pt x="-630" y="-2825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72F3EC65-46BD-3F5B-92ED-1F59D3FE47C3}"/>
                </a:ext>
              </a:extLst>
            </p:cNvPr>
            <p:cNvSpPr/>
            <p:nvPr/>
          </p:nvSpPr>
          <p:spPr>
            <a:xfrm flipV="1">
              <a:off x="7015658" y="4021077"/>
              <a:ext cx="135726" cy="161938"/>
            </a:xfrm>
            <a:custGeom>
              <a:avLst/>
              <a:gdLst>
                <a:gd name="connsiteX0" fmla="*/ -8835 w 135726"/>
                <a:gd name="connsiteY0" fmla="*/ 147161 h 161938"/>
                <a:gd name="connsiteX1" fmla="*/ 10308 w 135726"/>
                <a:gd name="connsiteY1" fmla="*/ 12896 h 161938"/>
                <a:gd name="connsiteX2" fmla="*/ 9295 w 135726"/>
                <a:gd name="connsiteY2" fmla="*/ -1324 h 161938"/>
                <a:gd name="connsiteX3" fmla="*/ 17347 w 135726"/>
                <a:gd name="connsiteY3" fmla="*/ -3897 h 161938"/>
                <a:gd name="connsiteX4" fmla="*/ 112401 w 135726"/>
                <a:gd name="connsiteY4" fmla="*/ 2135 h 161938"/>
                <a:gd name="connsiteX5" fmla="*/ 125365 w 135726"/>
                <a:gd name="connsiteY5" fmla="*/ 8931 h 161938"/>
                <a:gd name="connsiteX6" fmla="*/ 124960 w 135726"/>
                <a:gd name="connsiteY6" fmla="*/ 23925 h 161938"/>
                <a:gd name="connsiteX7" fmla="*/ 48441 w 135726"/>
                <a:gd name="connsiteY7" fmla="*/ 157153 h 161938"/>
                <a:gd name="connsiteX8" fmla="*/ -8835 w 135726"/>
                <a:gd name="connsiteY8" fmla="*/ 147161 h 16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726" h="161938">
                  <a:moveTo>
                    <a:pt x="-8835" y="147161"/>
                  </a:moveTo>
                  <a:cubicBezTo>
                    <a:pt x="8080" y="100531"/>
                    <a:pt x="33249" y="57648"/>
                    <a:pt x="10308" y="12896"/>
                  </a:cubicBezTo>
                  <a:cubicBezTo>
                    <a:pt x="7928" y="8308"/>
                    <a:pt x="5598" y="2282"/>
                    <a:pt x="9295" y="-1324"/>
                  </a:cubicBezTo>
                  <a:cubicBezTo>
                    <a:pt x="11321" y="-3279"/>
                    <a:pt x="14460" y="-3664"/>
                    <a:pt x="17347" y="-3897"/>
                  </a:cubicBezTo>
                  <a:cubicBezTo>
                    <a:pt x="45808" y="-6191"/>
                    <a:pt x="84396" y="-3998"/>
                    <a:pt x="112401" y="2135"/>
                  </a:cubicBezTo>
                  <a:cubicBezTo>
                    <a:pt x="117313" y="3223"/>
                    <a:pt x="122731" y="4783"/>
                    <a:pt x="125365" y="8931"/>
                  </a:cubicBezTo>
                  <a:cubicBezTo>
                    <a:pt x="128150" y="13392"/>
                    <a:pt x="126580" y="19018"/>
                    <a:pt x="124960" y="23925"/>
                  </a:cubicBezTo>
                  <a:cubicBezTo>
                    <a:pt x="109058" y="71777"/>
                    <a:pt x="64393" y="109302"/>
                    <a:pt x="48441" y="157153"/>
                  </a:cubicBezTo>
                  <a:cubicBezTo>
                    <a:pt x="30311" y="154960"/>
                    <a:pt x="7624" y="154925"/>
                    <a:pt x="-8835" y="147161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4C46E23C-7D68-C577-D2FB-ACD1F2477BCB}"/>
                </a:ext>
              </a:extLst>
            </p:cNvPr>
            <p:cNvSpPr/>
            <p:nvPr/>
          </p:nvSpPr>
          <p:spPr>
            <a:xfrm flipV="1">
              <a:off x="6447209" y="3225062"/>
              <a:ext cx="665375" cy="897044"/>
            </a:xfrm>
            <a:custGeom>
              <a:avLst/>
              <a:gdLst>
                <a:gd name="connsiteX0" fmla="*/ 657061 w 665375"/>
                <a:gd name="connsiteY0" fmla="*/ 81910 h 897044"/>
                <a:gd name="connsiteX1" fmla="*/ 632855 w 665375"/>
                <a:gd name="connsiteY1" fmla="*/ 62777 h 897044"/>
                <a:gd name="connsiteX2" fmla="*/ 575832 w 665375"/>
                <a:gd name="connsiteY2" fmla="*/ 44805 h 897044"/>
                <a:gd name="connsiteX3" fmla="*/ 561349 w 665375"/>
                <a:gd name="connsiteY3" fmla="*/ 43478 h 897044"/>
                <a:gd name="connsiteX4" fmla="*/ 321992 w 665375"/>
                <a:gd name="connsiteY4" fmla="*/ 395537 h 897044"/>
                <a:gd name="connsiteX5" fmla="*/ 293932 w 665375"/>
                <a:gd name="connsiteY5" fmla="*/ 463234 h 897044"/>
                <a:gd name="connsiteX6" fmla="*/ 248811 w 665375"/>
                <a:gd name="connsiteY6" fmla="*/ 732068 h 897044"/>
                <a:gd name="connsiteX7" fmla="*/ 248132 w 665375"/>
                <a:gd name="connsiteY7" fmla="*/ 736013 h 897044"/>
                <a:gd name="connsiteX8" fmla="*/ 246648 w 665375"/>
                <a:gd name="connsiteY8" fmla="*/ 732311 h 897044"/>
                <a:gd name="connsiteX9" fmla="*/ 129480 w 665375"/>
                <a:gd name="connsiteY9" fmla="*/ 437878 h 897044"/>
                <a:gd name="connsiteX10" fmla="*/ 202555 w 665375"/>
                <a:gd name="connsiteY10" fmla="*/ 15823 h 897044"/>
                <a:gd name="connsiteX11" fmla="*/ 184633 w 665375"/>
                <a:gd name="connsiteY11" fmla="*/ 5335 h 897044"/>
                <a:gd name="connsiteX12" fmla="*/ 122886 w 665375"/>
                <a:gd name="connsiteY12" fmla="*/ -5350 h 897044"/>
                <a:gd name="connsiteX13" fmla="*/ 106058 w 665375"/>
                <a:gd name="connsiteY13" fmla="*/ -2834 h 897044"/>
                <a:gd name="connsiteX14" fmla="*/ -2634 w 665375"/>
                <a:gd name="connsiteY14" fmla="*/ 411524 h 897044"/>
                <a:gd name="connsiteX15" fmla="*/ 668 w 665375"/>
                <a:gd name="connsiteY15" fmla="*/ 497351 h 897044"/>
                <a:gd name="connsiteX16" fmla="*/ 137506 w 665375"/>
                <a:gd name="connsiteY16" fmla="*/ 842193 h 897044"/>
                <a:gd name="connsiteX17" fmla="*/ 153919 w 665375"/>
                <a:gd name="connsiteY17" fmla="*/ 857532 h 897044"/>
                <a:gd name="connsiteX18" fmla="*/ 199537 w 665375"/>
                <a:gd name="connsiteY18" fmla="*/ 853238 h 897044"/>
                <a:gd name="connsiteX19" fmla="*/ 201162 w 665375"/>
                <a:gd name="connsiteY19" fmla="*/ 856241 h 897044"/>
                <a:gd name="connsiteX20" fmla="*/ 206520 w 665375"/>
                <a:gd name="connsiteY20" fmla="*/ 858408 h 897044"/>
                <a:gd name="connsiteX21" fmla="*/ 232606 w 665375"/>
                <a:gd name="connsiteY21" fmla="*/ 858312 h 897044"/>
                <a:gd name="connsiteX22" fmla="*/ 239092 w 665375"/>
                <a:gd name="connsiteY22" fmla="*/ 854737 h 897044"/>
                <a:gd name="connsiteX23" fmla="*/ 343940 w 665375"/>
                <a:gd name="connsiteY23" fmla="*/ 889770 h 897044"/>
                <a:gd name="connsiteX24" fmla="*/ 379820 w 665375"/>
                <a:gd name="connsiteY24" fmla="*/ 891300 h 897044"/>
                <a:gd name="connsiteX25" fmla="*/ 433429 w 665375"/>
                <a:gd name="connsiteY25" fmla="*/ 455293 h 897044"/>
                <a:gd name="connsiteX26" fmla="*/ 657061 w 665375"/>
                <a:gd name="connsiteY26" fmla="*/ 81910 h 89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65375" h="897044">
                  <a:moveTo>
                    <a:pt x="657061" y="81910"/>
                  </a:moveTo>
                  <a:cubicBezTo>
                    <a:pt x="650022" y="74004"/>
                    <a:pt x="641666" y="67755"/>
                    <a:pt x="632855" y="62777"/>
                  </a:cubicBezTo>
                  <a:cubicBezTo>
                    <a:pt x="612648" y="51423"/>
                    <a:pt x="590113" y="46704"/>
                    <a:pt x="575832" y="44805"/>
                  </a:cubicBezTo>
                  <a:cubicBezTo>
                    <a:pt x="567021" y="43609"/>
                    <a:pt x="561349" y="43478"/>
                    <a:pt x="561349" y="43478"/>
                  </a:cubicBezTo>
                  <a:lnTo>
                    <a:pt x="321992" y="395537"/>
                  </a:lnTo>
                  <a:cubicBezTo>
                    <a:pt x="306805" y="415216"/>
                    <a:pt x="297128" y="438566"/>
                    <a:pt x="293932" y="463234"/>
                  </a:cubicBezTo>
                  <a:lnTo>
                    <a:pt x="248811" y="732068"/>
                  </a:lnTo>
                  <a:lnTo>
                    <a:pt x="248132" y="736013"/>
                  </a:lnTo>
                  <a:lnTo>
                    <a:pt x="246648" y="732311"/>
                  </a:lnTo>
                  <a:lnTo>
                    <a:pt x="129480" y="437878"/>
                  </a:lnTo>
                  <a:lnTo>
                    <a:pt x="202555" y="15823"/>
                  </a:lnTo>
                  <a:cubicBezTo>
                    <a:pt x="196660" y="11554"/>
                    <a:pt x="190629" y="8095"/>
                    <a:pt x="184633" y="5335"/>
                  </a:cubicBezTo>
                  <a:cubicBezTo>
                    <a:pt x="161135" y="-5685"/>
                    <a:pt x="137931" y="-6515"/>
                    <a:pt x="122886" y="-5350"/>
                  </a:cubicBezTo>
                  <a:cubicBezTo>
                    <a:pt x="112504" y="-4601"/>
                    <a:pt x="106058" y="-2834"/>
                    <a:pt x="106058" y="-2834"/>
                  </a:cubicBezTo>
                  <a:lnTo>
                    <a:pt x="-2634" y="411524"/>
                  </a:lnTo>
                  <a:cubicBezTo>
                    <a:pt x="-11212" y="439736"/>
                    <a:pt x="-10048" y="469974"/>
                    <a:pt x="668" y="497351"/>
                  </a:cubicBezTo>
                  <a:lnTo>
                    <a:pt x="137506" y="842193"/>
                  </a:lnTo>
                  <a:cubicBezTo>
                    <a:pt x="139704" y="847951"/>
                    <a:pt x="145462" y="853086"/>
                    <a:pt x="153919" y="857532"/>
                  </a:cubicBezTo>
                  <a:cubicBezTo>
                    <a:pt x="165369" y="855648"/>
                    <a:pt x="181134" y="853684"/>
                    <a:pt x="199537" y="853238"/>
                  </a:cubicBezTo>
                  <a:cubicBezTo>
                    <a:pt x="199805" y="854347"/>
                    <a:pt x="200367" y="855410"/>
                    <a:pt x="201162" y="856241"/>
                  </a:cubicBezTo>
                  <a:cubicBezTo>
                    <a:pt x="202580" y="857730"/>
                    <a:pt x="204484" y="858535"/>
                    <a:pt x="206520" y="858408"/>
                  </a:cubicBezTo>
                  <a:cubicBezTo>
                    <a:pt x="212699" y="858140"/>
                    <a:pt x="224290" y="857826"/>
                    <a:pt x="232606" y="858312"/>
                  </a:cubicBezTo>
                  <a:cubicBezTo>
                    <a:pt x="235396" y="858434"/>
                    <a:pt x="237817" y="856975"/>
                    <a:pt x="239092" y="854737"/>
                  </a:cubicBezTo>
                  <a:cubicBezTo>
                    <a:pt x="272430" y="858130"/>
                    <a:pt x="309520" y="867838"/>
                    <a:pt x="343940" y="889770"/>
                  </a:cubicBezTo>
                  <a:cubicBezTo>
                    <a:pt x="365569" y="890971"/>
                    <a:pt x="379820" y="891300"/>
                    <a:pt x="379820" y="891300"/>
                  </a:cubicBezTo>
                  <a:cubicBezTo>
                    <a:pt x="451331" y="827704"/>
                    <a:pt x="433429" y="455293"/>
                    <a:pt x="433429" y="455293"/>
                  </a:cubicBezTo>
                  <a:lnTo>
                    <a:pt x="657061" y="81910"/>
                  </a:ln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6F512936-6BCB-258B-0DBE-857EC56E148C}"/>
                </a:ext>
              </a:extLst>
            </p:cNvPr>
            <p:cNvSpPr/>
            <p:nvPr/>
          </p:nvSpPr>
          <p:spPr>
            <a:xfrm flipV="1">
              <a:off x="6589430" y="3201746"/>
              <a:ext cx="245914" cy="83113"/>
            </a:xfrm>
            <a:custGeom>
              <a:avLst/>
              <a:gdLst>
                <a:gd name="connsiteX0" fmla="*/ 237715 w 245914"/>
                <a:gd name="connsiteY0" fmla="*/ 53091 h 83113"/>
                <a:gd name="connsiteX1" fmla="*/ 99252 w 245914"/>
                <a:gd name="connsiteY1" fmla="*/ -5891 h 83113"/>
                <a:gd name="connsiteX2" fmla="*/ 59209 w 245914"/>
                <a:gd name="connsiteY2" fmla="*/ -6180 h 83113"/>
                <a:gd name="connsiteX3" fmla="*/ -4599 w 245914"/>
                <a:gd name="connsiteY3" fmla="*/ 3984 h 83113"/>
                <a:gd name="connsiteX4" fmla="*/ -4655 w 245914"/>
                <a:gd name="connsiteY4" fmla="*/ 3979 h 83113"/>
                <a:gd name="connsiteX5" fmla="*/ -8199 w 245914"/>
                <a:gd name="connsiteY5" fmla="*/ 23517 h 83113"/>
                <a:gd name="connsiteX6" fmla="*/ -8199 w 245914"/>
                <a:gd name="connsiteY6" fmla="*/ 23577 h 83113"/>
                <a:gd name="connsiteX7" fmla="*/ 11814 w 245914"/>
                <a:gd name="connsiteY7" fmla="*/ 19323 h 83113"/>
                <a:gd name="connsiteX8" fmla="*/ 57432 w 245914"/>
                <a:gd name="connsiteY8" fmla="*/ 15029 h 83113"/>
                <a:gd name="connsiteX9" fmla="*/ 96988 w 245914"/>
                <a:gd name="connsiteY9" fmla="*/ 16528 h 83113"/>
                <a:gd name="connsiteX10" fmla="*/ 201835 w 245914"/>
                <a:gd name="connsiteY10" fmla="*/ 51562 h 83113"/>
                <a:gd name="connsiteX11" fmla="*/ 233800 w 245914"/>
                <a:gd name="connsiteY11" fmla="*/ 76406 h 83113"/>
                <a:gd name="connsiteX12" fmla="*/ 237715 w 245914"/>
                <a:gd name="connsiteY12" fmla="*/ 53091 h 83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5914" h="83113">
                  <a:moveTo>
                    <a:pt x="237715" y="53091"/>
                  </a:moveTo>
                  <a:cubicBezTo>
                    <a:pt x="196179" y="11783"/>
                    <a:pt x="144353" y="-2690"/>
                    <a:pt x="99252" y="-5891"/>
                  </a:cubicBezTo>
                  <a:cubicBezTo>
                    <a:pt x="85072" y="-6975"/>
                    <a:pt x="71510" y="-6884"/>
                    <a:pt x="59209" y="-6180"/>
                  </a:cubicBezTo>
                  <a:cubicBezTo>
                    <a:pt x="22778" y="-4053"/>
                    <a:pt x="-3135" y="3493"/>
                    <a:pt x="-4599" y="3984"/>
                  </a:cubicBezTo>
                  <a:lnTo>
                    <a:pt x="-4655" y="3979"/>
                  </a:lnTo>
                  <a:cubicBezTo>
                    <a:pt x="-5738" y="10537"/>
                    <a:pt x="-6938" y="17085"/>
                    <a:pt x="-8199" y="23517"/>
                  </a:cubicBezTo>
                  <a:lnTo>
                    <a:pt x="-8199" y="23577"/>
                  </a:lnTo>
                  <a:cubicBezTo>
                    <a:pt x="-8199" y="23577"/>
                    <a:pt x="-816" y="21481"/>
                    <a:pt x="11814" y="19323"/>
                  </a:cubicBezTo>
                  <a:cubicBezTo>
                    <a:pt x="23264" y="17440"/>
                    <a:pt x="39029" y="15475"/>
                    <a:pt x="57432" y="15029"/>
                  </a:cubicBezTo>
                  <a:cubicBezTo>
                    <a:pt x="69611" y="14669"/>
                    <a:pt x="82991" y="15039"/>
                    <a:pt x="96988" y="16528"/>
                  </a:cubicBezTo>
                  <a:cubicBezTo>
                    <a:pt x="130325" y="19921"/>
                    <a:pt x="167415" y="29629"/>
                    <a:pt x="201835" y="51562"/>
                  </a:cubicBezTo>
                  <a:cubicBezTo>
                    <a:pt x="212850" y="58515"/>
                    <a:pt x="223545" y="66739"/>
                    <a:pt x="233800" y="76406"/>
                  </a:cubicBezTo>
                  <a:lnTo>
                    <a:pt x="237715" y="53091"/>
                  </a:ln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13D2E733-4AAE-8B44-5B10-DCE56F689627}"/>
                </a:ext>
              </a:extLst>
            </p:cNvPr>
            <p:cNvSpPr/>
            <p:nvPr/>
          </p:nvSpPr>
          <p:spPr>
            <a:xfrm flipV="1">
              <a:off x="6647978" y="3257940"/>
              <a:ext cx="49022" cy="32819"/>
            </a:xfrm>
            <a:custGeom>
              <a:avLst/>
              <a:gdLst>
                <a:gd name="connsiteX0" fmla="*/ 10513 w 49022"/>
                <a:gd name="connsiteY0" fmla="*/ 12181 h 32819"/>
                <a:gd name="connsiteX1" fmla="*/ 5449 w 49022"/>
                <a:gd name="connsiteY1" fmla="*/ 12125 h 32819"/>
                <a:gd name="connsiteX2" fmla="*/ 4704 w 49022"/>
                <a:gd name="connsiteY2" fmla="*/ 19149 h 32819"/>
                <a:gd name="connsiteX3" fmla="*/ 4978 w 49022"/>
                <a:gd name="connsiteY3" fmla="*/ 19914 h 32819"/>
                <a:gd name="connsiteX4" fmla="*/ 5490 w 49022"/>
                <a:gd name="connsiteY4" fmla="*/ 20218 h 32819"/>
                <a:gd name="connsiteX5" fmla="*/ 5672 w 49022"/>
                <a:gd name="connsiteY5" fmla="*/ 20223 h 32819"/>
                <a:gd name="connsiteX6" fmla="*/ 32395 w 49022"/>
                <a:gd name="connsiteY6" fmla="*/ 20086 h 32819"/>
                <a:gd name="connsiteX7" fmla="*/ 33403 w 49022"/>
                <a:gd name="connsiteY7" fmla="*/ 19235 h 32819"/>
                <a:gd name="connsiteX8" fmla="*/ 34867 w 49022"/>
                <a:gd name="connsiteY8" fmla="*/ 1106 h 32819"/>
                <a:gd name="connsiteX9" fmla="*/ 34076 w 49022"/>
                <a:gd name="connsiteY9" fmla="*/ 98 h 32819"/>
                <a:gd name="connsiteX10" fmla="*/ 7303 w 49022"/>
                <a:gd name="connsiteY10" fmla="*/ 58 h 32819"/>
                <a:gd name="connsiteX11" fmla="*/ 6583 w 49022"/>
                <a:gd name="connsiteY11" fmla="*/ 913 h 32819"/>
                <a:gd name="connsiteX12" fmla="*/ 6056 w 49022"/>
                <a:gd name="connsiteY12" fmla="*/ 6145 h 32819"/>
                <a:gd name="connsiteX13" fmla="*/ 10943 w 49022"/>
                <a:gd name="connsiteY13" fmla="*/ 6195 h 32819"/>
                <a:gd name="connsiteX14" fmla="*/ 11060 w 49022"/>
                <a:gd name="connsiteY14" fmla="*/ 6200 h 32819"/>
                <a:gd name="connsiteX15" fmla="*/ 13719 w 49022"/>
                <a:gd name="connsiteY15" fmla="*/ 9345 h 32819"/>
                <a:gd name="connsiteX16" fmla="*/ 10513 w 49022"/>
                <a:gd name="connsiteY16" fmla="*/ 12181 h 32819"/>
                <a:gd name="connsiteX17" fmla="*/ 39328 w 49022"/>
                <a:gd name="connsiteY17" fmla="*/ 19721 h 32819"/>
                <a:gd name="connsiteX18" fmla="*/ 38507 w 49022"/>
                <a:gd name="connsiteY18" fmla="*/ 22497 h 32819"/>
                <a:gd name="connsiteX19" fmla="*/ 32020 w 49022"/>
                <a:gd name="connsiteY19" fmla="*/ 26072 h 32819"/>
                <a:gd name="connsiteX20" fmla="*/ 5935 w 49022"/>
                <a:gd name="connsiteY20" fmla="*/ 26168 h 32819"/>
                <a:gd name="connsiteX21" fmla="*/ 577 w 49022"/>
                <a:gd name="connsiteY21" fmla="*/ 24001 h 32819"/>
                <a:gd name="connsiteX22" fmla="*/ -1048 w 49022"/>
                <a:gd name="connsiteY22" fmla="*/ 20998 h 32819"/>
                <a:gd name="connsiteX23" fmla="*/ -1276 w 49022"/>
                <a:gd name="connsiteY23" fmla="*/ 18491 h 32819"/>
                <a:gd name="connsiteX24" fmla="*/ -623 w 49022"/>
                <a:gd name="connsiteY24" fmla="*/ 12738 h 32819"/>
                <a:gd name="connsiteX25" fmla="*/ -4193 w 49022"/>
                <a:gd name="connsiteY25" fmla="*/ 13589 h 32819"/>
                <a:gd name="connsiteX26" fmla="*/ -7991 w 49022"/>
                <a:gd name="connsiteY26" fmla="*/ 11695 h 32819"/>
                <a:gd name="connsiteX27" fmla="*/ -6098 w 49022"/>
                <a:gd name="connsiteY27" fmla="*/ 7897 h 32819"/>
                <a:gd name="connsiteX28" fmla="*/ -10 w 49022"/>
                <a:gd name="connsiteY28" fmla="*/ 6585 h 32819"/>
                <a:gd name="connsiteX29" fmla="*/ 658 w 49022"/>
                <a:gd name="connsiteY29" fmla="*/ 311 h 32819"/>
                <a:gd name="connsiteX30" fmla="*/ 729 w 49022"/>
                <a:gd name="connsiteY30" fmla="*/ -211 h 32819"/>
                <a:gd name="connsiteX31" fmla="*/ 6447 w 49022"/>
                <a:gd name="connsiteY31" fmla="*/ -5842 h 32819"/>
                <a:gd name="connsiteX32" fmla="*/ 34623 w 49022"/>
                <a:gd name="connsiteY32" fmla="*/ -5883 h 32819"/>
                <a:gd name="connsiteX33" fmla="*/ 34684 w 49022"/>
                <a:gd name="connsiteY33" fmla="*/ -5883 h 32819"/>
                <a:gd name="connsiteX34" fmla="*/ 40771 w 49022"/>
                <a:gd name="connsiteY34" fmla="*/ 78 h 32819"/>
                <a:gd name="connsiteX35" fmla="*/ 40857 w 49022"/>
                <a:gd name="connsiteY35" fmla="*/ 1597 h 32819"/>
                <a:gd name="connsiteX36" fmla="*/ 39328 w 49022"/>
                <a:gd name="connsiteY36" fmla="*/ 19721 h 3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022" h="32819">
                  <a:moveTo>
                    <a:pt x="10513" y="12181"/>
                  </a:moveTo>
                  <a:cubicBezTo>
                    <a:pt x="10513" y="12181"/>
                    <a:pt x="8300" y="12014"/>
                    <a:pt x="5449" y="12125"/>
                  </a:cubicBezTo>
                  <a:lnTo>
                    <a:pt x="4704" y="19149"/>
                  </a:lnTo>
                  <a:lnTo>
                    <a:pt x="4978" y="19914"/>
                  </a:lnTo>
                  <a:lnTo>
                    <a:pt x="5490" y="20218"/>
                  </a:lnTo>
                  <a:lnTo>
                    <a:pt x="5672" y="20223"/>
                  </a:lnTo>
                  <a:cubicBezTo>
                    <a:pt x="11961" y="19960"/>
                    <a:pt x="23791" y="19595"/>
                    <a:pt x="32395" y="20086"/>
                  </a:cubicBezTo>
                  <a:cubicBezTo>
                    <a:pt x="32912" y="20096"/>
                    <a:pt x="33332" y="19757"/>
                    <a:pt x="33403" y="19235"/>
                  </a:cubicBezTo>
                  <a:lnTo>
                    <a:pt x="34867" y="1106"/>
                  </a:lnTo>
                  <a:cubicBezTo>
                    <a:pt x="34942" y="584"/>
                    <a:pt x="34664" y="-3"/>
                    <a:pt x="34076" y="98"/>
                  </a:cubicBezTo>
                  <a:cubicBezTo>
                    <a:pt x="28040" y="-505"/>
                    <a:pt x="16590" y="-1239"/>
                    <a:pt x="7303" y="58"/>
                  </a:cubicBezTo>
                  <a:lnTo>
                    <a:pt x="6583" y="913"/>
                  </a:lnTo>
                  <a:lnTo>
                    <a:pt x="6056" y="6145"/>
                  </a:lnTo>
                  <a:cubicBezTo>
                    <a:pt x="8730" y="6089"/>
                    <a:pt x="10711" y="6190"/>
                    <a:pt x="10943" y="6195"/>
                  </a:cubicBezTo>
                  <a:lnTo>
                    <a:pt x="11060" y="6200"/>
                  </a:lnTo>
                  <a:cubicBezTo>
                    <a:pt x="12630" y="6352"/>
                    <a:pt x="13815" y="7775"/>
                    <a:pt x="13719" y="9345"/>
                  </a:cubicBezTo>
                  <a:cubicBezTo>
                    <a:pt x="13622" y="11032"/>
                    <a:pt x="12200" y="12282"/>
                    <a:pt x="10513" y="12181"/>
                  </a:cubicBezTo>
                  <a:close/>
                  <a:moveTo>
                    <a:pt x="39328" y="19721"/>
                  </a:moveTo>
                  <a:cubicBezTo>
                    <a:pt x="39247" y="20709"/>
                    <a:pt x="38933" y="21691"/>
                    <a:pt x="38507" y="22497"/>
                  </a:cubicBezTo>
                  <a:cubicBezTo>
                    <a:pt x="37231" y="24735"/>
                    <a:pt x="34811" y="26194"/>
                    <a:pt x="32020" y="26072"/>
                  </a:cubicBezTo>
                  <a:cubicBezTo>
                    <a:pt x="23705" y="25586"/>
                    <a:pt x="12114" y="25900"/>
                    <a:pt x="5935" y="26168"/>
                  </a:cubicBezTo>
                  <a:cubicBezTo>
                    <a:pt x="3899" y="26295"/>
                    <a:pt x="1995" y="25490"/>
                    <a:pt x="577" y="24001"/>
                  </a:cubicBezTo>
                  <a:cubicBezTo>
                    <a:pt x="-218" y="23170"/>
                    <a:pt x="-780" y="22107"/>
                    <a:pt x="-1048" y="20998"/>
                  </a:cubicBezTo>
                  <a:cubicBezTo>
                    <a:pt x="-1261" y="20177"/>
                    <a:pt x="-1357" y="19357"/>
                    <a:pt x="-1276" y="18491"/>
                  </a:cubicBezTo>
                  <a:lnTo>
                    <a:pt x="-623" y="12738"/>
                  </a:lnTo>
                  <a:cubicBezTo>
                    <a:pt x="-1848" y="12946"/>
                    <a:pt x="-3074" y="13209"/>
                    <a:pt x="-4193" y="13589"/>
                  </a:cubicBezTo>
                  <a:cubicBezTo>
                    <a:pt x="-5712" y="14136"/>
                    <a:pt x="-7444" y="13280"/>
                    <a:pt x="-7991" y="11695"/>
                  </a:cubicBezTo>
                  <a:cubicBezTo>
                    <a:pt x="-8472" y="10115"/>
                    <a:pt x="-7683" y="8444"/>
                    <a:pt x="-6098" y="7897"/>
                  </a:cubicBezTo>
                  <a:cubicBezTo>
                    <a:pt x="-4218" y="7244"/>
                    <a:pt x="-2056" y="6884"/>
                    <a:pt x="-10" y="6585"/>
                  </a:cubicBezTo>
                  <a:lnTo>
                    <a:pt x="658" y="311"/>
                  </a:lnTo>
                  <a:lnTo>
                    <a:pt x="729" y="-211"/>
                  </a:lnTo>
                  <a:cubicBezTo>
                    <a:pt x="1261" y="-3168"/>
                    <a:pt x="3585" y="-5442"/>
                    <a:pt x="6447" y="-5842"/>
                  </a:cubicBezTo>
                  <a:cubicBezTo>
                    <a:pt x="16378" y="-7240"/>
                    <a:pt x="28349" y="-6496"/>
                    <a:pt x="34623" y="-5883"/>
                  </a:cubicBezTo>
                  <a:lnTo>
                    <a:pt x="34684" y="-5883"/>
                  </a:lnTo>
                  <a:cubicBezTo>
                    <a:pt x="37880" y="-5579"/>
                    <a:pt x="40381" y="-3016"/>
                    <a:pt x="40771" y="78"/>
                  </a:cubicBezTo>
                  <a:cubicBezTo>
                    <a:pt x="40883" y="549"/>
                    <a:pt x="40928" y="1070"/>
                    <a:pt x="40857" y="1597"/>
                  </a:cubicBezTo>
                  <a:lnTo>
                    <a:pt x="39328" y="19721"/>
                  </a:lnTo>
                </a:path>
              </a:pathLst>
            </a:custGeom>
            <a:solidFill>
              <a:srgbClr val="FFFFFF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35B5E6FB-AE09-A2C1-420A-72F563B9F25B}"/>
                </a:ext>
              </a:extLst>
            </p:cNvPr>
            <p:cNvSpPr/>
            <p:nvPr/>
          </p:nvSpPr>
          <p:spPr>
            <a:xfrm flipV="1">
              <a:off x="6122721" y="2870208"/>
              <a:ext cx="518084" cy="481797"/>
            </a:xfrm>
            <a:custGeom>
              <a:avLst/>
              <a:gdLst>
                <a:gd name="connsiteX0" fmla="*/ 510451 w 518084"/>
                <a:gd name="connsiteY0" fmla="*/ -3352 h 481797"/>
                <a:gd name="connsiteX1" fmla="*/ 439973 w 518084"/>
                <a:gd name="connsiteY1" fmla="*/ 12747 h 481797"/>
                <a:gd name="connsiteX2" fmla="*/ 387650 w 518084"/>
                <a:gd name="connsiteY2" fmla="*/ 293827 h 481797"/>
                <a:gd name="connsiteX3" fmla="*/ 275080 w 518084"/>
                <a:gd name="connsiteY3" fmla="*/ 155753 h 481797"/>
                <a:gd name="connsiteX4" fmla="*/ 229255 w 518084"/>
                <a:gd name="connsiteY4" fmla="*/ 125657 h 481797"/>
                <a:gd name="connsiteX5" fmla="*/ 18759 w 518084"/>
                <a:gd name="connsiteY5" fmla="*/ 21999 h 481797"/>
                <a:gd name="connsiteX6" fmla="*/ -6618 w 518084"/>
                <a:gd name="connsiteY6" fmla="*/ 74555 h 481797"/>
                <a:gd name="connsiteX7" fmla="*/ 208153 w 518084"/>
                <a:gd name="connsiteY7" fmla="*/ 212613 h 481797"/>
                <a:gd name="connsiteX8" fmla="*/ 327119 w 518084"/>
                <a:gd name="connsiteY8" fmla="*/ 395616 h 481797"/>
                <a:gd name="connsiteX9" fmla="*/ 361120 w 518084"/>
                <a:gd name="connsiteY9" fmla="*/ 433658 h 481797"/>
                <a:gd name="connsiteX10" fmla="*/ 389469 w 518084"/>
                <a:gd name="connsiteY10" fmla="*/ 461125 h 481797"/>
                <a:gd name="connsiteX11" fmla="*/ 405775 w 518084"/>
                <a:gd name="connsiteY11" fmla="*/ 474794 h 481797"/>
                <a:gd name="connsiteX12" fmla="*/ 490316 w 518084"/>
                <a:gd name="connsiteY12" fmla="*/ 64741 h 481797"/>
                <a:gd name="connsiteX13" fmla="*/ 510451 w 518084"/>
                <a:gd name="connsiteY13" fmla="*/ -3352 h 48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8084" h="481797">
                  <a:moveTo>
                    <a:pt x="510451" y="-3352"/>
                  </a:moveTo>
                  <a:cubicBezTo>
                    <a:pt x="510451" y="-3352"/>
                    <a:pt x="482396" y="-18448"/>
                    <a:pt x="439973" y="12747"/>
                  </a:cubicBezTo>
                  <a:cubicBezTo>
                    <a:pt x="439973" y="12747"/>
                    <a:pt x="430609" y="193461"/>
                    <a:pt x="387650" y="293827"/>
                  </a:cubicBezTo>
                  <a:lnTo>
                    <a:pt x="275080" y="155753"/>
                  </a:lnTo>
                  <a:cubicBezTo>
                    <a:pt x="261802" y="142987"/>
                    <a:pt x="246290" y="132767"/>
                    <a:pt x="229255" y="125657"/>
                  </a:cubicBezTo>
                  <a:lnTo>
                    <a:pt x="18759" y="21999"/>
                  </a:lnTo>
                  <a:cubicBezTo>
                    <a:pt x="-15414" y="37298"/>
                    <a:pt x="-6618" y="74555"/>
                    <a:pt x="-6618" y="74555"/>
                  </a:cubicBezTo>
                  <a:lnTo>
                    <a:pt x="208153" y="212613"/>
                  </a:lnTo>
                  <a:lnTo>
                    <a:pt x="327119" y="395616"/>
                  </a:lnTo>
                  <a:cubicBezTo>
                    <a:pt x="337531" y="409097"/>
                    <a:pt x="348884" y="421828"/>
                    <a:pt x="361120" y="433658"/>
                  </a:cubicBezTo>
                  <a:lnTo>
                    <a:pt x="389469" y="461125"/>
                  </a:lnTo>
                  <a:lnTo>
                    <a:pt x="405775" y="474794"/>
                  </a:lnTo>
                  <a:cubicBezTo>
                    <a:pt x="407158" y="463227"/>
                    <a:pt x="429136" y="282032"/>
                    <a:pt x="490316" y="64741"/>
                  </a:cubicBezTo>
                  <a:cubicBezTo>
                    <a:pt x="496590" y="42367"/>
                    <a:pt x="503300" y="19624"/>
                    <a:pt x="510451" y="-3352"/>
                  </a:cubicBezTo>
                </a:path>
              </a:pathLst>
            </a:custGeom>
            <a:solidFill>
              <a:srgbClr val="4DA5C3">
                <a:lumMod val="60000"/>
                <a:lumOff val="4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54F200DB-82FC-AD55-43A3-EF8A733D51EC}"/>
                </a:ext>
              </a:extLst>
            </p:cNvPr>
            <p:cNvSpPr/>
            <p:nvPr/>
          </p:nvSpPr>
          <p:spPr>
            <a:xfrm flipV="1">
              <a:off x="6496918" y="2978975"/>
              <a:ext cx="25114" cy="76363"/>
            </a:xfrm>
            <a:custGeom>
              <a:avLst/>
              <a:gdLst>
                <a:gd name="connsiteX0" fmla="*/ 13341 w 25114"/>
                <a:gd name="connsiteY0" fmla="*/ -7213 h 76363"/>
                <a:gd name="connsiteX1" fmla="*/ 9554 w 25114"/>
                <a:gd name="connsiteY1" fmla="*/ -4746 h 76363"/>
                <a:gd name="connsiteX2" fmla="*/ -7826 w 25114"/>
                <a:gd name="connsiteY2" fmla="*/ 64678 h 76363"/>
                <a:gd name="connsiteX3" fmla="*/ -4302 w 25114"/>
                <a:gd name="connsiteY3" fmla="*/ 69124 h 76363"/>
                <a:gd name="connsiteX4" fmla="*/ 140 w 25114"/>
                <a:gd name="connsiteY4" fmla="*/ 65594 h 76363"/>
                <a:gd name="connsiteX5" fmla="*/ 16947 w 25114"/>
                <a:gd name="connsiteY5" fmla="*/ -1663 h 76363"/>
                <a:gd name="connsiteX6" fmla="*/ 14800 w 25114"/>
                <a:gd name="connsiteY6" fmla="*/ -6904 h 76363"/>
                <a:gd name="connsiteX7" fmla="*/ 13341 w 25114"/>
                <a:gd name="connsiteY7" fmla="*/ -7213 h 7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14" h="76363">
                  <a:moveTo>
                    <a:pt x="13341" y="-7213"/>
                  </a:moveTo>
                  <a:cubicBezTo>
                    <a:pt x="11742" y="-7248"/>
                    <a:pt x="10207" y="-6321"/>
                    <a:pt x="9554" y="-4746"/>
                  </a:cubicBezTo>
                  <a:cubicBezTo>
                    <a:pt x="9027" y="-3480"/>
                    <a:pt x="-3491" y="26808"/>
                    <a:pt x="-7826" y="64678"/>
                  </a:cubicBezTo>
                  <a:cubicBezTo>
                    <a:pt x="-8075" y="66881"/>
                    <a:pt x="-6500" y="68866"/>
                    <a:pt x="-4302" y="69124"/>
                  </a:cubicBezTo>
                  <a:cubicBezTo>
                    <a:pt x="-2064" y="69372"/>
                    <a:pt x="-109" y="67787"/>
                    <a:pt x="140" y="65594"/>
                  </a:cubicBezTo>
                  <a:cubicBezTo>
                    <a:pt x="4343" y="28900"/>
                    <a:pt x="16831" y="-1364"/>
                    <a:pt x="16947" y="-1663"/>
                  </a:cubicBezTo>
                  <a:cubicBezTo>
                    <a:pt x="17808" y="-3703"/>
                    <a:pt x="16841" y="-6053"/>
                    <a:pt x="14800" y="-6904"/>
                  </a:cubicBezTo>
                  <a:cubicBezTo>
                    <a:pt x="14319" y="-7101"/>
                    <a:pt x="13833" y="-7203"/>
                    <a:pt x="13341" y="-7213"/>
                  </a:cubicBez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BB338C71-9B20-5C22-A23E-E476BAD95088}"/>
                </a:ext>
              </a:extLst>
            </p:cNvPr>
            <p:cNvSpPr/>
            <p:nvPr/>
          </p:nvSpPr>
          <p:spPr>
            <a:xfrm flipV="1">
              <a:off x="6613257" y="2731714"/>
              <a:ext cx="601365" cy="604687"/>
            </a:xfrm>
            <a:custGeom>
              <a:avLst/>
              <a:gdLst>
                <a:gd name="connsiteX0" fmla="*/ 592522 w 601365"/>
                <a:gd name="connsiteY0" fmla="*/ 532245 h 604687"/>
                <a:gd name="connsiteX1" fmla="*/ 391122 w 601365"/>
                <a:gd name="connsiteY1" fmla="*/ 364516 h 604687"/>
                <a:gd name="connsiteX2" fmla="*/ 338571 w 601365"/>
                <a:gd name="connsiteY2" fmla="*/ 350737 h 604687"/>
                <a:gd name="connsiteX3" fmla="*/ 167201 w 601365"/>
                <a:gd name="connsiteY3" fmla="*/ 379855 h 604687"/>
                <a:gd name="connsiteX4" fmla="*/ 249594 w 601365"/>
                <a:gd name="connsiteY4" fmla="*/ 43764 h 604687"/>
                <a:gd name="connsiteX5" fmla="*/ 136421 w 601365"/>
                <a:gd name="connsiteY5" fmla="*/ -7176 h 604687"/>
                <a:gd name="connsiteX6" fmla="*/ 136370 w 601365"/>
                <a:gd name="connsiteY6" fmla="*/ -7080 h 604687"/>
                <a:gd name="connsiteX7" fmla="*/ -8544 w 601365"/>
                <a:gd name="connsiteY7" fmla="*/ 514531 h 604687"/>
                <a:gd name="connsiteX8" fmla="*/ 92054 w 601365"/>
                <a:gd name="connsiteY8" fmla="*/ 522228 h 604687"/>
                <a:gd name="connsiteX9" fmla="*/ 182399 w 601365"/>
                <a:gd name="connsiteY9" fmla="*/ 509877 h 604687"/>
                <a:gd name="connsiteX10" fmla="*/ 352928 w 601365"/>
                <a:gd name="connsiteY10" fmla="*/ 447983 h 604687"/>
                <a:gd name="connsiteX11" fmla="*/ 569278 w 601365"/>
                <a:gd name="connsiteY11" fmla="*/ 597512 h 604687"/>
                <a:gd name="connsiteX12" fmla="*/ 592522 w 601365"/>
                <a:gd name="connsiteY12" fmla="*/ 532245 h 60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1365" h="604687">
                  <a:moveTo>
                    <a:pt x="592522" y="532245"/>
                  </a:moveTo>
                  <a:lnTo>
                    <a:pt x="391122" y="364516"/>
                  </a:lnTo>
                  <a:cubicBezTo>
                    <a:pt x="376030" y="353198"/>
                    <a:pt x="357222" y="348271"/>
                    <a:pt x="338571" y="350737"/>
                  </a:cubicBezTo>
                  <a:lnTo>
                    <a:pt x="167201" y="379855"/>
                  </a:lnTo>
                  <a:cubicBezTo>
                    <a:pt x="201733" y="188801"/>
                    <a:pt x="249594" y="43764"/>
                    <a:pt x="249594" y="43764"/>
                  </a:cubicBezTo>
                  <a:cubicBezTo>
                    <a:pt x="207142" y="-699"/>
                    <a:pt x="136421" y="-7176"/>
                    <a:pt x="136421" y="-7176"/>
                  </a:cubicBezTo>
                  <a:lnTo>
                    <a:pt x="136370" y="-7080"/>
                  </a:lnTo>
                  <a:cubicBezTo>
                    <a:pt x="133509" y="-572"/>
                    <a:pt x="-6266" y="337129"/>
                    <a:pt x="-8544" y="514531"/>
                  </a:cubicBezTo>
                  <a:lnTo>
                    <a:pt x="92054" y="522228"/>
                  </a:lnTo>
                  <a:cubicBezTo>
                    <a:pt x="122682" y="524583"/>
                    <a:pt x="153508" y="520370"/>
                    <a:pt x="182399" y="509877"/>
                  </a:cubicBezTo>
                  <a:lnTo>
                    <a:pt x="352928" y="447983"/>
                  </a:lnTo>
                  <a:lnTo>
                    <a:pt x="569278" y="597512"/>
                  </a:lnTo>
                  <a:cubicBezTo>
                    <a:pt x="569278" y="597512"/>
                    <a:pt x="595915" y="594119"/>
                    <a:pt x="592522" y="532245"/>
                  </a:cubicBezTo>
                </a:path>
              </a:pathLst>
            </a:custGeom>
            <a:solidFill>
              <a:srgbClr val="4DA5C3">
                <a:lumMod val="60000"/>
                <a:lumOff val="4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ECB0082E-AC07-4600-29F1-EC586A39A11D}"/>
                </a:ext>
              </a:extLst>
            </p:cNvPr>
            <p:cNvSpPr/>
            <p:nvPr/>
          </p:nvSpPr>
          <p:spPr>
            <a:xfrm flipV="1">
              <a:off x="6764988" y="3225513"/>
              <a:ext cx="80637" cy="29178"/>
            </a:xfrm>
            <a:custGeom>
              <a:avLst/>
              <a:gdLst>
                <a:gd name="connsiteX0" fmla="*/ 55906 w 80637"/>
                <a:gd name="connsiteY0" fmla="*/ -6690 h 29178"/>
                <a:gd name="connsiteX1" fmla="*/ -6940 w 80637"/>
                <a:gd name="connsiteY1" fmla="*/ 15395 h 29178"/>
                <a:gd name="connsiteX2" fmla="*/ -7406 w 80637"/>
                <a:gd name="connsiteY2" fmla="*/ 21046 h 29178"/>
                <a:gd name="connsiteX3" fmla="*/ -1760 w 80637"/>
                <a:gd name="connsiteY3" fmla="*/ 21512 h 29178"/>
                <a:gd name="connsiteX4" fmla="*/ 67599 w 80637"/>
                <a:gd name="connsiteY4" fmla="*/ 2456 h 29178"/>
                <a:gd name="connsiteX5" fmla="*/ 72222 w 80637"/>
                <a:gd name="connsiteY5" fmla="*/ -831 h 29178"/>
                <a:gd name="connsiteX6" fmla="*/ 68930 w 80637"/>
                <a:gd name="connsiteY6" fmla="*/ -5449 h 29178"/>
                <a:gd name="connsiteX7" fmla="*/ 55906 w 80637"/>
                <a:gd name="connsiteY7" fmla="*/ -6690 h 29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637" h="29178">
                  <a:moveTo>
                    <a:pt x="55906" y="-6690"/>
                  </a:moveTo>
                  <a:cubicBezTo>
                    <a:pt x="33203" y="-7217"/>
                    <a:pt x="10440" y="643"/>
                    <a:pt x="-6940" y="15395"/>
                  </a:cubicBezTo>
                  <a:cubicBezTo>
                    <a:pt x="-8632" y="16828"/>
                    <a:pt x="-8839" y="19360"/>
                    <a:pt x="-7406" y="21046"/>
                  </a:cubicBezTo>
                  <a:cubicBezTo>
                    <a:pt x="-5968" y="22748"/>
                    <a:pt x="-3441" y="22935"/>
                    <a:pt x="-1760" y="21512"/>
                  </a:cubicBezTo>
                  <a:cubicBezTo>
                    <a:pt x="17185" y="5434"/>
                    <a:pt x="43114" y="-1671"/>
                    <a:pt x="67599" y="2456"/>
                  </a:cubicBezTo>
                  <a:cubicBezTo>
                    <a:pt x="69746" y="2785"/>
                    <a:pt x="71848" y="1357"/>
                    <a:pt x="72222" y="-831"/>
                  </a:cubicBezTo>
                  <a:cubicBezTo>
                    <a:pt x="72592" y="-3008"/>
                    <a:pt x="71118" y="-5079"/>
                    <a:pt x="68930" y="-5449"/>
                  </a:cubicBezTo>
                  <a:cubicBezTo>
                    <a:pt x="64621" y="-6184"/>
                    <a:pt x="60266" y="-6589"/>
                    <a:pt x="55906" y="-6690"/>
                  </a:cubicBez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5632AE76-F682-F465-BBBD-C3535A37EF16}"/>
                </a:ext>
              </a:extLst>
            </p:cNvPr>
            <p:cNvSpPr/>
            <p:nvPr/>
          </p:nvSpPr>
          <p:spPr>
            <a:xfrm flipV="1">
              <a:off x="6624968" y="2831413"/>
              <a:ext cx="96793" cy="357906"/>
            </a:xfrm>
            <a:custGeom>
              <a:avLst/>
              <a:gdLst>
                <a:gd name="connsiteX0" fmla="*/ 84736 w 96793"/>
                <a:gd name="connsiteY0" fmla="*/ -7228 h 357906"/>
                <a:gd name="connsiteX1" fmla="*/ 80775 w 96793"/>
                <a:gd name="connsiteY1" fmla="*/ -4245 h 357906"/>
                <a:gd name="connsiteX2" fmla="*/ 53151 w 96793"/>
                <a:gd name="connsiteY2" fmla="*/ 242079 h 357906"/>
                <a:gd name="connsiteX3" fmla="*/ 33643 w 96793"/>
                <a:gd name="connsiteY3" fmla="*/ 250541 h 357906"/>
                <a:gd name="connsiteX4" fmla="*/ 11609 w 96793"/>
                <a:gd name="connsiteY4" fmla="*/ 260097 h 357906"/>
                <a:gd name="connsiteX5" fmla="*/ 7989 w 96793"/>
                <a:gd name="connsiteY5" fmla="*/ 261682 h 357906"/>
                <a:gd name="connsiteX6" fmla="*/ 34722 w 96793"/>
                <a:gd name="connsiteY6" fmla="*/ 325075 h 357906"/>
                <a:gd name="connsiteX7" fmla="*/ -5740 w 96793"/>
                <a:gd name="connsiteY7" fmla="*/ 342997 h 357906"/>
                <a:gd name="connsiteX8" fmla="*/ -7791 w 96793"/>
                <a:gd name="connsiteY8" fmla="*/ 348284 h 357906"/>
                <a:gd name="connsiteX9" fmla="*/ -2499 w 96793"/>
                <a:gd name="connsiteY9" fmla="*/ 350330 h 357906"/>
                <a:gd name="connsiteX10" fmla="*/ 45175 w 96793"/>
                <a:gd name="connsiteY10" fmla="*/ 329213 h 357906"/>
                <a:gd name="connsiteX11" fmla="*/ 18451 w 96793"/>
                <a:gd name="connsiteY11" fmla="*/ 265860 h 357906"/>
                <a:gd name="connsiteX12" fmla="*/ 36819 w 96793"/>
                <a:gd name="connsiteY12" fmla="*/ 257900 h 357906"/>
                <a:gd name="connsiteX13" fmla="*/ 58848 w 96793"/>
                <a:gd name="connsiteY13" fmla="*/ 248344 h 357906"/>
                <a:gd name="connsiteX14" fmla="*/ 61334 w 96793"/>
                <a:gd name="connsiteY14" fmla="*/ 247255 h 357906"/>
                <a:gd name="connsiteX15" fmla="*/ 61248 w 96793"/>
                <a:gd name="connsiteY15" fmla="*/ 244546 h 357906"/>
                <a:gd name="connsiteX16" fmla="*/ 88529 w 96793"/>
                <a:gd name="connsiteY16" fmla="*/ -2199 h 357906"/>
                <a:gd name="connsiteX17" fmla="*/ 85672 w 96793"/>
                <a:gd name="connsiteY17" fmla="*/ -7096 h 357906"/>
                <a:gd name="connsiteX18" fmla="*/ 84736 w 96793"/>
                <a:gd name="connsiteY18" fmla="*/ -7228 h 357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793" h="357906">
                  <a:moveTo>
                    <a:pt x="84736" y="-7228"/>
                  </a:moveTo>
                  <a:cubicBezTo>
                    <a:pt x="82928" y="-7269"/>
                    <a:pt x="81252" y="-6073"/>
                    <a:pt x="80775" y="-4245"/>
                  </a:cubicBezTo>
                  <a:cubicBezTo>
                    <a:pt x="60007" y="74401"/>
                    <a:pt x="50714" y="157265"/>
                    <a:pt x="53151" y="242079"/>
                  </a:cubicBezTo>
                  <a:cubicBezTo>
                    <a:pt x="46663" y="244915"/>
                    <a:pt x="40151" y="247726"/>
                    <a:pt x="33643" y="250541"/>
                  </a:cubicBezTo>
                  <a:cubicBezTo>
                    <a:pt x="26290" y="253717"/>
                    <a:pt x="18932" y="256892"/>
                    <a:pt x="11609" y="260097"/>
                  </a:cubicBezTo>
                  <a:lnTo>
                    <a:pt x="7989" y="261682"/>
                  </a:lnTo>
                  <a:lnTo>
                    <a:pt x="34722" y="325075"/>
                  </a:lnTo>
                  <a:lnTo>
                    <a:pt x="-5740" y="342997"/>
                  </a:lnTo>
                  <a:cubicBezTo>
                    <a:pt x="-7771" y="343894"/>
                    <a:pt x="-8682" y="346264"/>
                    <a:pt x="-7791" y="348284"/>
                  </a:cubicBezTo>
                  <a:cubicBezTo>
                    <a:pt x="-6895" y="350305"/>
                    <a:pt x="-4540" y="351237"/>
                    <a:pt x="-2499" y="350330"/>
                  </a:cubicBezTo>
                  <a:lnTo>
                    <a:pt x="45175" y="329213"/>
                  </a:lnTo>
                  <a:lnTo>
                    <a:pt x="18451" y="265860"/>
                  </a:lnTo>
                  <a:cubicBezTo>
                    <a:pt x="24558" y="263197"/>
                    <a:pt x="30691" y="260548"/>
                    <a:pt x="36819" y="257900"/>
                  </a:cubicBezTo>
                  <a:cubicBezTo>
                    <a:pt x="44172" y="254719"/>
                    <a:pt x="51530" y="251544"/>
                    <a:pt x="58848" y="248344"/>
                  </a:cubicBezTo>
                  <a:lnTo>
                    <a:pt x="61334" y="247255"/>
                  </a:lnTo>
                  <a:lnTo>
                    <a:pt x="61248" y="244546"/>
                  </a:lnTo>
                  <a:cubicBezTo>
                    <a:pt x="58559" y="159559"/>
                    <a:pt x="67735" y="76543"/>
                    <a:pt x="88529" y="-2199"/>
                  </a:cubicBezTo>
                  <a:cubicBezTo>
                    <a:pt x="89091" y="-4341"/>
                    <a:pt x="87809" y="-6529"/>
                    <a:pt x="85672" y="-7096"/>
                  </a:cubicBezTo>
                  <a:lnTo>
                    <a:pt x="84736" y="-7228"/>
                  </a:ln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4281A29F-227F-D9B0-5CEB-C48F2DF7E464}"/>
                </a:ext>
              </a:extLst>
            </p:cNvPr>
            <p:cNvSpPr/>
            <p:nvPr/>
          </p:nvSpPr>
          <p:spPr>
            <a:xfrm flipV="1">
              <a:off x="5866242" y="1836052"/>
              <a:ext cx="1519199" cy="460634"/>
            </a:xfrm>
            <a:custGeom>
              <a:avLst/>
              <a:gdLst>
                <a:gd name="connsiteX0" fmla="*/ 1443339 w 1519199"/>
                <a:gd name="connsiteY0" fmla="*/ 31710 h 460634"/>
                <a:gd name="connsiteX1" fmla="*/ 1511148 w 1519199"/>
                <a:gd name="connsiteY1" fmla="*/ 385080 h 460634"/>
                <a:gd name="connsiteX2" fmla="*/ 1276375 w 1519199"/>
                <a:gd name="connsiteY2" fmla="*/ 447754 h 460634"/>
                <a:gd name="connsiteX3" fmla="*/ 1045273 w 1519199"/>
                <a:gd name="connsiteY3" fmla="*/ 367204 h 460634"/>
                <a:gd name="connsiteX4" fmla="*/ 810920 w 1519199"/>
                <a:gd name="connsiteY4" fmla="*/ 299264 h 460634"/>
                <a:gd name="connsiteX5" fmla="*/ 521829 w 1519199"/>
                <a:gd name="connsiteY5" fmla="*/ 337660 h 460634"/>
                <a:gd name="connsiteX6" fmla="*/ 237412 w 1519199"/>
                <a:gd name="connsiteY6" fmla="*/ 266256 h 460634"/>
                <a:gd name="connsiteX7" fmla="*/ -8051 w 1519199"/>
                <a:gd name="connsiteY7" fmla="*/ 100410 h 460634"/>
                <a:gd name="connsiteX8" fmla="*/ 650139 w 1519199"/>
                <a:gd name="connsiteY8" fmla="*/ 119421 h 460634"/>
                <a:gd name="connsiteX9" fmla="*/ 989567 w 1519199"/>
                <a:gd name="connsiteY9" fmla="*/ -9031 h 460634"/>
                <a:gd name="connsiteX10" fmla="*/ 1218340 w 1519199"/>
                <a:gd name="connsiteY10" fmla="*/ 31113 h 460634"/>
                <a:gd name="connsiteX11" fmla="*/ 1443339 w 1519199"/>
                <a:gd name="connsiteY11" fmla="*/ 31710 h 460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19199" h="460634">
                  <a:moveTo>
                    <a:pt x="1443339" y="31710"/>
                  </a:moveTo>
                  <a:cubicBezTo>
                    <a:pt x="1443339" y="31710"/>
                    <a:pt x="1266601" y="287566"/>
                    <a:pt x="1511148" y="385080"/>
                  </a:cubicBezTo>
                  <a:cubicBezTo>
                    <a:pt x="1453670" y="443333"/>
                    <a:pt x="1357401" y="459381"/>
                    <a:pt x="1276375" y="447754"/>
                  </a:cubicBezTo>
                  <a:cubicBezTo>
                    <a:pt x="1195349" y="436132"/>
                    <a:pt x="1120045" y="400465"/>
                    <a:pt x="1045273" y="367204"/>
                  </a:cubicBezTo>
                  <a:cubicBezTo>
                    <a:pt x="970476" y="333943"/>
                    <a:pt x="892721" y="302201"/>
                    <a:pt x="810920" y="299264"/>
                  </a:cubicBezTo>
                  <a:cubicBezTo>
                    <a:pt x="713588" y="295770"/>
                    <a:pt x="619126" y="333340"/>
                    <a:pt x="521829" y="337660"/>
                  </a:cubicBezTo>
                  <a:cubicBezTo>
                    <a:pt x="423048" y="342055"/>
                    <a:pt x="325199" y="311747"/>
                    <a:pt x="237412" y="266256"/>
                  </a:cubicBezTo>
                  <a:cubicBezTo>
                    <a:pt x="149615" y="220760"/>
                    <a:pt x="70524" y="160425"/>
                    <a:pt x="-8051" y="100410"/>
                  </a:cubicBezTo>
                  <a:cubicBezTo>
                    <a:pt x="192574" y="205045"/>
                    <a:pt x="441836" y="207810"/>
                    <a:pt x="650139" y="119421"/>
                  </a:cubicBezTo>
                  <a:cubicBezTo>
                    <a:pt x="762310" y="71823"/>
                    <a:pt x="867836" y="-3637"/>
                    <a:pt x="989567" y="-9031"/>
                  </a:cubicBezTo>
                  <a:cubicBezTo>
                    <a:pt x="1067216" y="-12469"/>
                    <a:pt x="1142682" y="13388"/>
                    <a:pt x="1218340" y="31113"/>
                  </a:cubicBezTo>
                  <a:cubicBezTo>
                    <a:pt x="1294049" y="48837"/>
                    <a:pt x="1373860" y="66471"/>
                    <a:pt x="1443339" y="31710"/>
                  </a:cubicBezTo>
                </a:path>
              </a:pathLst>
            </a:custGeom>
            <a:solidFill>
              <a:srgbClr val="4DA5C3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2635427F-C960-D853-FDA9-2D754D7D5D86}"/>
                </a:ext>
              </a:extLst>
            </p:cNvPr>
            <p:cNvSpPr/>
            <p:nvPr/>
          </p:nvSpPr>
          <p:spPr>
            <a:xfrm flipV="1">
              <a:off x="6940144" y="1868679"/>
              <a:ext cx="456727" cy="2327859"/>
            </a:xfrm>
            <a:custGeom>
              <a:avLst/>
              <a:gdLst>
                <a:gd name="connsiteX0" fmla="*/ 14601 w 456727"/>
                <a:gd name="connsiteY0" fmla="*/ 1713 h 2327859"/>
                <a:gd name="connsiteX1" fmla="*/ 57672 w 456727"/>
                <a:gd name="connsiteY1" fmla="*/ 231027 h 2327859"/>
                <a:gd name="connsiteX2" fmla="*/ 161132 w 456727"/>
                <a:gd name="connsiteY2" fmla="*/ 781660 h 2327859"/>
                <a:gd name="connsiteX3" fmla="*/ 285761 w 456727"/>
                <a:gd name="connsiteY3" fmla="*/ 1445143 h 2327859"/>
                <a:gd name="connsiteX4" fmla="*/ 394386 w 456727"/>
                <a:gd name="connsiteY4" fmla="*/ 2023172 h 2327859"/>
                <a:gd name="connsiteX5" fmla="*/ 429835 w 456727"/>
                <a:gd name="connsiteY5" fmla="*/ 2212039 h 2327859"/>
                <a:gd name="connsiteX6" fmla="*/ 446749 w 456727"/>
                <a:gd name="connsiteY6" fmla="*/ 2301918 h 2327859"/>
                <a:gd name="connsiteX7" fmla="*/ 447509 w 456727"/>
                <a:gd name="connsiteY7" fmla="*/ 2305939 h 2327859"/>
                <a:gd name="connsiteX8" fmla="*/ 424163 w 456727"/>
                <a:gd name="connsiteY8" fmla="*/ 2311793 h 2327859"/>
                <a:gd name="connsiteX9" fmla="*/ 381068 w 456727"/>
                <a:gd name="connsiteY9" fmla="*/ 2082479 h 2327859"/>
                <a:gd name="connsiteX10" fmla="*/ 277607 w 456727"/>
                <a:gd name="connsiteY10" fmla="*/ 1531845 h 2327859"/>
                <a:gd name="connsiteX11" fmla="*/ 152979 w 456727"/>
                <a:gd name="connsiteY11" fmla="*/ 868363 h 2327859"/>
                <a:gd name="connsiteX12" fmla="*/ 44404 w 456727"/>
                <a:gd name="connsiteY12" fmla="*/ 290338 h 2327859"/>
                <a:gd name="connsiteX13" fmla="*/ 8904 w 456727"/>
                <a:gd name="connsiteY13" fmla="*/ 101466 h 2327859"/>
                <a:gd name="connsiteX14" fmla="*/ -7979 w 456727"/>
                <a:gd name="connsiteY14" fmla="*/ 11588 h 2327859"/>
                <a:gd name="connsiteX15" fmla="*/ -8739 w 456727"/>
                <a:gd name="connsiteY15" fmla="*/ 7567 h 2327859"/>
                <a:gd name="connsiteX16" fmla="*/ 14601 w 456727"/>
                <a:gd name="connsiteY16" fmla="*/ 1713 h 232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6727" h="2327859">
                  <a:moveTo>
                    <a:pt x="14601" y="1713"/>
                  </a:moveTo>
                  <a:cubicBezTo>
                    <a:pt x="28963" y="78151"/>
                    <a:pt x="43340" y="154589"/>
                    <a:pt x="57672" y="231027"/>
                  </a:cubicBezTo>
                  <a:cubicBezTo>
                    <a:pt x="92159" y="414571"/>
                    <a:pt x="126645" y="598116"/>
                    <a:pt x="161132" y="781660"/>
                  </a:cubicBezTo>
                  <a:cubicBezTo>
                    <a:pt x="202658" y="1002821"/>
                    <a:pt x="244235" y="1223982"/>
                    <a:pt x="285761" y="1445143"/>
                  </a:cubicBezTo>
                  <a:cubicBezTo>
                    <a:pt x="321969" y="1637818"/>
                    <a:pt x="358178" y="1830493"/>
                    <a:pt x="394386" y="2023172"/>
                  </a:cubicBezTo>
                  <a:cubicBezTo>
                    <a:pt x="406186" y="2086125"/>
                    <a:pt x="418036" y="2149082"/>
                    <a:pt x="429835" y="2212039"/>
                  </a:cubicBezTo>
                  <a:cubicBezTo>
                    <a:pt x="435355" y="2241452"/>
                    <a:pt x="444167" y="2272049"/>
                    <a:pt x="446749" y="2301918"/>
                  </a:cubicBezTo>
                  <a:cubicBezTo>
                    <a:pt x="446850" y="2303255"/>
                    <a:pt x="447255" y="2304617"/>
                    <a:pt x="447509" y="2305939"/>
                  </a:cubicBezTo>
                  <a:cubicBezTo>
                    <a:pt x="450345" y="2321106"/>
                    <a:pt x="426999" y="2327021"/>
                    <a:pt x="424163" y="2311793"/>
                  </a:cubicBezTo>
                  <a:cubicBezTo>
                    <a:pt x="409781" y="2235355"/>
                    <a:pt x="395449" y="2158917"/>
                    <a:pt x="381068" y="2082479"/>
                  </a:cubicBezTo>
                  <a:cubicBezTo>
                    <a:pt x="346581" y="1898934"/>
                    <a:pt x="312094" y="1715390"/>
                    <a:pt x="277607" y="1531845"/>
                  </a:cubicBezTo>
                  <a:cubicBezTo>
                    <a:pt x="236081" y="1310685"/>
                    <a:pt x="194505" y="1089524"/>
                    <a:pt x="152979" y="868363"/>
                  </a:cubicBezTo>
                  <a:cubicBezTo>
                    <a:pt x="116770" y="675693"/>
                    <a:pt x="80562" y="483013"/>
                    <a:pt x="44404" y="290338"/>
                  </a:cubicBezTo>
                  <a:cubicBezTo>
                    <a:pt x="32559" y="227380"/>
                    <a:pt x="20729" y="164423"/>
                    <a:pt x="8904" y="101466"/>
                  </a:cubicBezTo>
                  <a:cubicBezTo>
                    <a:pt x="3374" y="72053"/>
                    <a:pt x="-5427" y="41451"/>
                    <a:pt x="-7979" y="11588"/>
                  </a:cubicBezTo>
                  <a:cubicBezTo>
                    <a:pt x="-8101" y="10251"/>
                    <a:pt x="-8491" y="8894"/>
                    <a:pt x="-8739" y="7567"/>
                  </a:cubicBezTo>
                  <a:cubicBezTo>
                    <a:pt x="-11590" y="-7605"/>
                    <a:pt x="11740" y="-13520"/>
                    <a:pt x="14601" y="1713"/>
                  </a:cubicBezTo>
                </a:path>
              </a:pathLst>
            </a:custGeom>
            <a:solidFill>
              <a:srgbClr val="4DA5C3">
                <a:lumMod val="50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6B178583-4771-D771-C0E2-997D4D4FA580}"/>
                </a:ext>
              </a:extLst>
            </p:cNvPr>
            <p:cNvSpPr/>
            <p:nvPr/>
          </p:nvSpPr>
          <p:spPr>
            <a:xfrm flipV="1">
              <a:off x="7190711" y="2709436"/>
              <a:ext cx="27815" cy="22181"/>
            </a:xfrm>
            <a:custGeom>
              <a:avLst/>
              <a:gdLst>
                <a:gd name="connsiteX0" fmla="*/ 18470 w 27815"/>
                <a:gd name="connsiteY0" fmla="*/ 6915 h 22181"/>
                <a:gd name="connsiteX1" fmla="*/ 11735 w 27815"/>
                <a:gd name="connsiteY1" fmla="*/ 4813 h 22181"/>
                <a:gd name="connsiteX2" fmla="*/ 11634 w 27815"/>
                <a:gd name="connsiteY2" fmla="*/ 4631 h 22181"/>
                <a:gd name="connsiteX3" fmla="*/ -6141 w 27815"/>
                <a:gd name="connsiteY3" fmla="*/ -7878 h 22181"/>
                <a:gd name="connsiteX4" fmla="*/ 8241 w 27815"/>
                <a:gd name="connsiteY4" fmla="*/ 14298 h 22181"/>
                <a:gd name="connsiteX5" fmla="*/ 17508 w 27815"/>
                <a:gd name="connsiteY5" fmla="*/ 9087 h 22181"/>
                <a:gd name="connsiteX6" fmla="*/ 18470 w 27815"/>
                <a:gd name="connsiteY6" fmla="*/ 6915 h 2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15" h="22181">
                  <a:moveTo>
                    <a:pt x="18470" y="6915"/>
                  </a:moveTo>
                  <a:cubicBezTo>
                    <a:pt x="17863" y="3339"/>
                    <a:pt x="13204" y="7295"/>
                    <a:pt x="11735" y="4813"/>
                  </a:cubicBezTo>
                  <a:lnTo>
                    <a:pt x="11634" y="4631"/>
                  </a:lnTo>
                  <a:cubicBezTo>
                    <a:pt x="5355" y="-5710"/>
                    <a:pt x="-6141" y="-7878"/>
                    <a:pt x="-6141" y="-7878"/>
                  </a:cubicBezTo>
                  <a:cubicBezTo>
                    <a:pt x="-15155" y="10571"/>
                    <a:pt x="-1128" y="14030"/>
                    <a:pt x="8241" y="14298"/>
                  </a:cubicBezTo>
                  <a:cubicBezTo>
                    <a:pt x="11431" y="14460"/>
                    <a:pt x="15483" y="11275"/>
                    <a:pt x="17508" y="9087"/>
                  </a:cubicBezTo>
                  <a:cubicBezTo>
                    <a:pt x="18673" y="7806"/>
                    <a:pt x="19129" y="6854"/>
                    <a:pt x="18470" y="6915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FD84B9A8-B688-216E-5183-FA57BF673D9A}"/>
                </a:ext>
              </a:extLst>
            </p:cNvPr>
            <p:cNvSpPr/>
            <p:nvPr/>
          </p:nvSpPr>
          <p:spPr>
            <a:xfrm flipV="1">
              <a:off x="7209715" y="2714653"/>
              <a:ext cx="8810" cy="4456"/>
            </a:xfrm>
            <a:custGeom>
              <a:avLst/>
              <a:gdLst>
                <a:gd name="connsiteX0" fmla="*/ -550 w 8810"/>
                <a:gd name="connsiteY0" fmla="*/ -5602 h 4456"/>
                <a:gd name="connsiteX1" fmla="*/ -7286 w 8810"/>
                <a:gd name="connsiteY1" fmla="*/ -7703 h 4456"/>
                <a:gd name="connsiteX2" fmla="*/ -7387 w 8810"/>
                <a:gd name="connsiteY2" fmla="*/ -7886 h 4456"/>
                <a:gd name="connsiteX3" fmla="*/ -9058 w 8810"/>
                <a:gd name="connsiteY3" fmla="*/ -7288 h 4456"/>
                <a:gd name="connsiteX4" fmla="*/ -1512 w 8810"/>
                <a:gd name="connsiteY4" fmla="*/ -3429 h 4456"/>
                <a:gd name="connsiteX5" fmla="*/ -550 w 8810"/>
                <a:gd name="connsiteY5" fmla="*/ -5602 h 4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10" h="4456">
                  <a:moveTo>
                    <a:pt x="-550" y="-5602"/>
                  </a:moveTo>
                  <a:cubicBezTo>
                    <a:pt x="-1158" y="-9177"/>
                    <a:pt x="-5817" y="-5222"/>
                    <a:pt x="-7286" y="-7703"/>
                  </a:cubicBezTo>
                  <a:lnTo>
                    <a:pt x="-7387" y="-7886"/>
                  </a:lnTo>
                  <a:lnTo>
                    <a:pt x="-9058" y="-7288"/>
                  </a:lnTo>
                  <a:cubicBezTo>
                    <a:pt x="-9058" y="-7288"/>
                    <a:pt x="-6121" y="-5298"/>
                    <a:pt x="-1512" y="-3429"/>
                  </a:cubicBezTo>
                  <a:cubicBezTo>
                    <a:pt x="-348" y="-4711"/>
                    <a:pt x="108" y="-5663"/>
                    <a:pt x="-550" y="-5602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4686DCC7-AE78-C2B1-A377-6E0CA96A7D70}"/>
                </a:ext>
              </a:extLst>
            </p:cNvPr>
            <p:cNvSpPr/>
            <p:nvPr/>
          </p:nvSpPr>
          <p:spPr>
            <a:xfrm flipV="1">
              <a:off x="7190582" y="2715825"/>
              <a:ext cx="59991" cy="84265"/>
            </a:xfrm>
            <a:custGeom>
              <a:avLst/>
              <a:gdLst>
                <a:gd name="connsiteX0" fmla="*/ 24447 w 59991"/>
                <a:gd name="connsiteY0" fmla="*/ -7069 h 84265"/>
                <a:gd name="connsiteX1" fmla="*/ 14419 w 59991"/>
                <a:gd name="connsiteY1" fmla="*/ -7671 h 84265"/>
                <a:gd name="connsiteX2" fmla="*/ 4899 w 59991"/>
                <a:gd name="connsiteY2" fmla="*/ -6035 h 84265"/>
                <a:gd name="connsiteX3" fmla="*/ -925 w 59991"/>
                <a:gd name="connsiteY3" fmla="*/ 1171 h 84265"/>
                <a:gd name="connsiteX4" fmla="*/ -1077 w 59991"/>
                <a:gd name="connsiteY4" fmla="*/ 7856 h 84265"/>
                <a:gd name="connsiteX5" fmla="*/ -1127 w 59991"/>
                <a:gd name="connsiteY5" fmla="*/ 7911 h 84265"/>
                <a:gd name="connsiteX6" fmla="*/ -4014 w 59991"/>
                <a:gd name="connsiteY6" fmla="*/ 25210 h 84265"/>
                <a:gd name="connsiteX7" fmla="*/ -9027 w 59991"/>
                <a:gd name="connsiteY7" fmla="*/ 33293 h 84265"/>
                <a:gd name="connsiteX8" fmla="*/ -5128 w 59991"/>
                <a:gd name="connsiteY8" fmla="*/ 42844 h 84265"/>
                <a:gd name="connsiteX9" fmla="*/ -8116 w 59991"/>
                <a:gd name="connsiteY9" fmla="*/ 50176 h 84265"/>
                <a:gd name="connsiteX10" fmla="*/ -3862 w 59991"/>
                <a:gd name="connsiteY10" fmla="*/ 57697 h 84265"/>
                <a:gd name="connsiteX11" fmla="*/ -5685 w 59991"/>
                <a:gd name="connsiteY11" fmla="*/ 66306 h 84265"/>
                <a:gd name="connsiteX12" fmla="*/ 2620 w 59991"/>
                <a:gd name="connsiteY12" fmla="*/ 71608 h 84265"/>
                <a:gd name="connsiteX13" fmla="*/ 30371 w 59991"/>
                <a:gd name="connsiteY13" fmla="*/ 76454 h 84265"/>
                <a:gd name="connsiteX14" fmla="*/ 40854 w 59991"/>
                <a:gd name="connsiteY14" fmla="*/ 75208 h 84265"/>
                <a:gd name="connsiteX15" fmla="*/ 48552 w 59991"/>
                <a:gd name="connsiteY15" fmla="*/ 68276 h 84265"/>
                <a:gd name="connsiteX16" fmla="*/ 48704 w 59991"/>
                <a:gd name="connsiteY16" fmla="*/ 60978 h 84265"/>
                <a:gd name="connsiteX17" fmla="*/ 49463 w 59991"/>
                <a:gd name="connsiteY17" fmla="*/ 54521 h 84265"/>
                <a:gd name="connsiteX18" fmla="*/ 50881 w 59991"/>
                <a:gd name="connsiteY18" fmla="*/ 47710 h 84265"/>
                <a:gd name="connsiteX19" fmla="*/ 48450 w 59991"/>
                <a:gd name="connsiteY19" fmla="*/ 42687 h 84265"/>
                <a:gd name="connsiteX20" fmla="*/ 45311 w 59991"/>
                <a:gd name="connsiteY20" fmla="*/ 33455 h 84265"/>
                <a:gd name="connsiteX21" fmla="*/ 44906 w 59991"/>
                <a:gd name="connsiteY21" fmla="*/ 26724 h 84265"/>
                <a:gd name="connsiteX22" fmla="*/ 41766 w 59991"/>
                <a:gd name="connsiteY22" fmla="*/ 21523 h 84265"/>
                <a:gd name="connsiteX23" fmla="*/ 38880 w 59991"/>
                <a:gd name="connsiteY23" fmla="*/ 12945 h 84265"/>
                <a:gd name="connsiteX24" fmla="*/ 36448 w 59991"/>
                <a:gd name="connsiteY24" fmla="*/ 3191 h 84265"/>
                <a:gd name="connsiteX25" fmla="*/ 24447 w 59991"/>
                <a:gd name="connsiteY25" fmla="*/ -7069 h 8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9991" h="84265">
                  <a:moveTo>
                    <a:pt x="24447" y="-7069"/>
                  </a:moveTo>
                  <a:cubicBezTo>
                    <a:pt x="21307" y="-8117"/>
                    <a:pt x="17661" y="-7347"/>
                    <a:pt x="14419" y="-7671"/>
                  </a:cubicBezTo>
                  <a:cubicBezTo>
                    <a:pt x="11179" y="-8026"/>
                    <a:pt x="7735" y="-7651"/>
                    <a:pt x="4899" y="-6035"/>
                  </a:cubicBezTo>
                  <a:cubicBezTo>
                    <a:pt x="2165" y="-4471"/>
                    <a:pt x="38" y="-1772"/>
                    <a:pt x="-925" y="1171"/>
                  </a:cubicBezTo>
                  <a:cubicBezTo>
                    <a:pt x="-1684" y="3333"/>
                    <a:pt x="-1836" y="5663"/>
                    <a:pt x="-1077" y="7856"/>
                  </a:cubicBezTo>
                  <a:lnTo>
                    <a:pt x="-1127" y="7911"/>
                  </a:lnTo>
                  <a:cubicBezTo>
                    <a:pt x="-6191" y="12018"/>
                    <a:pt x="-7559" y="19766"/>
                    <a:pt x="-4014" y="25210"/>
                  </a:cubicBezTo>
                  <a:cubicBezTo>
                    <a:pt x="-7457" y="25874"/>
                    <a:pt x="-9382" y="29864"/>
                    <a:pt x="-9027" y="33293"/>
                  </a:cubicBezTo>
                  <a:cubicBezTo>
                    <a:pt x="-8622" y="36782"/>
                    <a:pt x="-7154" y="39962"/>
                    <a:pt x="-5128" y="42844"/>
                  </a:cubicBezTo>
                  <a:cubicBezTo>
                    <a:pt x="-7255" y="44631"/>
                    <a:pt x="-8369" y="47482"/>
                    <a:pt x="-8116" y="50176"/>
                  </a:cubicBezTo>
                  <a:cubicBezTo>
                    <a:pt x="-7913" y="52906"/>
                    <a:pt x="-6242" y="56294"/>
                    <a:pt x="-3862" y="57697"/>
                  </a:cubicBezTo>
                  <a:cubicBezTo>
                    <a:pt x="-6951" y="58958"/>
                    <a:pt x="-7508" y="63520"/>
                    <a:pt x="-5685" y="66306"/>
                  </a:cubicBezTo>
                  <a:cubicBezTo>
                    <a:pt x="-3862" y="69121"/>
                    <a:pt x="-520" y="70555"/>
                    <a:pt x="2620" y="71608"/>
                  </a:cubicBezTo>
                  <a:cubicBezTo>
                    <a:pt x="11533" y="74651"/>
                    <a:pt x="20952" y="76313"/>
                    <a:pt x="30371" y="76454"/>
                  </a:cubicBezTo>
                  <a:cubicBezTo>
                    <a:pt x="33916" y="76530"/>
                    <a:pt x="37512" y="76399"/>
                    <a:pt x="40854" y="75208"/>
                  </a:cubicBezTo>
                  <a:cubicBezTo>
                    <a:pt x="44197" y="73958"/>
                    <a:pt x="47286" y="71618"/>
                    <a:pt x="48552" y="68276"/>
                  </a:cubicBezTo>
                  <a:cubicBezTo>
                    <a:pt x="49413" y="66088"/>
                    <a:pt x="49565" y="63232"/>
                    <a:pt x="48704" y="60978"/>
                  </a:cubicBezTo>
                  <a:cubicBezTo>
                    <a:pt x="47894" y="58846"/>
                    <a:pt x="48400" y="56527"/>
                    <a:pt x="49463" y="54521"/>
                  </a:cubicBezTo>
                  <a:cubicBezTo>
                    <a:pt x="50527" y="52460"/>
                    <a:pt x="51084" y="50055"/>
                    <a:pt x="50881" y="47710"/>
                  </a:cubicBezTo>
                  <a:cubicBezTo>
                    <a:pt x="50729" y="45776"/>
                    <a:pt x="49767" y="44110"/>
                    <a:pt x="48450" y="42687"/>
                  </a:cubicBezTo>
                  <a:cubicBezTo>
                    <a:pt x="46172" y="40150"/>
                    <a:pt x="44754" y="36822"/>
                    <a:pt x="45311" y="33455"/>
                  </a:cubicBezTo>
                  <a:cubicBezTo>
                    <a:pt x="45665" y="31014"/>
                    <a:pt x="45665" y="28537"/>
                    <a:pt x="44906" y="26724"/>
                  </a:cubicBezTo>
                  <a:cubicBezTo>
                    <a:pt x="44095" y="24825"/>
                    <a:pt x="43083" y="23007"/>
                    <a:pt x="41766" y="21523"/>
                  </a:cubicBezTo>
                  <a:cubicBezTo>
                    <a:pt x="39639" y="19199"/>
                    <a:pt x="38880" y="16075"/>
                    <a:pt x="38880" y="12945"/>
                  </a:cubicBezTo>
                  <a:cubicBezTo>
                    <a:pt x="38880" y="9557"/>
                    <a:pt x="38019" y="6169"/>
                    <a:pt x="36448" y="3191"/>
                  </a:cubicBezTo>
                  <a:cubicBezTo>
                    <a:pt x="33967" y="-1604"/>
                    <a:pt x="29561" y="-5327"/>
                    <a:pt x="24447" y="-7069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726D2D77-9451-3484-ECC0-FF0E1D0DAADB}"/>
                </a:ext>
              </a:extLst>
            </p:cNvPr>
            <p:cNvSpPr/>
            <p:nvPr/>
          </p:nvSpPr>
          <p:spPr>
            <a:xfrm flipV="1">
              <a:off x="7198075" y="2784386"/>
              <a:ext cx="22326" cy="7717"/>
            </a:xfrm>
            <a:custGeom>
              <a:avLst/>
              <a:gdLst>
                <a:gd name="connsiteX0" fmla="*/ 13276 w 22326"/>
                <a:gd name="connsiteY0" fmla="*/ -7149 h 7717"/>
                <a:gd name="connsiteX1" fmla="*/ 4160 w 22326"/>
                <a:gd name="connsiteY1" fmla="*/ -7600 h 7717"/>
                <a:gd name="connsiteX2" fmla="*/ -8399 w 22326"/>
                <a:gd name="connsiteY2" fmla="*/ -6749 h 7717"/>
                <a:gd name="connsiteX3" fmla="*/ -8550 w 22326"/>
                <a:gd name="connsiteY3" fmla="*/ -64 h 7717"/>
                <a:gd name="connsiteX4" fmla="*/ -8601 w 22326"/>
                <a:gd name="connsiteY4" fmla="*/ -9 h 7717"/>
                <a:gd name="connsiteX5" fmla="*/ 4768 w 22326"/>
                <a:gd name="connsiteY5" fmla="*/ -3842 h 7717"/>
                <a:gd name="connsiteX6" fmla="*/ 13276 w 22326"/>
                <a:gd name="connsiteY6" fmla="*/ -7149 h 7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26" h="7717">
                  <a:moveTo>
                    <a:pt x="13276" y="-7149"/>
                  </a:moveTo>
                  <a:cubicBezTo>
                    <a:pt x="13124" y="-7767"/>
                    <a:pt x="9681" y="-7838"/>
                    <a:pt x="4160" y="-7600"/>
                  </a:cubicBezTo>
                  <a:cubicBezTo>
                    <a:pt x="666" y="-7463"/>
                    <a:pt x="-3638" y="-7189"/>
                    <a:pt x="-8399" y="-6749"/>
                  </a:cubicBezTo>
                  <a:cubicBezTo>
                    <a:pt x="-9158" y="-4587"/>
                    <a:pt x="-9310" y="-2257"/>
                    <a:pt x="-8550" y="-64"/>
                  </a:cubicBezTo>
                  <a:lnTo>
                    <a:pt x="-8601" y="-9"/>
                  </a:lnTo>
                  <a:cubicBezTo>
                    <a:pt x="-3436" y="-1366"/>
                    <a:pt x="1173" y="-2804"/>
                    <a:pt x="4768" y="-3842"/>
                  </a:cubicBezTo>
                  <a:cubicBezTo>
                    <a:pt x="10086" y="-5397"/>
                    <a:pt x="13327" y="-6531"/>
                    <a:pt x="13276" y="-7149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1AB5F771-6509-B45A-7AE3-782EF4B71733}"/>
                </a:ext>
              </a:extLst>
            </p:cNvPr>
            <p:cNvSpPr/>
            <p:nvPr/>
          </p:nvSpPr>
          <p:spPr>
            <a:xfrm flipV="1">
              <a:off x="6520376" y="2791866"/>
              <a:ext cx="92744" cy="104501"/>
            </a:xfrm>
            <a:custGeom>
              <a:avLst/>
              <a:gdLst>
                <a:gd name="connsiteX0" fmla="*/ 70270 w 92744"/>
                <a:gd name="connsiteY0" fmla="*/ 96900 h 104501"/>
                <a:gd name="connsiteX1" fmla="*/ -7950 w 92744"/>
                <a:gd name="connsiteY1" fmla="*/ 26478 h 104501"/>
                <a:gd name="connsiteX2" fmla="*/ 32851 w 92744"/>
                <a:gd name="connsiteY2" fmla="*/ -7583 h 104501"/>
                <a:gd name="connsiteX3" fmla="*/ 84794 w 92744"/>
                <a:gd name="connsiteY3" fmla="*/ 79657 h 104501"/>
                <a:gd name="connsiteX4" fmla="*/ 70270 w 92744"/>
                <a:gd name="connsiteY4" fmla="*/ 96900 h 104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744" h="104501">
                  <a:moveTo>
                    <a:pt x="70270" y="96900"/>
                  </a:moveTo>
                  <a:lnTo>
                    <a:pt x="-7950" y="26478"/>
                  </a:lnTo>
                  <a:cubicBezTo>
                    <a:pt x="-7950" y="26478"/>
                    <a:pt x="33727" y="-8510"/>
                    <a:pt x="32851" y="-7583"/>
                  </a:cubicBezTo>
                  <a:cubicBezTo>
                    <a:pt x="31980" y="-6651"/>
                    <a:pt x="84794" y="79657"/>
                    <a:pt x="84794" y="79657"/>
                  </a:cubicBezTo>
                  <a:lnTo>
                    <a:pt x="70270" y="96900"/>
                  </a:lnTo>
                </a:path>
              </a:pathLst>
            </a:custGeom>
            <a:solidFill>
              <a:srgbClr val="94B7E5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371F5E28-4917-3AA0-6FD6-90EAA99CA00F}"/>
                </a:ext>
              </a:extLst>
            </p:cNvPr>
            <p:cNvSpPr/>
            <p:nvPr/>
          </p:nvSpPr>
          <p:spPr>
            <a:xfrm flipV="1">
              <a:off x="6527764" y="2758961"/>
              <a:ext cx="84722" cy="109405"/>
            </a:xfrm>
            <a:custGeom>
              <a:avLst/>
              <a:gdLst>
                <a:gd name="connsiteX0" fmla="*/ 73556 w 84722"/>
                <a:gd name="connsiteY0" fmla="*/ 53037 h 109405"/>
                <a:gd name="connsiteX1" fmla="*/ 76767 w 84722"/>
                <a:gd name="connsiteY1" fmla="*/ 56698 h 109405"/>
                <a:gd name="connsiteX2" fmla="*/ 59433 w 84722"/>
                <a:gd name="connsiteY2" fmla="*/ 76575 h 109405"/>
                <a:gd name="connsiteX3" fmla="*/ 59382 w 84722"/>
                <a:gd name="connsiteY3" fmla="*/ 76646 h 109405"/>
                <a:gd name="connsiteX4" fmla="*/ -7956 w 84722"/>
                <a:gd name="connsiteY4" fmla="*/ 47800 h 109405"/>
                <a:gd name="connsiteX5" fmla="*/ -7176 w 84722"/>
                <a:gd name="connsiteY5" fmla="*/ 46200 h 109405"/>
                <a:gd name="connsiteX6" fmla="*/ 7586 w 84722"/>
                <a:gd name="connsiteY6" fmla="*/ -7505 h 109405"/>
                <a:gd name="connsiteX7" fmla="*/ 73556 w 84722"/>
                <a:gd name="connsiteY7" fmla="*/ 53037 h 109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722" h="109405">
                  <a:moveTo>
                    <a:pt x="73556" y="53037"/>
                  </a:moveTo>
                  <a:lnTo>
                    <a:pt x="76767" y="56698"/>
                  </a:lnTo>
                  <a:lnTo>
                    <a:pt x="59433" y="76575"/>
                  </a:lnTo>
                  <a:lnTo>
                    <a:pt x="59382" y="76646"/>
                  </a:lnTo>
                  <a:cubicBezTo>
                    <a:pt x="6527" y="146708"/>
                    <a:pt x="-7956" y="47800"/>
                    <a:pt x="-7956" y="47800"/>
                  </a:cubicBezTo>
                  <a:cubicBezTo>
                    <a:pt x="-7698" y="47269"/>
                    <a:pt x="-7434" y="46737"/>
                    <a:pt x="-7176" y="46200"/>
                  </a:cubicBezTo>
                  <a:cubicBezTo>
                    <a:pt x="1585" y="27220"/>
                    <a:pt x="5747" y="8224"/>
                    <a:pt x="7586" y="-7505"/>
                  </a:cubicBezTo>
                  <a:cubicBezTo>
                    <a:pt x="7996" y="-11333"/>
                    <a:pt x="73556" y="53037"/>
                    <a:pt x="73556" y="53037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74196A61-0F9C-2373-ACCD-F218850D4D06}"/>
                </a:ext>
              </a:extLst>
            </p:cNvPr>
            <p:cNvSpPr/>
            <p:nvPr/>
          </p:nvSpPr>
          <p:spPr>
            <a:xfrm flipV="1">
              <a:off x="6528524" y="2796357"/>
              <a:ext cx="35332" cy="71864"/>
            </a:xfrm>
            <a:custGeom>
              <a:avLst/>
              <a:gdLst>
                <a:gd name="connsiteX0" fmla="*/ 27417 w 35332"/>
                <a:gd name="connsiteY0" fmla="*/ 64237 h 71864"/>
                <a:gd name="connsiteX1" fmla="*/ 6872 w 35332"/>
                <a:gd name="connsiteY1" fmla="*/ -7627 h 71864"/>
                <a:gd name="connsiteX2" fmla="*/ -7915 w 35332"/>
                <a:gd name="connsiteY2" fmla="*/ 46108 h 71864"/>
                <a:gd name="connsiteX3" fmla="*/ 27417 w 35332"/>
                <a:gd name="connsiteY3" fmla="*/ 64237 h 7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32" h="71864">
                  <a:moveTo>
                    <a:pt x="27417" y="64237"/>
                  </a:moveTo>
                  <a:lnTo>
                    <a:pt x="6872" y="-7627"/>
                  </a:lnTo>
                  <a:cubicBezTo>
                    <a:pt x="5019" y="8117"/>
                    <a:pt x="881" y="27113"/>
                    <a:pt x="-7915" y="46108"/>
                  </a:cubicBezTo>
                  <a:lnTo>
                    <a:pt x="27417" y="64237"/>
                  </a:ln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DE3273E2-580D-C029-5DD0-B7E7C22262A1}"/>
                </a:ext>
              </a:extLst>
            </p:cNvPr>
            <p:cNvSpPr/>
            <p:nvPr/>
          </p:nvSpPr>
          <p:spPr>
            <a:xfrm flipV="1">
              <a:off x="6449929" y="2679314"/>
              <a:ext cx="125485" cy="161063"/>
            </a:xfrm>
            <a:custGeom>
              <a:avLst/>
              <a:gdLst>
                <a:gd name="connsiteX0" fmla="*/ 45392 w 125485"/>
                <a:gd name="connsiteY0" fmla="*/ -7736 h 161063"/>
                <a:gd name="connsiteX1" fmla="*/ 47949 w 125485"/>
                <a:gd name="connsiteY1" fmla="*/ -7771 h 161063"/>
                <a:gd name="connsiteX2" fmla="*/ 75027 w 125485"/>
                <a:gd name="connsiteY2" fmla="*/ 787 h 161063"/>
                <a:gd name="connsiteX3" fmla="*/ 107321 w 125485"/>
                <a:gd name="connsiteY3" fmla="*/ 36697 h 161063"/>
                <a:gd name="connsiteX4" fmla="*/ 107943 w 125485"/>
                <a:gd name="connsiteY4" fmla="*/ 42658 h 161063"/>
                <a:gd name="connsiteX5" fmla="*/ 114623 w 125485"/>
                <a:gd name="connsiteY5" fmla="*/ 69244 h 161063"/>
                <a:gd name="connsiteX6" fmla="*/ 110764 w 125485"/>
                <a:gd name="connsiteY6" fmla="*/ 153258 h 161063"/>
                <a:gd name="connsiteX7" fmla="*/ 34569 w 125485"/>
                <a:gd name="connsiteY7" fmla="*/ 140370 h 161063"/>
                <a:gd name="connsiteX8" fmla="*/ -4956 w 125485"/>
                <a:gd name="connsiteY8" fmla="*/ 133088 h 161063"/>
                <a:gd name="connsiteX9" fmla="*/ -7594 w 125485"/>
                <a:gd name="connsiteY9" fmla="*/ 117880 h 161063"/>
                <a:gd name="connsiteX10" fmla="*/ -6440 w 125485"/>
                <a:gd name="connsiteY10" fmla="*/ 101508 h 161063"/>
                <a:gd name="connsiteX11" fmla="*/ 4969 w 125485"/>
                <a:gd name="connsiteY11" fmla="*/ 69067 h 161063"/>
                <a:gd name="connsiteX12" fmla="*/ 5015 w 125485"/>
                <a:gd name="connsiteY12" fmla="*/ 69031 h 161063"/>
                <a:gd name="connsiteX13" fmla="*/ 4979 w 125485"/>
                <a:gd name="connsiteY13" fmla="*/ 68986 h 161063"/>
                <a:gd name="connsiteX14" fmla="*/ -171 w 125485"/>
                <a:gd name="connsiteY14" fmla="*/ 34788 h 161063"/>
                <a:gd name="connsiteX15" fmla="*/ 3394 w 125485"/>
                <a:gd name="connsiteY15" fmla="*/ 30073 h 161063"/>
                <a:gd name="connsiteX16" fmla="*/ 12925 w 125485"/>
                <a:gd name="connsiteY16" fmla="*/ 29815 h 161063"/>
                <a:gd name="connsiteX17" fmla="*/ 45392 w 125485"/>
                <a:gd name="connsiteY17" fmla="*/ -7736 h 161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5485" h="161063">
                  <a:moveTo>
                    <a:pt x="45392" y="-7736"/>
                  </a:moveTo>
                  <a:cubicBezTo>
                    <a:pt x="46197" y="-7812"/>
                    <a:pt x="47072" y="-7791"/>
                    <a:pt x="47949" y="-7771"/>
                  </a:cubicBezTo>
                  <a:cubicBezTo>
                    <a:pt x="57535" y="-7599"/>
                    <a:pt x="66792" y="-4095"/>
                    <a:pt x="75027" y="787"/>
                  </a:cubicBezTo>
                  <a:cubicBezTo>
                    <a:pt x="89049" y="9148"/>
                    <a:pt x="100312" y="21940"/>
                    <a:pt x="107321" y="36697"/>
                  </a:cubicBezTo>
                  <a:cubicBezTo>
                    <a:pt x="107635" y="38637"/>
                    <a:pt x="107852" y="40637"/>
                    <a:pt x="107943" y="42658"/>
                  </a:cubicBezTo>
                  <a:cubicBezTo>
                    <a:pt x="110800" y="51332"/>
                    <a:pt x="113033" y="60235"/>
                    <a:pt x="114623" y="69244"/>
                  </a:cubicBezTo>
                  <a:cubicBezTo>
                    <a:pt x="119632" y="97097"/>
                    <a:pt x="118401" y="126044"/>
                    <a:pt x="110764" y="153258"/>
                  </a:cubicBezTo>
                  <a:cubicBezTo>
                    <a:pt x="85261" y="153578"/>
                    <a:pt x="59059" y="149131"/>
                    <a:pt x="34569" y="140370"/>
                  </a:cubicBezTo>
                  <a:cubicBezTo>
                    <a:pt x="20744" y="135397"/>
                    <a:pt x="-4956" y="133088"/>
                    <a:pt x="-4956" y="133088"/>
                  </a:cubicBezTo>
                  <a:cubicBezTo>
                    <a:pt x="-5762" y="131361"/>
                    <a:pt x="-7261" y="119941"/>
                    <a:pt x="-7594" y="117880"/>
                  </a:cubicBezTo>
                  <a:cubicBezTo>
                    <a:pt x="-8227" y="113009"/>
                    <a:pt x="-7671" y="107286"/>
                    <a:pt x="-6440" y="101508"/>
                  </a:cubicBezTo>
                  <a:cubicBezTo>
                    <a:pt x="-3285" y="85926"/>
                    <a:pt x="4519" y="70034"/>
                    <a:pt x="4969" y="69067"/>
                  </a:cubicBezTo>
                  <a:lnTo>
                    <a:pt x="5015" y="69031"/>
                  </a:lnTo>
                  <a:lnTo>
                    <a:pt x="4979" y="68986"/>
                  </a:lnTo>
                  <a:lnTo>
                    <a:pt x="-171" y="34788"/>
                  </a:lnTo>
                  <a:cubicBezTo>
                    <a:pt x="-353" y="32540"/>
                    <a:pt x="1227" y="30544"/>
                    <a:pt x="3394" y="30073"/>
                  </a:cubicBezTo>
                  <a:lnTo>
                    <a:pt x="12925" y="29815"/>
                  </a:lnTo>
                  <a:cubicBezTo>
                    <a:pt x="12925" y="29815"/>
                    <a:pt x="8241" y="-6768"/>
                    <a:pt x="45392" y="-7736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250E9191-4318-57B5-697A-233810862765}"/>
                </a:ext>
              </a:extLst>
            </p:cNvPr>
            <p:cNvSpPr/>
            <p:nvPr/>
          </p:nvSpPr>
          <p:spPr>
            <a:xfrm flipV="1">
              <a:off x="6472338" y="2748068"/>
              <a:ext cx="10777" cy="15889"/>
            </a:xfrm>
            <a:custGeom>
              <a:avLst/>
              <a:gdLst>
                <a:gd name="connsiteX0" fmla="*/ 2309 w 10777"/>
                <a:gd name="connsiteY0" fmla="*/ 1724 h 15889"/>
                <a:gd name="connsiteX1" fmla="*/ 192 w 10777"/>
                <a:gd name="connsiteY1" fmla="*/ -7640 h 15889"/>
                <a:gd name="connsiteX2" fmla="*/ -7131 w 10777"/>
                <a:gd name="connsiteY2" fmla="*/ -1426 h 15889"/>
                <a:gd name="connsiteX3" fmla="*/ -5009 w 10777"/>
                <a:gd name="connsiteY3" fmla="*/ 7932 h 15889"/>
                <a:gd name="connsiteX4" fmla="*/ 2309 w 10777"/>
                <a:gd name="connsiteY4" fmla="*/ 1724 h 1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77" h="15889">
                  <a:moveTo>
                    <a:pt x="2309" y="1724"/>
                  </a:moveTo>
                  <a:cubicBezTo>
                    <a:pt x="3747" y="-2576"/>
                    <a:pt x="2795" y="-6769"/>
                    <a:pt x="192" y="-7640"/>
                  </a:cubicBezTo>
                  <a:cubicBezTo>
                    <a:pt x="-2416" y="-8506"/>
                    <a:pt x="-5697" y="-5726"/>
                    <a:pt x="-7131" y="-1426"/>
                  </a:cubicBezTo>
                  <a:cubicBezTo>
                    <a:pt x="-8564" y="2873"/>
                    <a:pt x="-7612" y="7066"/>
                    <a:pt x="-5009" y="7932"/>
                  </a:cubicBezTo>
                  <a:cubicBezTo>
                    <a:pt x="-2401" y="8803"/>
                    <a:pt x="876" y="6023"/>
                    <a:pt x="2309" y="1724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3DC99AF8-B725-614C-9B63-EAB6041A8AFF}"/>
                </a:ext>
              </a:extLst>
            </p:cNvPr>
            <p:cNvSpPr/>
            <p:nvPr/>
          </p:nvSpPr>
          <p:spPr>
            <a:xfrm flipV="1">
              <a:off x="6464734" y="2727008"/>
              <a:ext cx="25304" cy="16233"/>
            </a:xfrm>
            <a:custGeom>
              <a:avLst/>
              <a:gdLst>
                <a:gd name="connsiteX0" fmla="*/ 16898 w 25304"/>
                <a:gd name="connsiteY0" fmla="*/ -2211 h 16233"/>
                <a:gd name="connsiteX1" fmla="*/ -4964 w 25304"/>
                <a:gd name="connsiteY1" fmla="*/ 8332 h 16233"/>
                <a:gd name="connsiteX2" fmla="*/ -4002 w 25304"/>
                <a:gd name="connsiteY2" fmla="*/ 1592 h 16233"/>
                <a:gd name="connsiteX3" fmla="*/ 11565 w 25304"/>
                <a:gd name="connsiteY3" fmla="*/ -6445 h 16233"/>
                <a:gd name="connsiteX4" fmla="*/ 16898 w 25304"/>
                <a:gd name="connsiteY4" fmla="*/ -2211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4" h="16233">
                  <a:moveTo>
                    <a:pt x="16898" y="-2211"/>
                  </a:moveTo>
                  <a:cubicBezTo>
                    <a:pt x="12066" y="5107"/>
                    <a:pt x="3695" y="8905"/>
                    <a:pt x="-4964" y="8332"/>
                  </a:cubicBezTo>
                  <a:cubicBezTo>
                    <a:pt x="-9339" y="8044"/>
                    <a:pt x="-8357" y="1303"/>
                    <a:pt x="-4002" y="1592"/>
                  </a:cubicBezTo>
                  <a:cubicBezTo>
                    <a:pt x="2363" y="2012"/>
                    <a:pt x="8096" y="-1193"/>
                    <a:pt x="11565" y="-6445"/>
                  </a:cubicBezTo>
                  <a:cubicBezTo>
                    <a:pt x="13976" y="-10101"/>
                    <a:pt x="19303" y="-5852"/>
                    <a:pt x="16898" y="-2211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33C9CFE5-221F-32D0-22C0-E1460FC0A88F}"/>
                </a:ext>
              </a:extLst>
            </p:cNvPr>
            <p:cNvSpPr/>
            <p:nvPr/>
          </p:nvSpPr>
          <p:spPr>
            <a:xfrm flipV="1">
              <a:off x="6533649" y="2733767"/>
              <a:ext cx="11319" cy="27709"/>
            </a:xfrm>
            <a:custGeom>
              <a:avLst/>
              <a:gdLst>
                <a:gd name="connsiteX0" fmla="*/ -3751 w 11319"/>
                <a:gd name="connsiteY0" fmla="*/ -7801 h 27709"/>
                <a:gd name="connsiteX1" fmla="*/ -2510 w 11319"/>
                <a:gd name="connsiteY1" fmla="*/ -7315 h 27709"/>
                <a:gd name="connsiteX2" fmla="*/ 194 w 11319"/>
                <a:gd name="connsiteY2" fmla="*/ 565 h 27709"/>
                <a:gd name="connsiteX3" fmla="*/ -5240 w 11319"/>
                <a:gd name="connsiteY3" fmla="*/ 2190 h 27709"/>
                <a:gd name="connsiteX4" fmla="*/ 2519 w 11319"/>
                <a:gd name="connsiteY4" fmla="*/ 17337 h 27709"/>
                <a:gd name="connsiteX5" fmla="*/ 3349 w 11319"/>
                <a:gd name="connsiteY5" fmla="*/ 18993 h 27709"/>
                <a:gd name="connsiteX6" fmla="*/ 1693 w 11319"/>
                <a:gd name="connsiteY6" fmla="*/ 19824 h 27709"/>
                <a:gd name="connsiteX7" fmla="*/ -7802 w 11319"/>
                <a:gd name="connsiteY7" fmla="*/ 1912 h 27709"/>
                <a:gd name="connsiteX8" fmla="*/ -6850 w 11319"/>
                <a:gd name="connsiteY8" fmla="*/ 139 h 27709"/>
                <a:gd name="connsiteX9" fmla="*/ -4895 w 11319"/>
                <a:gd name="connsiteY9" fmla="*/ -413 h 27709"/>
                <a:gd name="connsiteX10" fmla="*/ -2084 w 11319"/>
                <a:gd name="connsiteY10" fmla="*/ -727 h 27709"/>
                <a:gd name="connsiteX11" fmla="*/ -4576 w 11319"/>
                <a:gd name="connsiteY11" fmla="*/ -5695 h 27709"/>
                <a:gd name="connsiteX12" fmla="*/ -4353 w 11319"/>
                <a:gd name="connsiteY12" fmla="*/ -7538 h 27709"/>
                <a:gd name="connsiteX13" fmla="*/ -3751 w 11319"/>
                <a:gd name="connsiteY13" fmla="*/ -7801 h 2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319" h="27709">
                  <a:moveTo>
                    <a:pt x="-3751" y="-7801"/>
                  </a:moveTo>
                  <a:cubicBezTo>
                    <a:pt x="-3290" y="-7872"/>
                    <a:pt x="-2814" y="-7700"/>
                    <a:pt x="-2510" y="-7315"/>
                  </a:cubicBezTo>
                  <a:cubicBezTo>
                    <a:pt x="336" y="-3689"/>
                    <a:pt x="1197" y="-1188"/>
                    <a:pt x="194" y="565"/>
                  </a:cubicBezTo>
                  <a:cubicBezTo>
                    <a:pt x="-368" y="1557"/>
                    <a:pt x="-1765" y="2636"/>
                    <a:pt x="-5240" y="2190"/>
                  </a:cubicBezTo>
                  <a:cubicBezTo>
                    <a:pt x="-6252" y="14278"/>
                    <a:pt x="2433" y="17307"/>
                    <a:pt x="2519" y="17337"/>
                  </a:cubicBezTo>
                  <a:cubicBezTo>
                    <a:pt x="3207" y="17560"/>
                    <a:pt x="3577" y="18304"/>
                    <a:pt x="3349" y="18993"/>
                  </a:cubicBezTo>
                  <a:cubicBezTo>
                    <a:pt x="3132" y="19677"/>
                    <a:pt x="2387" y="20057"/>
                    <a:pt x="1693" y="19824"/>
                  </a:cubicBezTo>
                  <a:cubicBezTo>
                    <a:pt x="1592" y="19788"/>
                    <a:pt x="-9048" y="16091"/>
                    <a:pt x="-7802" y="1912"/>
                  </a:cubicBezTo>
                  <a:cubicBezTo>
                    <a:pt x="-7742" y="1223"/>
                    <a:pt x="-7397" y="580"/>
                    <a:pt x="-6850" y="139"/>
                  </a:cubicBezTo>
                  <a:cubicBezTo>
                    <a:pt x="-6303" y="-301"/>
                    <a:pt x="-5594" y="-494"/>
                    <a:pt x="-4895" y="-413"/>
                  </a:cubicBezTo>
                  <a:cubicBezTo>
                    <a:pt x="-3108" y="-180"/>
                    <a:pt x="-2221" y="-484"/>
                    <a:pt x="-2084" y="-727"/>
                  </a:cubicBezTo>
                  <a:cubicBezTo>
                    <a:pt x="-2059" y="-772"/>
                    <a:pt x="-1528" y="-1815"/>
                    <a:pt x="-4576" y="-5695"/>
                  </a:cubicBezTo>
                  <a:cubicBezTo>
                    <a:pt x="-5022" y="-6267"/>
                    <a:pt x="-4921" y="-7092"/>
                    <a:pt x="-4353" y="-7538"/>
                  </a:cubicBezTo>
                  <a:lnTo>
                    <a:pt x="-3751" y="-7801"/>
                  </a:lnTo>
                </a:path>
              </a:pathLst>
            </a:custGeom>
            <a:solidFill>
              <a:srgbClr val="E8E4E2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A6C866B4-D54A-FF40-4BAB-241101B42A04}"/>
                </a:ext>
              </a:extLst>
            </p:cNvPr>
            <p:cNvSpPr/>
            <p:nvPr/>
          </p:nvSpPr>
          <p:spPr>
            <a:xfrm flipV="1">
              <a:off x="6540201" y="2768107"/>
              <a:ext cx="19284" cy="10802"/>
            </a:xfrm>
            <a:custGeom>
              <a:avLst/>
              <a:gdLst>
                <a:gd name="connsiteX0" fmla="*/ -7921 w 19284"/>
                <a:gd name="connsiteY0" fmla="*/ -5628 h 10802"/>
                <a:gd name="connsiteX1" fmla="*/ 11363 w 19284"/>
                <a:gd name="connsiteY1" fmla="*/ 2864 h 10802"/>
                <a:gd name="connsiteX2" fmla="*/ 2926 w 19284"/>
                <a:gd name="connsiteY2" fmla="*/ 469 h 10802"/>
                <a:gd name="connsiteX3" fmla="*/ -7921 w 19284"/>
                <a:gd name="connsiteY3" fmla="*/ -5628 h 10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84" h="10802">
                  <a:moveTo>
                    <a:pt x="-7921" y="-5628"/>
                  </a:moveTo>
                  <a:cubicBezTo>
                    <a:pt x="-3911" y="-8358"/>
                    <a:pt x="3879" y="-10819"/>
                    <a:pt x="11363" y="2864"/>
                  </a:cubicBezTo>
                  <a:cubicBezTo>
                    <a:pt x="11363" y="2864"/>
                    <a:pt x="6284" y="4019"/>
                    <a:pt x="2926" y="469"/>
                  </a:cubicBezTo>
                  <a:cubicBezTo>
                    <a:pt x="2926" y="469"/>
                    <a:pt x="-3222" y="-7593"/>
                    <a:pt x="-7921" y="-5628"/>
                  </a:cubicBezTo>
                </a:path>
              </a:pathLst>
            </a:custGeom>
            <a:solidFill>
              <a:srgbClr val="E8E4E2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F5F79CB2-F82D-2507-14A3-8741EC107613}"/>
                </a:ext>
              </a:extLst>
            </p:cNvPr>
            <p:cNvSpPr/>
            <p:nvPr/>
          </p:nvSpPr>
          <p:spPr>
            <a:xfrm flipV="1">
              <a:off x="6413994" y="2619262"/>
              <a:ext cx="194269" cy="162221"/>
            </a:xfrm>
            <a:custGeom>
              <a:avLst/>
              <a:gdLst>
                <a:gd name="connsiteX0" fmla="*/ 74760 w 194269"/>
                <a:gd name="connsiteY0" fmla="*/ 75954 h 162221"/>
                <a:gd name="connsiteX1" fmla="*/ 104178 w 194269"/>
                <a:gd name="connsiteY1" fmla="*/ 30565 h 162221"/>
                <a:gd name="connsiteX2" fmla="*/ 111344 w 194269"/>
                <a:gd name="connsiteY2" fmla="*/ 43124 h 162221"/>
                <a:gd name="connsiteX3" fmla="*/ 125716 w 194269"/>
                <a:gd name="connsiteY3" fmla="*/ 44380 h 162221"/>
                <a:gd name="connsiteX4" fmla="*/ 137034 w 194269"/>
                <a:gd name="connsiteY4" fmla="*/ 25480 h 162221"/>
                <a:gd name="connsiteX5" fmla="*/ 129195 w 194269"/>
                <a:gd name="connsiteY5" fmla="*/ 2879 h 162221"/>
                <a:gd name="connsiteX6" fmla="*/ 129418 w 194269"/>
                <a:gd name="connsiteY6" fmla="*/ 2920 h 162221"/>
                <a:gd name="connsiteX7" fmla="*/ 171273 w 194269"/>
                <a:gd name="connsiteY7" fmla="*/ -7923 h 162221"/>
                <a:gd name="connsiteX8" fmla="*/ 183427 w 194269"/>
                <a:gd name="connsiteY8" fmla="*/ 48218 h 162221"/>
                <a:gd name="connsiteX9" fmla="*/ 183245 w 194269"/>
                <a:gd name="connsiteY9" fmla="*/ 87151 h 162221"/>
                <a:gd name="connsiteX10" fmla="*/ 168852 w 194269"/>
                <a:gd name="connsiteY10" fmla="*/ 103169 h 162221"/>
                <a:gd name="connsiteX11" fmla="*/ 172473 w 194269"/>
                <a:gd name="connsiteY11" fmla="*/ 104111 h 162221"/>
                <a:gd name="connsiteX12" fmla="*/ 173623 w 194269"/>
                <a:gd name="connsiteY12" fmla="*/ 110021 h 162221"/>
                <a:gd name="connsiteX13" fmla="*/ 137444 w 194269"/>
                <a:gd name="connsiteY13" fmla="*/ 120423 h 162221"/>
                <a:gd name="connsiteX14" fmla="*/ 76093 w 194269"/>
                <a:gd name="connsiteY14" fmla="*/ 153476 h 162221"/>
                <a:gd name="connsiteX15" fmla="*/ 74447 w 194269"/>
                <a:gd name="connsiteY15" fmla="*/ 149172 h 162221"/>
                <a:gd name="connsiteX16" fmla="*/ 77885 w 194269"/>
                <a:gd name="connsiteY16" fmla="*/ 145206 h 162221"/>
                <a:gd name="connsiteX17" fmla="*/ 72649 w 194269"/>
                <a:gd name="connsiteY17" fmla="*/ 143480 h 162221"/>
                <a:gd name="connsiteX18" fmla="*/ -3566 w 194269"/>
                <a:gd name="connsiteY18" fmla="*/ 113921 h 162221"/>
                <a:gd name="connsiteX19" fmla="*/ -3850 w 194269"/>
                <a:gd name="connsiteY19" fmla="*/ 113870 h 162221"/>
                <a:gd name="connsiteX20" fmla="*/ -7835 w 194269"/>
                <a:gd name="connsiteY20" fmla="*/ 108254 h 162221"/>
                <a:gd name="connsiteX21" fmla="*/ 25755 w 194269"/>
                <a:gd name="connsiteY21" fmla="*/ 68536 h 162221"/>
                <a:gd name="connsiteX22" fmla="*/ 74760 w 194269"/>
                <a:gd name="connsiteY22" fmla="*/ 75954 h 162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4269" h="162221">
                  <a:moveTo>
                    <a:pt x="74760" y="75954"/>
                  </a:moveTo>
                  <a:cubicBezTo>
                    <a:pt x="76695" y="59050"/>
                    <a:pt x="88368" y="36819"/>
                    <a:pt x="104178" y="30565"/>
                  </a:cubicBezTo>
                  <a:cubicBezTo>
                    <a:pt x="104371" y="35558"/>
                    <a:pt x="107116" y="40419"/>
                    <a:pt x="111344" y="43124"/>
                  </a:cubicBezTo>
                  <a:cubicBezTo>
                    <a:pt x="115542" y="45843"/>
                    <a:pt x="121128" y="46324"/>
                    <a:pt x="125716" y="44380"/>
                  </a:cubicBezTo>
                  <a:cubicBezTo>
                    <a:pt x="132887" y="41377"/>
                    <a:pt x="136867" y="33234"/>
                    <a:pt x="137034" y="25480"/>
                  </a:cubicBezTo>
                  <a:cubicBezTo>
                    <a:pt x="137242" y="17702"/>
                    <a:pt x="132512" y="9928"/>
                    <a:pt x="129195" y="2879"/>
                  </a:cubicBezTo>
                  <a:lnTo>
                    <a:pt x="129418" y="2920"/>
                  </a:lnTo>
                  <a:cubicBezTo>
                    <a:pt x="131540" y="3441"/>
                    <a:pt x="155417" y="1264"/>
                    <a:pt x="171273" y="-7923"/>
                  </a:cubicBezTo>
                  <a:cubicBezTo>
                    <a:pt x="173972" y="5153"/>
                    <a:pt x="180753" y="35178"/>
                    <a:pt x="183427" y="48218"/>
                  </a:cubicBezTo>
                  <a:cubicBezTo>
                    <a:pt x="186096" y="61172"/>
                    <a:pt x="188623" y="75114"/>
                    <a:pt x="183245" y="87151"/>
                  </a:cubicBezTo>
                  <a:cubicBezTo>
                    <a:pt x="180257" y="93836"/>
                    <a:pt x="175046" y="99219"/>
                    <a:pt x="168852" y="103169"/>
                  </a:cubicBezTo>
                  <a:lnTo>
                    <a:pt x="172473" y="104111"/>
                  </a:lnTo>
                  <a:cubicBezTo>
                    <a:pt x="175172" y="104815"/>
                    <a:pt x="175821" y="108289"/>
                    <a:pt x="173623" y="110021"/>
                  </a:cubicBezTo>
                  <a:cubicBezTo>
                    <a:pt x="156936" y="123041"/>
                    <a:pt x="137444" y="120423"/>
                    <a:pt x="137444" y="120423"/>
                  </a:cubicBezTo>
                  <a:cubicBezTo>
                    <a:pt x="131742" y="131999"/>
                    <a:pt x="116236" y="159376"/>
                    <a:pt x="76093" y="153476"/>
                  </a:cubicBezTo>
                  <a:cubicBezTo>
                    <a:pt x="74047" y="153198"/>
                    <a:pt x="73084" y="150747"/>
                    <a:pt x="74447" y="149172"/>
                  </a:cubicBezTo>
                  <a:lnTo>
                    <a:pt x="77885" y="145206"/>
                  </a:lnTo>
                  <a:lnTo>
                    <a:pt x="72649" y="143480"/>
                  </a:lnTo>
                  <a:cubicBezTo>
                    <a:pt x="51010" y="136319"/>
                    <a:pt x="18604" y="119248"/>
                    <a:pt x="-3566" y="113921"/>
                  </a:cubicBezTo>
                  <a:lnTo>
                    <a:pt x="-3850" y="113870"/>
                  </a:lnTo>
                  <a:cubicBezTo>
                    <a:pt x="-6367" y="113282"/>
                    <a:pt x="-8058" y="110856"/>
                    <a:pt x="-7835" y="108254"/>
                  </a:cubicBezTo>
                  <a:cubicBezTo>
                    <a:pt x="-6185" y="89911"/>
                    <a:pt x="7793" y="73048"/>
                    <a:pt x="25755" y="68536"/>
                  </a:cubicBezTo>
                  <a:cubicBezTo>
                    <a:pt x="42036" y="64474"/>
                    <a:pt x="59047" y="70176"/>
                    <a:pt x="74760" y="75954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1CD2AD6F-161B-C45A-3C06-AC336BA798E6}"/>
                </a:ext>
              </a:extLst>
            </p:cNvPr>
            <p:cNvSpPr/>
            <p:nvPr/>
          </p:nvSpPr>
          <p:spPr>
            <a:xfrm flipV="1">
              <a:off x="6485560" y="2796422"/>
              <a:ext cx="22928" cy="25599"/>
            </a:xfrm>
            <a:custGeom>
              <a:avLst/>
              <a:gdLst>
                <a:gd name="connsiteX0" fmla="*/ 9837 w 22928"/>
                <a:gd name="connsiteY0" fmla="*/ 16850 h 25599"/>
                <a:gd name="connsiteX1" fmla="*/ -6515 w 22928"/>
                <a:gd name="connsiteY1" fmla="*/ 4529 h 25599"/>
                <a:gd name="connsiteX2" fmla="*/ -6899 w 22928"/>
                <a:gd name="connsiteY2" fmla="*/ 1050 h 25599"/>
                <a:gd name="connsiteX3" fmla="*/ 13631 w 22928"/>
                <a:gd name="connsiteY3" fmla="*/ 16552 h 25599"/>
                <a:gd name="connsiteX4" fmla="*/ 9837 w 22928"/>
                <a:gd name="connsiteY4" fmla="*/ 16850 h 2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28" h="25599">
                  <a:moveTo>
                    <a:pt x="9837" y="16850"/>
                  </a:moveTo>
                  <a:cubicBezTo>
                    <a:pt x="7984" y="11994"/>
                    <a:pt x="3553" y="4838"/>
                    <a:pt x="-6515" y="4529"/>
                  </a:cubicBezTo>
                  <a:cubicBezTo>
                    <a:pt x="-8510" y="4468"/>
                    <a:pt x="-7897" y="2914"/>
                    <a:pt x="-6899" y="1050"/>
                  </a:cubicBezTo>
                  <a:cubicBezTo>
                    <a:pt x="-1613" y="-8810"/>
                    <a:pt x="21014" y="-17241"/>
                    <a:pt x="13631" y="16552"/>
                  </a:cubicBezTo>
                  <a:cubicBezTo>
                    <a:pt x="13251" y="18284"/>
                    <a:pt x="10410" y="18359"/>
                    <a:pt x="9837" y="16850"/>
                  </a:cubicBezTo>
                </a:path>
              </a:pathLst>
            </a:custGeom>
            <a:solidFill>
              <a:srgbClr val="0E5578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D53BFAC9-0BF1-1886-BADF-13A7E92D1723}"/>
                </a:ext>
              </a:extLst>
            </p:cNvPr>
            <p:cNvSpPr/>
            <p:nvPr/>
          </p:nvSpPr>
          <p:spPr>
            <a:xfrm flipV="1">
              <a:off x="6544542" y="2868866"/>
              <a:ext cx="137840" cy="369894"/>
            </a:xfrm>
            <a:custGeom>
              <a:avLst/>
              <a:gdLst>
                <a:gd name="connsiteX0" fmla="*/ -7509 w 137840"/>
                <a:gd name="connsiteY0" fmla="*/ 362763 h 369894"/>
                <a:gd name="connsiteX1" fmla="*/ 9846 w 137840"/>
                <a:gd name="connsiteY1" fmla="*/ 317267 h 369894"/>
                <a:gd name="connsiteX2" fmla="*/ 71922 w 137840"/>
                <a:gd name="connsiteY2" fmla="*/ 14244 h 369894"/>
                <a:gd name="connsiteX3" fmla="*/ 109867 w 137840"/>
                <a:gd name="connsiteY3" fmla="*/ -7132 h 369894"/>
                <a:gd name="connsiteX4" fmla="*/ 129810 w 137840"/>
                <a:gd name="connsiteY4" fmla="*/ 40441 h 369894"/>
                <a:gd name="connsiteX5" fmla="*/ 20222 w 137840"/>
                <a:gd name="connsiteY5" fmla="*/ 322341 h 369894"/>
                <a:gd name="connsiteX6" fmla="*/ -7509 w 137840"/>
                <a:gd name="connsiteY6" fmla="*/ 362763 h 369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840" h="369894">
                  <a:moveTo>
                    <a:pt x="-7509" y="362763"/>
                  </a:moveTo>
                  <a:cubicBezTo>
                    <a:pt x="-7509" y="362763"/>
                    <a:pt x="-12725" y="327010"/>
                    <a:pt x="9846" y="317267"/>
                  </a:cubicBezTo>
                  <a:cubicBezTo>
                    <a:pt x="9846" y="317267"/>
                    <a:pt x="20288" y="131413"/>
                    <a:pt x="71922" y="14244"/>
                  </a:cubicBezTo>
                  <a:lnTo>
                    <a:pt x="109867" y="-7132"/>
                  </a:lnTo>
                  <a:lnTo>
                    <a:pt x="129810" y="40441"/>
                  </a:lnTo>
                  <a:cubicBezTo>
                    <a:pt x="129810" y="40441"/>
                    <a:pt x="39076" y="162132"/>
                    <a:pt x="20222" y="322341"/>
                  </a:cubicBezTo>
                  <a:cubicBezTo>
                    <a:pt x="20222" y="322341"/>
                    <a:pt x="23352" y="359856"/>
                    <a:pt x="-7509" y="362763"/>
                  </a:cubicBezTo>
                </a:path>
              </a:pathLst>
            </a:custGeom>
            <a:solidFill>
              <a:srgbClr val="FFFFFF"/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540E524D-3BEA-6F3B-6AD8-73DCB39FC60A}"/>
                </a:ext>
              </a:extLst>
            </p:cNvPr>
            <p:cNvSpPr/>
            <p:nvPr/>
          </p:nvSpPr>
          <p:spPr>
            <a:xfrm flipV="1">
              <a:off x="6536054" y="2796236"/>
              <a:ext cx="92328" cy="105120"/>
            </a:xfrm>
            <a:custGeom>
              <a:avLst/>
              <a:gdLst>
                <a:gd name="connsiteX0" fmla="*/ 68795 w 92328"/>
                <a:gd name="connsiteY0" fmla="*/ 97530 h 105120"/>
                <a:gd name="connsiteX1" fmla="*/ -7977 w 92328"/>
                <a:gd name="connsiteY1" fmla="*/ 24125 h 105120"/>
                <a:gd name="connsiteX2" fmla="*/ 30171 w 92328"/>
                <a:gd name="connsiteY2" fmla="*/ -7571 h 105120"/>
                <a:gd name="connsiteX3" fmla="*/ 84352 w 92328"/>
                <a:gd name="connsiteY3" fmla="*/ 80226 h 105120"/>
                <a:gd name="connsiteX4" fmla="*/ 68795 w 92328"/>
                <a:gd name="connsiteY4" fmla="*/ 97530 h 105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328" h="105120">
                  <a:moveTo>
                    <a:pt x="68795" y="97530"/>
                  </a:moveTo>
                  <a:lnTo>
                    <a:pt x="-7977" y="24125"/>
                  </a:lnTo>
                  <a:cubicBezTo>
                    <a:pt x="-7977" y="24125"/>
                    <a:pt x="31042" y="-8503"/>
                    <a:pt x="30171" y="-7571"/>
                  </a:cubicBezTo>
                  <a:cubicBezTo>
                    <a:pt x="29295" y="-6644"/>
                    <a:pt x="84352" y="80226"/>
                    <a:pt x="84352" y="80226"/>
                  </a:cubicBezTo>
                  <a:lnTo>
                    <a:pt x="68795" y="97530"/>
                  </a:lnTo>
                </a:path>
              </a:pathLst>
            </a:custGeom>
            <a:solidFill>
              <a:srgbClr val="4DA5C3">
                <a:lumMod val="7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05244C88-1486-E9EA-5302-073408EB6458}"/>
                </a:ext>
              </a:extLst>
            </p:cNvPr>
            <p:cNvSpPr/>
            <p:nvPr/>
          </p:nvSpPr>
          <p:spPr>
            <a:xfrm flipV="1">
              <a:off x="6071375" y="3275678"/>
              <a:ext cx="57137" cy="50250"/>
            </a:xfrm>
            <a:custGeom>
              <a:avLst/>
              <a:gdLst>
                <a:gd name="connsiteX0" fmla="*/ 49987 w 57137"/>
                <a:gd name="connsiteY0" fmla="*/ 43424 h 50250"/>
                <a:gd name="connsiteX1" fmla="*/ 6420 w 57137"/>
                <a:gd name="connsiteY1" fmla="*/ 35316 h 50250"/>
                <a:gd name="connsiteX2" fmla="*/ -7147 w 57137"/>
                <a:gd name="connsiteY2" fmla="*/ 3078 h 50250"/>
                <a:gd name="connsiteX3" fmla="*/ -2220 w 57137"/>
                <a:gd name="connsiteY3" fmla="*/ -6382 h 50250"/>
                <a:gd name="connsiteX4" fmla="*/ 7458 w 57137"/>
                <a:gd name="connsiteY4" fmla="*/ 475 h 50250"/>
                <a:gd name="connsiteX5" fmla="*/ 16209 w 57137"/>
                <a:gd name="connsiteY5" fmla="*/ 23891 h 50250"/>
                <a:gd name="connsiteX6" fmla="*/ 43722 w 57137"/>
                <a:gd name="connsiteY6" fmla="*/ 34030 h 50250"/>
                <a:gd name="connsiteX7" fmla="*/ 49987 w 57137"/>
                <a:gd name="connsiteY7" fmla="*/ 43424 h 5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137" h="50250">
                  <a:moveTo>
                    <a:pt x="49987" y="43424"/>
                  </a:moveTo>
                  <a:cubicBezTo>
                    <a:pt x="38015" y="44198"/>
                    <a:pt x="15115" y="43581"/>
                    <a:pt x="6420" y="35316"/>
                  </a:cubicBezTo>
                  <a:cubicBezTo>
                    <a:pt x="-2270" y="27051"/>
                    <a:pt x="-7319" y="15075"/>
                    <a:pt x="-7147" y="3078"/>
                  </a:cubicBezTo>
                  <a:cubicBezTo>
                    <a:pt x="-7097" y="-741"/>
                    <a:pt x="-5896" y="-5344"/>
                    <a:pt x="-2220" y="-6382"/>
                  </a:cubicBezTo>
                  <a:cubicBezTo>
                    <a:pt x="1912" y="-7547"/>
                    <a:pt x="5452" y="-3323"/>
                    <a:pt x="7458" y="475"/>
                  </a:cubicBezTo>
                  <a:cubicBezTo>
                    <a:pt x="11367" y="7858"/>
                    <a:pt x="14315" y="15753"/>
                    <a:pt x="16209" y="23891"/>
                  </a:cubicBezTo>
                  <a:lnTo>
                    <a:pt x="43722" y="34030"/>
                  </a:lnTo>
                  <a:lnTo>
                    <a:pt x="49987" y="43424"/>
                  </a:ln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24AFB264-F89D-AD4E-A52F-8541CD66EC48}"/>
                </a:ext>
              </a:extLst>
            </p:cNvPr>
            <p:cNvSpPr/>
            <p:nvPr/>
          </p:nvSpPr>
          <p:spPr>
            <a:xfrm flipV="1">
              <a:off x="6076200" y="3339611"/>
              <a:ext cx="55092" cy="32089"/>
            </a:xfrm>
            <a:custGeom>
              <a:avLst/>
              <a:gdLst>
                <a:gd name="connsiteX0" fmla="*/ 47935 w 55092"/>
                <a:gd name="connsiteY0" fmla="*/ 15297 h 32089"/>
                <a:gd name="connsiteX1" fmla="*/ 30160 w 55092"/>
                <a:gd name="connsiteY1" fmla="*/ 25592 h 32089"/>
                <a:gd name="connsiteX2" fmla="*/ 10293 w 55092"/>
                <a:gd name="connsiteY2" fmla="*/ 18988 h 32089"/>
                <a:gd name="connsiteX3" fmla="*/ -7158 w 55092"/>
                <a:gd name="connsiteY3" fmla="*/ 2464 h 32089"/>
                <a:gd name="connsiteX4" fmla="*/ 15124 w 55092"/>
                <a:gd name="connsiteY4" fmla="*/ -6454 h 32089"/>
                <a:gd name="connsiteX5" fmla="*/ 34141 w 55092"/>
                <a:gd name="connsiteY5" fmla="*/ 236 h 32089"/>
                <a:gd name="connsiteX6" fmla="*/ 47935 w 55092"/>
                <a:gd name="connsiteY6" fmla="*/ 15297 h 32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92" h="32089">
                  <a:moveTo>
                    <a:pt x="47935" y="15297"/>
                  </a:moveTo>
                  <a:cubicBezTo>
                    <a:pt x="44304" y="21434"/>
                    <a:pt x="37275" y="25177"/>
                    <a:pt x="30160" y="25592"/>
                  </a:cubicBezTo>
                  <a:cubicBezTo>
                    <a:pt x="23045" y="26002"/>
                    <a:pt x="15945" y="23333"/>
                    <a:pt x="10293" y="18988"/>
                  </a:cubicBezTo>
                  <a:cubicBezTo>
                    <a:pt x="4637" y="14648"/>
                    <a:pt x="-3932" y="8819"/>
                    <a:pt x="-7158" y="2464"/>
                  </a:cubicBezTo>
                  <a:cubicBezTo>
                    <a:pt x="-3512" y="-3324"/>
                    <a:pt x="8288" y="-6363"/>
                    <a:pt x="15124" y="-6454"/>
                  </a:cubicBezTo>
                  <a:cubicBezTo>
                    <a:pt x="21961" y="-6545"/>
                    <a:pt x="28620" y="-3800"/>
                    <a:pt x="34141" y="236"/>
                  </a:cubicBezTo>
                  <a:cubicBezTo>
                    <a:pt x="39660" y="4272"/>
                    <a:pt x="43828" y="9832"/>
                    <a:pt x="47935" y="15297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</p:grp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8536CC7A-051E-0570-5A00-7861B5E4C9EA}"/>
              </a:ext>
            </a:extLst>
          </p:cNvPr>
          <p:cNvGraphicFramePr>
            <a:graphicFrameLocks noGrp="1"/>
          </p:cNvGraphicFramePr>
          <p:nvPr/>
        </p:nvGraphicFramePr>
        <p:xfrm>
          <a:off x="340359" y="1217863"/>
          <a:ext cx="8134058" cy="323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7029">
                  <a:extLst>
                    <a:ext uri="{9D8B030D-6E8A-4147-A177-3AD203B41FA5}">
                      <a16:colId xmlns:a16="http://schemas.microsoft.com/office/drawing/2014/main" val="1754080903"/>
                    </a:ext>
                  </a:extLst>
                </a:gridCol>
                <a:gridCol w="4067029">
                  <a:extLst>
                    <a:ext uri="{9D8B030D-6E8A-4147-A177-3AD203B41FA5}">
                      <a16:colId xmlns:a16="http://schemas.microsoft.com/office/drawing/2014/main" val="1281530716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Tas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Framework St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88611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Understanding the probl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Business Understand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691399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Clean, analyse &amp; visualise the da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Data Understand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037360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Feature engineer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Data Prepar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712991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Build ML mode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Modell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932130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Evaluate mode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Evaluatio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317217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GH" dirty="0">
                          <a:solidFill>
                            <a:srgbClr val="0E5578"/>
                          </a:solidFill>
                          <a:latin typeface="Poppins" pitchFamily="2" charset="77"/>
                          <a:cs typeface="Poppins" pitchFamily="2" charset="77"/>
                        </a:rPr>
                        <a:t>Pick optimal mod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H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2515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34763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5FFD05-DA13-4586-8689-F7C5A1E64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5FFD05-DA13-4586-8689-F7C5A1E64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3">
            <a:extLst>
              <a:ext uri="{FF2B5EF4-FFF2-40B4-BE49-F238E27FC236}">
                <a16:creationId xmlns:a16="http://schemas.microsoft.com/office/drawing/2014/main" id="{27C0868B-A5FC-4E71-9B18-BB6D27B302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439" y="336182"/>
            <a:ext cx="11584383" cy="1318998"/>
          </a:xfrm>
        </p:spPr>
        <p:txBody>
          <a:bodyPr vert="horz" tIns="0" bIns="0" anchor="t"/>
          <a:lstStyle/>
          <a:p>
            <a:pPr algn="l"/>
            <a:r>
              <a:rPr lang="en-GB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ject Rubric</a:t>
            </a:r>
          </a:p>
        </p:txBody>
      </p:sp>
      <p:sp>
        <p:nvSpPr>
          <p:cNvPr id="39" name="Slide Number Placeholder 2">
            <a:extLst>
              <a:ext uri="{FF2B5EF4-FFF2-40B4-BE49-F238E27FC236}">
                <a16:creationId xmlns:a16="http://schemas.microsoft.com/office/drawing/2014/main" id="{0D24CA9B-BA8B-4DA3-8311-4F351C00DEC2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11355439" y="6146868"/>
            <a:ext cx="731600" cy="5248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fld id="{00000000-1234-1234-1234-123412341234}" type="slidenum">
              <a:rPr kumimoji="0" lang="en-GB" sz="1733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Ubuntu Ligh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  <a:tabLst/>
                <a:defRPr/>
              </a:pPr>
              <a:t>6</a:t>
            </a:fld>
            <a:endParaRPr kumimoji="0" lang="en-GB" sz="1733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Ubuntu Light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FD1811AE-E3C8-B268-232E-0C97CC4959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30" y="6146867"/>
            <a:ext cx="1279999" cy="5248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90577B65-70E8-93B8-CC9D-E7EB428B714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220" y="6441734"/>
            <a:ext cx="1905000" cy="207708"/>
          </a:xfrm>
          <a:prstGeom prst="rect">
            <a:avLst/>
          </a:prstGeom>
        </p:spPr>
      </p:pic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5631BFA5-17B9-E0EB-D2FF-D8FA9707201A}"/>
              </a:ext>
            </a:extLst>
          </p:cNvPr>
          <p:cNvSpPr txBox="1">
            <a:spLocks/>
          </p:cNvSpPr>
          <p:nvPr/>
        </p:nvSpPr>
        <p:spPr>
          <a:xfrm>
            <a:off x="243444" y="1350395"/>
            <a:ext cx="11705113" cy="4796472"/>
          </a:xfrm>
          <a:prstGeom prst="rect">
            <a:avLst/>
          </a:prstGeom>
        </p:spPr>
        <p:txBody>
          <a:bodyPr vert="horz" lIns="72000" tIns="45720" rIns="36000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ocumentat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	Excellent: 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Having documentation on the project i.e., data cleaning,</a:t>
            </a:r>
          </a:p>
          <a:p>
            <a:pPr marL="24939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nalysis, hypothesis and modelling is properly</a:t>
            </a:r>
          </a:p>
          <a:p>
            <a:pPr marL="24939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ocumen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	Good: 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ave a summary on some of the processes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	Fair: 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ave a bullet list of the processes with short sentences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oor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: No documentation</a:t>
            </a:r>
          </a:p>
        </p:txBody>
      </p:sp>
    </p:spTree>
    <p:extLst>
      <p:ext uri="{BB962C8B-B14F-4D97-AF65-F5344CB8AC3E}">
        <p14:creationId xmlns:p14="http://schemas.microsoft.com/office/powerpoint/2010/main" val="11961852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5FFD05-DA13-4586-8689-F7C5A1E64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5FFD05-DA13-4586-8689-F7C5A1E64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3">
            <a:extLst>
              <a:ext uri="{FF2B5EF4-FFF2-40B4-BE49-F238E27FC236}">
                <a16:creationId xmlns:a16="http://schemas.microsoft.com/office/drawing/2014/main" id="{27C0868B-A5FC-4E71-9B18-BB6D27B302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439" y="336182"/>
            <a:ext cx="11584383" cy="1318998"/>
          </a:xfrm>
        </p:spPr>
        <p:txBody>
          <a:bodyPr vert="horz" tIns="0" bIns="0" anchor="t"/>
          <a:lstStyle/>
          <a:p>
            <a:pPr algn="l"/>
            <a:r>
              <a:rPr lang="en-GB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ject Rubric</a:t>
            </a:r>
          </a:p>
        </p:txBody>
      </p:sp>
      <p:sp>
        <p:nvSpPr>
          <p:cNvPr id="39" name="Slide Number Placeholder 2">
            <a:extLst>
              <a:ext uri="{FF2B5EF4-FFF2-40B4-BE49-F238E27FC236}">
                <a16:creationId xmlns:a16="http://schemas.microsoft.com/office/drawing/2014/main" id="{0D24CA9B-BA8B-4DA3-8311-4F351C00DEC2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11355439" y="6146868"/>
            <a:ext cx="731600" cy="5248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fld id="{00000000-1234-1234-1234-123412341234}" type="slidenum">
              <a:rPr kumimoji="0" lang="en-GB" sz="1733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Ubuntu Ligh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  <a:tabLst/>
                <a:defRPr/>
              </a:pPr>
              <a:t>7</a:t>
            </a:fld>
            <a:endParaRPr kumimoji="0" lang="en-GB" sz="1733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Ubuntu Light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FD1811AE-E3C8-B268-232E-0C97CC4959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30" y="6146867"/>
            <a:ext cx="1279999" cy="5248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90577B65-70E8-93B8-CC9D-E7EB428B714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220" y="6441734"/>
            <a:ext cx="1905000" cy="207708"/>
          </a:xfrm>
          <a:prstGeom prst="rect">
            <a:avLst/>
          </a:prstGeom>
        </p:spPr>
      </p:pic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5631BFA5-17B9-E0EB-D2FF-D8FA9707201A}"/>
              </a:ext>
            </a:extLst>
          </p:cNvPr>
          <p:cNvSpPr txBox="1">
            <a:spLocks/>
          </p:cNvSpPr>
          <p:nvPr/>
        </p:nvSpPr>
        <p:spPr>
          <a:xfrm>
            <a:off x="243444" y="1350395"/>
            <a:ext cx="11705113" cy="4796472"/>
          </a:xfrm>
          <a:prstGeom prst="rect">
            <a:avLst/>
          </a:prstGeom>
        </p:spPr>
        <p:txBody>
          <a:bodyPr vert="horz" lIns="72000" tIns="45720" rIns="36000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Hypothesis, Analysis &amp;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Visualisatio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Excellen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: Validated all hypothesis and answered all questions</a:t>
            </a:r>
          </a:p>
          <a:p>
            <a:pPr marL="2447925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listed earlier with appropriate charts. Used relevant</a:t>
            </a:r>
          </a:p>
          <a:p>
            <a:pPr marL="2447925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iagrams and charts to show analysis/metrics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ood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: Validated at least 4 hypothesis and answered some of the</a:t>
            </a:r>
          </a:p>
          <a:p>
            <a:pPr marL="1870075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questions listed with appropriate charts. Used relevant</a:t>
            </a:r>
          </a:p>
          <a:p>
            <a:pPr marL="1870075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iagrams but might need some improvements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air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: Lack of clarity on whether the hypothesis was true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oor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: Not answered any of the hypothe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rgbClr val="0E5578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rgbClr val="0E5578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817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5FFD05-DA13-4586-8689-F7C5A1E64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5FFD05-DA13-4586-8689-F7C5A1E64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3">
            <a:extLst>
              <a:ext uri="{FF2B5EF4-FFF2-40B4-BE49-F238E27FC236}">
                <a16:creationId xmlns:a16="http://schemas.microsoft.com/office/drawing/2014/main" id="{27C0868B-A5FC-4E71-9B18-BB6D27B302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439" y="336182"/>
            <a:ext cx="11584383" cy="1318998"/>
          </a:xfrm>
        </p:spPr>
        <p:txBody>
          <a:bodyPr vert="horz" tIns="0" bIns="0" anchor="t"/>
          <a:lstStyle/>
          <a:p>
            <a:pPr algn="l"/>
            <a:r>
              <a:rPr lang="en-GB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ject Rubric</a:t>
            </a:r>
          </a:p>
        </p:txBody>
      </p:sp>
      <p:sp>
        <p:nvSpPr>
          <p:cNvPr id="39" name="Slide Number Placeholder 2">
            <a:extLst>
              <a:ext uri="{FF2B5EF4-FFF2-40B4-BE49-F238E27FC236}">
                <a16:creationId xmlns:a16="http://schemas.microsoft.com/office/drawing/2014/main" id="{0D24CA9B-BA8B-4DA3-8311-4F351C00DEC2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11355439" y="6146868"/>
            <a:ext cx="731600" cy="5248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fld id="{00000000-1234-1234-1234-123412341234}" type="slidenum">
              <a:rPr kumimoji="0" lang="en-GB" sz="1733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Ubuntu Ligh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  <a:tabLst/>
                <a:defRPr/>
              </a:pPr>
              <a:t>8</a:t>
            </a:fld>
            <a:endParaRPr kumimoji="0" lang="en-GB" sz="1733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Ubuntu Light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FD1811AE-E3C8-B268-232E-0C97CC4959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30" y="6146867"/>
            <a:ext cx="1279999" cy="5248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90577B65-70E8-93B8-CC9D-E7EB428B714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220" y="6441734"/>
            <a:ext cx="1905000" cy="207708"/>
          </a:xfrm>
          <a:prstGeom prst="rect">
            <a:avLst/>
          </a:prstGeom>
        </p:spPr>
      </p:pic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5631BFA5-17B9-E0EB-D2FF-D8FA9707201A}"/>
              </a:ext>
            </a:extLst>
          </p:cNvPr>
          <p:cNvSpPr txBox="1">
            <a:spLocks/>
          </p:cNvSpPr>
          <p:nvPr/>
        </p:nvSpPr>
        <p:spPr>
          <a:xfrm>
            <a:off x="243444" y="1350395"/>
            <a:ext cx="11705113" cy="4796472"/>
          </a:xfrm>
          <a:prstGeom prst="rect">
            <a:avLst/>
          </a:prstGeom>
        </p:spPr>
        <p:txBody>
          <a:bodyPr vert="horz" lIns="72000" tIns="45720" rIns="36000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del Buildi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Excellen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: Model has an RMSLE of 0.2 or lesser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ood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: Model has RMSLE of 0.3 or lesser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air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: Model has RMSLE of 0.4 or lesser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oor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: Model has RMSLE of 0.4 or grea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rgbClr val="0E5578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rgbClr val="0E5578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6933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5FFD05-DA13-4586-8689-F7C5A1E64A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5FFD05-DA13-4586-8689-F7C5A1E64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3">
            <a:extLst>
              <a:ext uri="{FF2B5EF4-FFF2-40B4-BE49-F238E27FC236}">
                <a16:creationId xmlns:a16="http://schemas.microsoft.com/office/drawing/2014/main" id="{27C0868B-A5FC-4E71-9B18-BB6D27B302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439" y="336182"/>
            <a:ext cx="11584383" cy="1318998"/>
          </a:xfrm>
        </p:spPr>
        <p:txBody>
          <a:bodyPr vert="horz" tIns="0" bIns="0" anchor="t"/>
          <a:lstStyle/>
          <a:p>
            <a:pPr algn="l"/>
            <a:r>
              <a:rPr lang="en-GB" dirty="0">
                <a:solidFill>
                  <a:srgbClr val="14527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melines (4 Weeks)</a:t>
            </a:r>
          </a:p>
        </p:txBody>
      </p:sp>
      <p:sp>
        <p:nvSpPr>
          <p:cNvPr id="39" name="Slide Number Placeholder 2">
            <a:extLst>
              <a:ext uri="{FF2B5EF4-FFF2-40B4-BE49-F238E27FC236}">
                <a16:creationId xmlns:a16="http://schemas.microsoft.com/office/drawing/2014/main" id="{0D24CA9B-BA8B-4DA3-8311-4F351C00DEC2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11355439" y="6146868"/>
            <a:ext cx="731600" cy="5248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fld id="{00000000-1234-1234-1234-123412341234}" type="slidenum">
              <a:rPr kumimoji="0" lang="en-GB" sz="1733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Ubuntu Ligh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00"/>
                <a:buFont typeface="Arial"/>
                <a:buNone/>
                <a:tabLst/>
                <a:defRPr/>
              </a:pPr>
              <a:t>9</a:t>
            </a:fld>
            <a:endParaRPr kumimoji="0" lang="en-GB" sz="1733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Ubuntu Light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FD1811AE-E3C8-B268-232E-0C97CC4959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30" y="6146867"/>
            <a:ext cx="1279999" cy="5248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90577B65-70E8-93B8-CC9D-E7EB428B714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220" y="6441734"/>
            <a:ext cx="1905000" cy="207708"/>
          </a:xfrm>
          <a:prstGeom prst="rect">
            <a:avLst/>
          </a:prstGeom>
        </p:spPr>
      </p:pic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5631BFA5-17B9-E0EB-D2FF-D8FA9707201A}"/>
              </a:ext>
            </a:extLst>
          </p:cNvPr>
          <p:cNvSpPr txBox="1">
            <a:spLocks/>
          </p:cNvSpPr>
          <p:nvPr/>
        </p:nvSpPr>
        <p:spPr>
          <a:xfrm>
            <a:off x="243444" y="1475543"/>
            <a:ext cx="11705113" cy="4267545"/>
          </a:xfrm>
          <a:prstGeom prst="rect">
            <a:avLst/>
          </a:prstGeom>
        </p:spPr>
        <p:txBody>
          <a:bodyPr vert="horz" lIns="72000" tIns="45720" rIns="36000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None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7</a:t>
            </a:r>
            <a:r>
              <a:rPr kumimoji="0" lang="en-US" sz="2400" b="1" i="0" u="none" strike="noStrike" kern="1200" cap="none" spc="0" normalizeH="0" baseline="30000" noProof="0" dirty="0" err="1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January – 12</a:t>
            </a: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E557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February</a:t>
            </a:r>
          </a:p>
          <a:p>
            <a:pPr marL="228600" marR="0" lvl="0" indent="-228600" algn="l" defTabSz="914400" rtl="0" eaLnBrk="1" fontAlgn="auto" latinLnBrk="0" hangingPunct="1"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esday, 17</a:t>
            </a:r>
            <a:r>
              <a:rPr lang="en-US" b="1" baseline="30000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</a:t>
            </a: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January</a:t>
            </a:r>
            <a:r>
              <a:rPr lang="en-US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Assignment released</a:t>
            </a:r>
          </a:p>
          <a:p>
            <a:pPr marL="228600" marR="0" lvl="0" indent="-228600" algn="l" defTabSz="914400" rtl="0" eaLnBrk="1" fontAlgn="auto" latinLnBrk="0" hangingPunct="1"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riday, 20</a:t>
            </a:r>
            <a:r>
              <a:rPr lang="en-US" b="1" baseline="30000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</a:t>
            </a: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January</a:t>
            </a:r>
            <a:r>
              <a:rPr lang="en-US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Live Coding Session</a:t>
            </a:r>
          </a:p>
          <a:p>
            <a:pPr marL="228600" marR="0" lvl="0" indent="-228600" algn="l" defTabSz="914400" rtl="0" eaLnBrk="1" fontAlgn="auto" latinLnBrk="0" hangingPunct="1"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esday, 24</a:t>
            </a:r>
            <a:r>
              <a:rPr lang="en-US" b="1" baseline="30000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</a:t>
            </a: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January</a:t>
            </a:r>
            <a:r>
              <a:rPr lang="en-US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Model Selection</a:t>
            </a:r>
            <a:endParaRPr lang="en-US" b="1" dirty="0">
              <a:solidFill>
                <a:srgbClr val="0E557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marR="0" lvl="0" indent="-228600" algn="l" defTabSz="914400" rtl="0" eaLnBrk="1" fontAlgn="auto" latinLnBrk="0" hangingPunct="1"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riday, 27</a:t>
            </a:r>
            <a:r>
              <a:rPr lang="en-US" b="1" baseline="30000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</a:t>
            </a:r>
            <a:r>
              <a:rPr lang="en-US" b="1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January</a:t>
            </a:r>
            <a:r>
              <a:rPr lang="en-US" dirty="0">
                <a:solidFill>
                  <a:srgbClr val="0E557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Live Coding Session</a:t>
            </a:r>
            <a:endParaRPr lang="en-US" b="1" dirty="0">
              <a:solidFill>
                <a:srgbClr val="0E557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20231487-61C5-C39B-20B0-1F39654EE3D8}"/>
              </a:ext>
            </a:extLst>
          </p:cNvPr>
          <p:cNvGrpSpPr/>
          <p:nvPr/>
        </p:nvGrpSpPr>
        <p:grpSpPr>
          <a:xfrm>
            <a:off x="9021212" y="221434"/>
            <a:ext cx="2700027" cy="1743532"/>
            <a:chOff x="3047592" y="4314368"/>
            <a:chExt cx="3939079" cy="2543645"/>
          </a:xfrm>
        </p:grpSpPr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8DEA0635-716E-D9A0-A22B-72FFCBB9761C}"/>
                </a:ext>
              </a:extLst>
            </p:cNvPr>
            <p:cNvSpPr/>
            <p:nvPr/>
          </p:nvSpPr>
          <p:spPr>
            <a:xfrm flipV="1">
              <a:off x="4141085" y="4791437"/>
              <a:ext cx="1903826" cy="1078896"/>
            </a:xfrm>
            <a:custGeom>
              <a:avLst/>
              <a:gdLst>
                <a:gd name="connsiteX0" fmla="*/ 2854171 w 2858097"/>
                <a:gd name="connsiteY0" fmla="*/ 1534366 h 1619681"/>
                <a:gd name="connsiteX1" fmla="*/ 2785667 w 2858097"/>
                <a:gd name="connsiteY1" fmla="*/ 1595654 h 1619681"/>
                <a:gd name="connsiteX2" fmla="*/ 77451 w 2858097"/>
                <a:gd name="connsiteY2" fmla="*/ 1617469 h 1619681"/>
                <a:gd name="connsiteX3" fmla="*/ 7964 w 2858097"/>
                <a:gd name="connsiteY3" fmla="*/ 1557287 h 1619681"/>
                <a:gd name="connsiteX4" fmla="*/ -3923 w 2858097"/>
                <a:gd name="connsiteY4" fmla="*/ 80896 h 1619681"/>
                <a:gd name="connsiteX5" fmla="*/ 64580 w 2858097"/>
                <a:gd name="connsiteY5" fmla="*/ 19601 h 1619681"/>
                <a:gd name="connsiteX6" fmla="*/ 2772797 w 2858097"/>
                <a:gd name="connsiteY6" fmla="*/ -2207 h 1619681"/>
                <a:gd name="connsiteX7" fmla="*/ 2842284 w 2858097"/>
                <a:gd name="connsiteY7" fmla="*/ 57976 h 1619681"/>
                <a:gd name="connsiteX8" fmla="*/ 2854171 w 2858097"/>
                <a:gd name="connsiteY8" fmla="*/ 1534366 h 1619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8097" h="1619681">
                  <a:moveTo>
                    <a:pt x="2854171" y="1534366"/>
                  </a:moveTo>
                  <a:cubicBezTo>
                    <a:pt x="2854438" y="1567909"/>
                    <a:pt x="2823775" y="1595349"/>
                    <a:pt x="2785667" y="1595654"/>
                  </a:cubicBezTo>
                  <a:lnTo>
                    <a:pt x="77451" y="1617469"/>
                  </a:lnTo>
                  <a:cubicBezTo>
                    <a:pt x="39343" y="1617774"/>
                    <a:pt x="8238" y="1590830"/>
                    <a:pt x="7964" y="1557287"/>
                  </a:cubicBezTo>
                  <a:lnTo>
                    <a:pt x="-3923" y="80896"/>
                  </a:lnTo>
                  <a:cubicBezTo>
                    <a:pt x="-4198" y="47353"/>
                    <a:pt x="26473" y="19906"/>
                    <a:pt x="64580" y="19601"/>
                  </a:cubicBezTo>
                  <a:lnTo>
                    <a:pt x="2772797" y="-2207"/>
                  </a:lnTo>
                  <a:cubicBezTo>
                    <a:pt x="2810897" y="-2512"/>
                    <a:pt x="2842009" y="24432"/>
                    <a:pt x="2842284" y="57976"/>
                  </a:cubicBezTo>
                  <a:lnTo>
                    <a:pt x="2854171" y="1534366"/>
                  </a:lnTo>
                </a:path>
              </a:pathLst>
            </a:custGeom>
            <a:solidFill>
              <a:srgbClr val="EDECEC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CB6B24AA-6F15-93D1-A526-082BC2966DEB}"/>
                </a:ext>
              </a:extLst>
            </p:cNvPr>
            <p:cNvSpPr/>
            <p:nvPr/>
          </p:nvSpPr>
          <p:spPr>
            <a:xfrm flipV="1">
              <a:off x="4269030" y="4884096"/>
              <a:ext cx="1649733" cy="679766"/>
            </a:xfrm>
            <a:custGeom>
              <a:avLst/>
              <a:gdLst>
                <a:gd name="connsiteX0" fmla="*/ 88674 w 2476643"/>
                <a:gd name="connsiteY0" fmla="*/ 15942 h 1020491"/>
                <a:gd name="connsiteX1" fmla="*/ 2372038 w 2476643"/>
                <a:gd name="connsiteY1" fmla="*/ -2445 h 1020491"/>
                <a:gd name="connsiteX2" fmla="*/ 2466145 w 2476643"/>
                <a:gd name="connsiteY2" fmla="*/ 90160 h 1020491"/>
                <a:gd name="connsiteX3" fmla="*/ 2472713 w 2476643"/>
                <a:gd name="connsiteY3" fmla="*/ 905546 h 1020491"/>
                <a:gd name="connsiteX4" fmla="*/ 2380107 w 2476643"/>
                <a:gd name="connsiteY4" fmla="*/ 999653 h 1020491"/>
                <a:gd name="connsiteX5" fmla="*/ 96744 w 2476643"/>
                <a:gd name="connsiteY5" fmla="*/ 1018040 h 1020491"/>
                <a:gd name="connsiteX6" fmla="*/ 2637 w 2476643"/>
                <a:gd name="connsiteY6" fmla="*/ 925434 h 1020491"/>
                <a:gd name="connsiteX7" fmla="*/ -3924 w 2476643"/>
                <a:gd name="connsiteY7" fmla="*/ 110056 h 1020491"/>
                <a:gd name="connsiteX8" fmla="*/ 88674 w 2476643"/>
                <a:gd name="connsiteY8" fmla="*/ 15942 h 1020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6643" h="1020491">
                  <a:moveTo>
                    <a:pt x="88674" y="15942"/>
                  </a:moveTo>
                  <a:lnTo>
                    <a:pt x="2372038" y="-2445"/>
                  </a:lnTo>
                  <a:cubicBezTo>
                    <a:pt x="2423595" y="-2857"/>
                    <a:pt x="2465726" y="38604"/>
                    <a:pt x="2466145" y="90160"/>
                  </a:cubicBezTo>
                  <a:lnTo>
                    <a:pt x="2472713" y="905546"/>
                  </a:lnTo>
                  <a:cubicBezTo>
                    <a:pt x="2473125" y="957103"/>
                    <a:pt x="2431664" y="999234"/>
                    <a:pt x="2380107" y="999653"/>
                  </a:cubicBezTo>
                  <a:lnTo>
                    <a:pt x="96744" y="1018040"/>
                  </a:lnTo>
                  <a:cubicBezTo>
                    <a:pt x="45187" y="1018452"/>
                    <a:pt x="3049" y="976999"/>
                    <a:pt x="2637" y="925434"/>
                  </a:cubicBezTo>
                  <a:lnTo>
                    <a:pt x="-3924" y="110056"/>
                  </a:lnTo>
                  <a:cubicBezTo>
                    <a:pt x="-4343" y="58492"/>
                    <a:pt x="37118" y="16361"/>
                    <a:pt x="88674" y="15942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3882B3A7-2526-9543-F657-BE5E48AFD0D5}"/>
                </a:ext>
              </a:extLst>
            </p:cNvPr>
            <p:cNvSpPr/>
            <p:nvPr/>
          </p:nvSpPr>
          <p:spPr>
            <a:xfrm flipV="1">
              <a:off x="4887244" y="5590572"/>
              <a:ext cx="407306" cy="226420"/>
            </a:xfrm>
            <a:custGeom>
              <a:avLst/>
              <a:gdLst>
                <a:gd name="connsiteX0" fmla="*/ 66490 w 611464"/>
                <a:gd name="connsiteY0" fmla="*/ 2390 h 339910"/>
                <a:gd name="connsiteX1" fmla="*/ 534418 w 611464"/>
                <a:gd name="connsiteY1" fmla="*/ -1375 h 339910"/>
                <a:gd name="connsiteX2" fmla="*/ 605978 w 611464"/>
                <a:gd name="connsiteY2" fmla="*/ 69034 h 339910"/>
                <a:gd name="connsiteX3" fmla="*/ 607540 w 611464"/>
                <a:gd name="connsiteY3" fmla="*/ 263207 h 339910"/>
                <a:gd name="connsiteX4" fmla="*/ 537131 w 611464"/>
                <a:gd name="connsiteY4" fmla="*/ 334766 h 339910"/>
                <a:gd name="connsiteX5" fmla="*/ 69202 w 611464"/>
                <a:gd name="connsiteY5" fmla="*/ 338531 h 339910"/>
                <a:gd name="connsiteX6" fmla="*/ -2357 w 611464"/>
                <a:gd name="connsiteY6" fmla="*/ 268114 h 339910"/>
                <a:gd name="connsiteX7" fmla="*/ -3919 w 611464"/>
                <a:gd name="connsiteY7" fmla="*/ 73949 h 339910"/>
                <a:gd name="connsiteX8" fmla="*/ 66490 w 611464"/>
                <a:gd name="connsiteY8" fmla="*/ 2390 h 339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1464" h="339910">
                  <a:moveTo>
                    <a:pt x="66490" y="2390"/>
                  </a:moveTo>
                  <a:lnTo>
                    <a:pt x="534418" y="-1375"/>
                  </a:lnTo>
                  <a:cubicBezTo>
                    <a:pt x="573631" y="-1687"/>
                    <a:pt x="605665" y="29829"/>
                    <a:pt x="605978" y="69034"/>
                  </a:cubicBezTo>
                  <a:lnTo>
                    <a:pt x="607540" y="263207"/>
                  </a:lnTo>
                  <a:cubicBezTo>
                    <a:pt x="607860" y="302412"/>
                    <a:pt x="576328" y="334446"/>
                    <a:pt x="537131" y="334766"/>
                  </a:cubicBezTo>
                  <a:lnTo>
                    <a:pt x="69202" y="338531"/>
                  </a:lnTo>
                  <a:cubicBezTo>
                    <a:pt x="29990" y="338851"/>
                    <a:pt x="-2045" y="307319"/>
                    <a:pt x="-2357" y="268114"/>
                  </a:cubicBezTo>
                  <a:lnTo>
                    <a:pt x="-3919" y="73949"/>
                  </a:lnTo>
                  <a:cubicBezTo>
                    <a:pt x="-4239" y="34744"/>
                    <a:pt x="27292" y="2710"/>
                    <a:pt x="66490" y="2390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ACE99559-40D4-3840-1CF7-74A8C54F730F}"/>
                </a:ext>
              </a:extLst>
            </p:cNvPr>
            <p:cNvSpPr/>
            <p:nvPr/>
          </p:nvSpPr>
          <p:spPr>
            <a:xfrm flipV="1">
              <a:off x="5760345" y="4947499"/>
              <a:ext cx="110004" cy="78026"/>
            </a:xfrm>
            <a:custGeom>
              <a:avLst/>
              <a:gdLst>
                <a:gd name="connsiteX0" fmla="*/ -5158 w 165142"/>
                <a:gd name="connsiteY0" fmla="*/ 21025 h 117136"/>
                <a:gd name="connsiteX1" fmla="*/ 17512 w 165142"/>
                <a:gd name="connsiteY1" fmla="*/ -2018 h 117136"/>
                <a:gd name="connsiteX2" fmla="*/ 136376 w 165142"/>
                <a:gd name="connsiteY2" fmla="*/ -2978 h 117136"/>
                <a:gd name="connsiteX3" fmla="*/ 159411 w 165142"/>
                <a:gd name="connsiteY3" fmla="*/ 19699 h 117136"/>
                <a:gd name="connsiteX4" fmla="*/ 159983 w 165142"/>
                <a:gd name="connsiteY4" fmla="*/ 90154 h 117136"/>
                <a:gd name="connsiteX5" fmla="*/ 137313 w 165142"/>
                <a:gd name="connsiteY5" fmla="*/ 113197 h 117136"/>
                <a:gd name="connsiteX6" fmla="*/ 18449 w 165142"/>
                <a:gd name="connsiteY6" fmla="*/ 114157 h 117136"/>
                <a:gd name="connsiteX7" fmla="*/ -4594 w 165142"/>
                <a:gd name="connsiteY7" fmla="*/ 91472 h 117136"/>
                <a:gd name="connsiteX8" fmla="*/ -5158 w 165142"/>
                <a:gd name="connsiteY8" fmla="*/ 21025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36">
                  <a:moveTo>
                    <a:pt x="-5158" y="21025"/>
                  </a:moveTo>
                  <a:cubicBezTo>
                    <a:pt x="-5257" y="8452"/>
                    <a:pt x="4946" y="-1919"/>
                    <a:pt x="17512" y="-2018"/>
                  </a:cubicBezTo>
                  <a:lnTo>
                    <a:pt x="136376" y="-2978"/>
                  </a:lnTo>
                  <a:cubicBezTo>
                    <a:pt x="148941" y="-3077"/>
                    <a:pt x="159320" y="7126"/>
                    <a:pt x="159411" y="19699"/>
                  </a:cubicBezTo>
                  <a:lnTo>
                    <a:pt x="159983" y="90154"/>
                  </a:lnTo>
                  <a:cubicBezTo>
                    <a:pt x="160082" y="102727"/>
                    <a:pt x="149879" y="113090"/>
                    <a:pt x="137313" y="113197"/>
                  </a:cubicBezTo>
                  <a:lnTo>
                    <a:pt x="18449" y="114157"/>
                  </a:lnTo>
                  <a:cubicBezTo>
                    <a:pt x="5884" y="114256"/>
                    <a:pt x="-4495" y="104053"/>
                    <a:pt x="-4594" y="91472"/>
                  </a:cubicBezTo>
                  <a:lnTo>
                    <a:pt x="-5158" y="21025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FDAEF518-C21A-DBDC-79CE-56F165E51260}"/>
                </a:ext>
              </a:extLst>
            </p:cNvPr>
            <p:cNvSpPr/>
            <p:nvPr/>
          </p:nvSpPr>
          <p:spPr>
            <a:xfrm flipV="1">
              <a:off x="5472572" y="4945184"/>
              <a:ext cx="110003" cy="78021"/>
            </a:xfrm>
            <a:custGeom>
              <a:avLst/>
              <a:gdLst>
                <a:gd name="connsiteX0" fmla="*/ -4667 w 165141"/>
                <a:gd name="connsiteY0" fmla="*/ 21012 h 117128"/>
                <a:gd name="connsiteX1" fmla="*/ 18010 w 165141"/>
                <a:gd name="connsiteY1" fmla="*/ -2031 h 117128"/>
                <a:gd name="connsiteX2" fmla="*/ 136860 w 165141"/>
                <a:gd name="connsiteY2" fmla="*/ -2983 h 117128"/>
                <a:gd name="connsiteX3" fmla="*/ 159910 w 165141"/>
                <a:gd name="connsiteY3" fmla="*/ 19694 h 117128"/>
                <a:gd name="connsiteX4" fmla="*/ 160474 w 165141"/>
                <a:gd name="connsiteY4" fmla="*/ 90141 h 117128"/>
                <a:gd name="connsiteX5" fmla="*/ 137804 w 165141"/>
                <a:gd name="connsiteY5" fmla="*/ 113191 h 117128"/>
                <a:gd name="connsiteX6" fmla="*/ 18948 w 165141"/>
                <a:gd name="connsiteY6" fmla="*/ 114144 h 117128"/>
                <a:gd name="connsiteX7" fmla="*/ -4103 w 165141"/>
                <a:gd name="connsiteY7" fmla="*/ 91474 h 117128"/>
                <a:gd name="connsiteX8" fmla="*/ -4667 w 165141"/>
                <a:gd name="connsiteY8" fmla="*/ 21012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1" h="117128">
                  <a:moveTo>
                    <a:pt x="-4667" y="21012"/>
                  </a:moveTo>
                  <a:cubicBezTo>
                    <a:pt x="-4766" y="8447"/>
                    <a:pt x="5430" y="-1924"/>
                    <a:pt x="18010" y="-2031"/>
                  </a:cubicBezTo>
                  <a:lnTo>
                    <a:pt x="136860" y="-2983"/>
                  </a:lnTo>
                  <a:cubicBezTo>
                    <a:pt x="149440" y="-3090"/>
                    <a:pt x="159811" y="7121"/>
                    <a:pt x="159910" y="19694"/>
                  </a:cubicBezTo>
                  <a:lnTo>
                    <a:pt x="160474" y="90141"/>
                  </a:lnTo>
                  <a:cubicBezTo>
                    <a:pt x="160581" y="102714"/>
                    <a:pt x="150377" y="113085"/>
                    <a:pt x="137804" y="113191"/>
                  </a:cubicBezTo>
                  <a:lnTo>
                    <a:pt x="18948" y="114144"/>
                  </a:lnTo>
                  <a:cubicBezTo>
                    <a:pt x="6367" y="114243"/>
                    <a:pt x="-3996" y="104040"/>
                    <a:pt x="-4103" y="91474"/>
                  </a:cubicBezTo>
                  <a:lnTo>
                    <a:pt x="-4667" y="2101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F091EFF0-C44E-7536-5980-D6E197EB86AF}"/>
                </a:ext>
              </a:extLst>
            </p:cNvPr>
            <p:cNvSpPr/>
            <p:nvPr/>
          </p:nvSpPr>
          <p:spPr>
            <a:xfrm flipV="1">
              <a:off x="5328688" y="4944027"/>
              <a:ext cx="110004" cy="78021"/>
            </a:xfrm>
            <a:custGeom>
              <a:avLst/>
              <a:gdLst>
                <a:gd name="connsiteX0" fmla="*/ -4421 w 165142"/>
                <a:gd name="connsiteY0" fmla="*/ 21017 h 117128"/>
                <a:gd name="connsiteX1" fmla="*/ 18249 w 165142"/>
                <a:gd name="connsiteY1" fmla="*/ -2026 h 117128"/>
                <a:gd name="connsiteX2" fmla="*/ 137113 w 165142"/>
                <a:gd name="connsiteY2" fmla="*/ -2986 h 117128"/>
                <a:gd name="connsiteX3" fmla="*/ 160148 w 165142"/>
                <a:gd name="connsiteY3" fmla="*/ 19691 h 117128"/>
                <a:gd name="connsiteX4" fmla="*/ 160720 w 165142"/>
                <a:gd name="connsiteY4" fmla="*/ 90146 h 117128"/>
                <a:gd name="connsiteX5" fmla="*/ 138050 w 165142"/>
                <a:gd name="connsiteY5" fmla="*/ 113189 h 117128"/>
                <a:gd name="connsiteX6" fmla="*/ 19186 w 165142"/>
                <a:gd name="connsiteY6" fmla="*/ 114141 h 117128"/>
                <a:gd name="connsiteX7" fmla="*/ -3857 w 165142"/>
                <a:gd name="connsiteY7" fmla="*/ 91472 h 117128"/>
                <a:gd name="connsiteX8" fmla="*/ -4421 w 165142"/>
                <a:gd name="connsiteY8" fmla="*/ 21017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4421" y="21017"/>
                  </a:moveTo>
                  <a:cubicBezTo>
                    <a:pt x="-4520" y="8444"/>
                    <a:pt x="5683" y="-1927"/>
                    <a:pt x="18249" y="-2026"/>
                  </a:cubicBezTo>
                  <a:lnTo>
                    <a:pt x="137113" y="-2986"/>
                  </a:lnTo>
                  <a:cubicBezTo>
                    <a:pt x="149678" y="-3085"/>
                    <a:pt x="160057" y="7118"/>
                    <a:pt x="160148" y="19691"/>
                  </a:cubicBezTo>
                  <a:lnTo>
                    <a:pt x="160720" y="90146"/>
                  </a:lnTo>
                  <a:cubicBezTo>
                    <a:pt x="160819" y="102719"/>
                    <a:pt x="150616" y="113082"/>
                    <a:pt x="138050" y="113189"/>
                  </a:cubicBezTo>
                  <a:lnTo>
                    <a:pt x="19186" y="114141"/>
                  </a:lnTo>
                  <a:cubicBezTo>
                    <a:pt x="6613" y="114248"/>
                    <a:pt x="-3758" y="104037"/>
                    <a:pt x="-3857" y="91472"/>
                  </a:cubicBezTo>
                  <a:lnTo>
                    <a:pt x="-4421" y="2101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A62394D3-9617-EBE9-2ADD-355A24E9B267}"/>
                </a:ext>
              </a:extLst>
            </p:cNvPr>
            <p:cNvSpPr/>
            <p:nvPr/>
          </p:nvSpPr>
          <p:spPr>
            <a:xfrm flipV="1">
              <a:off x="5184799" y="4942864"/>
              <a:ext cx="110008" cy="78021"/>
            </a:xfrm>
            <a:custGeom>
              <a:avLst/>
              <a:gdLst>
                <a:gd name="connsiteX0" fmla="*/ -4175 w 165149"/>
                <a:gd name="connsiteY0" fmla="*/ 21007 h 117128"/>
                <a:gd name="connsiteX1" fmla="*/ 18502 w 165149"/>
                <a:gd name="connsiteY1" fmla="*/ -2036 h 117128"/>
                <a:gd name="connsiteX2" fmla="*/ 137358 w 165149"/>
                <a:gd name="connsiteY2" fmla="*/ -2988 h 117128"/>
                <a:gd name="connsiteX3" fmla="*/ 160409 w 165149"/>
                <a:gd name="connsiteY3" fmla="*/ 19681 h 117128"/>
                <a:gd name="connsiteX4" fmla="*/ 160973 w 165149"/>
                <a:gd name="connsiteY4" fmla="*/ 90136 h 117128"/>
                <a:gd name="connsiteX5" fmla="*/ 138296 w 165149"/>
                <a:gd name="connsiteY5" fmla="*/ 113179 h 117128"/>
                <a:gd name="connsiteX6" fmla="*/ 19439 w 165149"/>
                <a:gd name="connsiteY6" fmla="*/ 114139 h 117128"/>
                <a:gd name="connsiteX7" fmla="*/ -3604 w 165149"/>
                <a:gd name="connsiteY7" fmla="*/ 91462 h 117128"/>
                <a:gd name="connsiteX8" fmla="*/ -4175 w 165149"/>
                <a:gd name="connsiteY8" fmla="*/ 21007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175" y="21007"/>
                  </a:moveTo>
                  <a:cubicBezTo>
                    <a:pt x="-4274" y="8434"/>
                    <a:pt x="5929" y="-1937"/>
                    <a:pt x="18502" y="-2036"/>
                  </a:cubicBezTo>
                  <a:lnTo>
                    <a:pt x="137358" y="-2988"/>
                  </a:lnTo>
                  <a:cubicBezTo>
                    <a:pt x="149939" y="-3095"/>
                    <a:pt x="160303" y="7108"/>
                    <a:pt x="160409" y="19681"/>
                  </a:cubicBezTo>
                  <a:lnTo>
                    <a:pt x="160973" y="90136"/>
                  </a:lnTo>
                  <a:cubicBezTo>
                    <a:pt x="161072" y="102709"/>
                    <a:pt x="150869" y="113072"/>
                    <a:pt x="138296" y="113179"/>
                  </a:cubicBezTo>
                  <a:lnTo>
                    <a:pt x="19439" y="114139"/>
                  </a:lnTo>
                  <a:cubicBezTo>
                    <a:pt x="6866" y="114238"/>
                    <a:pt x="-3505" y="104035"/>
                    <a:pt x="-3604" y="91462"/>
                  </a:cubicBezTo>
                  <a:lnTo>
                    <a:pt x="-4175" y="2100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D3861A30-1F5E-B8A0-2639-DEE3D8F7D056}"/>
                </a:ext>
              </a:extLst>
            </p:cNvPr>
            <p:cNvSpPr/>
            <p:nvPr/>
          </p:nvSpPr>
          <p:spPr>
            <a:xfrm flipV="1">
              <a:off x="4897031" y="4940550"/>
              <a:ext cx="110003" cy="78021"/>
            </a:xfrm>
            <a:custGeom>
              <a:avLst/>
              <a:gdLst>
                <a:gd name="connsiteX0" fmla="*/ -3684 w 165141"/>
                <a:gd name="connsiteY0" fmla="*/ 21010 h 117128"/>
                <a:gd name="connsiteX1" fmla="*/ 18986 w 165141"/>
                <a:gd name="connsiteY1" fmla="*/ -2033 h 117128"/>
                <a:gd name="connsiteX2" fmla="*/ 137850 w 165141"/>
                <a:gd name="connsiteY2" fmla="*/ -2993 h 117128"/>
                <a:gd name="connsiteX3" fmla="*/ 160885 w 165141"/>
                <a:gd name="connsiteY3" fmla="*/ 19684 h 117128"/>
                <a:gd name="connsiteX4" fmla="*/ 161457 w 165141"/>
                <a:gd name="connsiteY4" fmla="*/ 90130 h 117128"/>
                <a:gd name="connsiteX5" fmla="*/ 138787 w 165141"/>
                <a:gd name="connsiteY5" fmla="*/ 113181 h 117128"/>
                <a:gd name="connsiteX6" fmla="*/ 19923 w 165141"/>
                <a:gd name="connsiteY6" fmla="*/ 114133 h 117128"/>
                <a:gd name="connsiteX7" fmla="*/ -3120 w 165141"/>
                <a:gd name="connsiteY7" fmla="*/ 91464 h 117128"/>
                <a:gd name="connsiteX8" fmla="*/ -3684 w 165141"/>
                <a:gd name="connsiteY8" fmla="*/ 21010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1" h="117128">
                  <a:moveTo>
                    <a:pt x="-3684" y="21010"/>
                  </a:moveTo>
                  <a:cubicBezTo>
                    <a:pt x="-3783" y="8437"/>
                    <a:pt x="6420" y="-1934"/>
                    <a:pt x="18986" y="-2033"/>
                  </a:cubicBezTo>
                  <a:lnTo>
                    <a:pt x="137850" y="-2993"/>
                  </a:lnTo>
                  <a:cubicBezTo>
                    <a:pt x="150415" y="-3092"/>
                    <a:pt x="160794" y="7111"/>
                    <a:pt x="160885" y="19684"/>
                  </a:cubicBezTo>
                  <a:lnTo>
                    <a:pt x="161457" y="90130"/>
                  </a:lnTo>
                  <a:cubicBezTo>
                    <a:pt x="161556" y="102711"/>
                    <a:pt x="151353" y="113082"/>
                    <a:pt x="138787" y="113181"/>
                  </a:cubicBezTo>
                  <a:lnTo>
                    <a:pt x="19923" y="114133"/>
                  </a:lnTo>
                  <a:cubicBezTo>
                    <a:pt x="7350" y="114233"/>
                    <a:pt x="-3021" y="104030"/>
                    <a:pt x="-3120" y="91464"/>
                  </a:cubicBezTo>
                  <a:lnTo>
                    <a:pt x="-3684" y="21010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5E48438E-F33F-D831-E71C-3254FB6FEC92}"/>
                </a:ext>
              </a:extLst>
            </p:cNvPr>
            <p:cNvSpPr/>
            <p:nvPr/>
          </p:nvSpPr>
          <p:spPr>
            <a:xfrm flipV="1">
              <a:off x="4753142" y="4939388"/>
              <a:ext cx="110008" cy="78026"/>
            </a:xfrm>
            <a:custGeom>
              <a:avLst/>
              <a:gdLst>
                <a:gd name="connsiteX0" fmla="*/ -3438 w 165149"/>
                <a:gd name="connsiteY0" fmla="*/ 21007 h 117136"/>
                <a:gd name="connsiteX1" fmla="*/ 19239 w 165149"/>
                <a:gd name="connsiteY1" fmla="*/ -2036 h 117136"/>
                <a:gd name="connsiteX2" fmla="*/ 138096 w 165149"/>
                <a:gd name="connsiteY2" fmla="*/ -2996 h 117136"/>
                <a:gd name="connsiteX3" fmla="*/ 161146 w 165149"/>
                <a:gd name="connsiteY3" fmla="*/ 19681 h 117136"/>
                <a:gd name="connsiteX4" fmla="*/ 161710 w 165149"/>
                <a:gd name="connsiteY4" fmla="*/ 90136 h 117136"/>
                <a:gd name="connsiteX5" fmla="*/ 139033 w 165149"/>
                <a:gd name="connsiteY5" fmla="*/ 113178 h 117136"/>
                <a:gd name="connsiteX6" fmla="*/ 20176 w 165149"/>
                <a:gd name="connsiteY6" fmla="*/ 114139 h 117136"/>
                <a:gd name="connsiteX7" fmla="*/ -2867 w 165149"/>
                <a:gd name="connsiteY7" fmla="*/ 91461 h 117136"/>
                <a:gd name="connsiteX8" fmla="*/ -3438 w 165149"/>
                <a:gd name="connsiteY8" fmla="*/ 21007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3438" y="21007"/>
                  </a:moveTo>
                  <a:cubicBezTo>
                    <a:pt x="-3537" y="8434"/>
                    <a:pt x="6666" y="-1937"/>
                    <a:pt x="19239" y="-2036"/>
                  </a:cubicBezTo>
                  <a:lnTo>
                    <a:pt x="138096" y="-2996"/>
                  </a:lnTo>
                  <a:cubicBezTo>
                    <a:pt x="150676" y="-3095"/>
                    <a:pt x="161039" y="7108"/>
                    <a:pt x="161146" y="19681"/>
                  </a:cubicBezTo>
                  <a:lnTo>
                    <a:pt x="161710" y="90136"/>
                  </a:lnTo>
                  <a:cubicBezTo>
                    <a:pt x="161809" y="102709"/>
                    <a:pt x="151606" y="113079"/>
                    <a:pt x="139033" y="113178"/>
                  </a:cubicBezTo>
                  <a:lnTo>
                    <a:pt x="20176" y="114139"/>
                  </a:lnTo>
                  <a:cubicBezTo>
                    <a:pt x="7603" y="114238"/>
                    <a:pt x="-2768" y="104034"/>
                    <a:pt x="-2867" y="91461"/>
                  </a:cubicBezTo>
                  <a:lnTo>
                    <a:pt x="-3438" y="2100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0290C2B4-5593-517B-F084-A071B486836C}"/>
                </a:ext>
              </a:extLst>
            </p:cNvPr>
            <p:cNvSpPr/>
            <p:nvPr/>
          </p:nvSpPr>
          <p:spPr>
            <a:xfrm flipV="1">
              <a:off x="4609258" y="4938230"/>
              <a:ext cx="110004" cy="78021"/>
            </a:xfrm>
            <a:custGeom>
              <a:avLst/>
              <a:gdLst>
                <a:gd name="connsiteX0" fmla="*/ -3193 w 165142"/>
                <a:gd name="connsiteY0" fmla="*/ 20997 h 117128"/>
                <a:gd name="connsiteX1" fmla="*/ 19485 w 165142"/>
                <a:gd name="connsiteY1" fmla="*/ -2046 h 117128"/>
                <a:gd name="connsiteX2" fmla="*/ 138334 w 165142"/>
                <a:gd name="connsiteY2" fmla="*/ -2999 h 117128"/>
                <a:gd name="connsiteX3" fmla="*/ 161384 w 165142"/>
                <a:gd name="connsiteY3" fmla="*/ 19671 h 117128"/>
                <a:gd name="connsiteX4" fmla="*/ 161948 w 165142"/>
                <a:gd name="connsiteY4" fmla="*/ 90125 h 117128"/>
                <a:gd name="connsiteX5" fmla="*/ 139279 w 165142"/>
                <a:gd name="connsiteY5" fmla="*/ 113168 h 117128"/>
                <a:gd name="connsiteX6" fmla="*/ 20422 w 165142"/>
                <a:gd name="connsiteY6" fmla="*/ 114128 h 117128"/>
                <a:gd name="connsiteX7" fmla="*/ -2629 w 165142"/>
                <a:gd name="connsiteY7" fmla="*/ 91451 h 117128"/>
                <a:gd name="connsiteX8" fmla="*/ -3193 w 165142"/>
                <a:gd name="connsiteY8" fmla="*/ 20997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3193" y="20997"/>
                  </a:moveTo>
                  <a:cubicBezTo>
                    <a:pt x="-3291" y="8424"/>
                    <a:pt x="6904" y="-1947"/>
                    <a:pt x="19485" y="-2046"/>
                  </a:cubicBezTo>
                  <a:lnTo>
                    <a:pt x="138334" y="-2999"/>
                  </a:lnTo>
                  <a:cubicBezTo>
                    <a:pt x="150914" y="-3105"/>
                    <a:pt x="161278" y="7098"/>
                    <a:pt x="161384" y="19671"/>
                  </a:cubicBezTo>
                  <a:lnTo>
                    <a:pt x="161948" y="90125"/>
                  </a:lnTo>
                  <a:cubicBezTo>
                    <a:pt x="162055" y="102698"/>
                    <a:pt x="151852" y="113069"/>
                    <a:pt x="139279" y="113168"/>
                  </a:cubicBezTo>
                  <a:lnTo>
                    <a:pt x="20422" y="114128"/>
                  </a:lnTo>
                  <a:cubicBezTo>
                    <a:pt x="7841" y="114228"/>
                    <a:pt x="-2522" y="104024"/>
                    <a:pt x="-2629" y="91451"/>
                  </a:cubicBezTo>
                  <a:lnTo>
                    <a:pt x="-3193" y="2099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D479A174-1230-F8BB-0041-88292FB5C23B}"/>
                </a:ext>
              </a:extLst>
            </p:cNvPr>
            <p:cNvSpPr/>
            <p:nvPr/>
          </p:nvSpPr>
          <p:spPr>
            <a:xfrm flipV="1">
              <a:off x="4321485" y="4935916"/>
              <a:ext cx="110008" cy="78021"/>
            </a:xfrm>
            <a:custGeom>
              <a:avLst/>
              <a:gdLst>
                <a:gd name="connsiteX0" fmla="*/ -2701 w 165149"/>
                <a:gd name="connsiteY0" fmla="*/ 20999 h 117128"/>
                <a:gd name="connsiteX1" fmla="*/ 19976 w 165149"/>
                <a:gd name="connsiteY1" fmla="*/ -2044 h 117128"/>
                <a:gd name="connsiteX2" fmla="*/ 138833 w 165149"/>
                <a:gd name="connsiteY2" fmla="*/ -3004 h 117128"/>
                <a:gd name="connsiteX3" fmla="*/ 161883 w 165149"/>
                <a:gd name="connsiteY3" fmla="*/ 19673 h 117128"/>
                <a:gd name="connsiteX4" fmla="*/ 162447 w 165149"/>
                <a:gd name="connsiteY4" fmla="*/ 90128 h 117128"/>
                <a:gd name="connsiteX5" fmla="*/ 139770 w 165149"/>
                <a:gd name="connsiteY5" fmla="*/ 113171 h 117128"/>
                <a:gd name="connsiteX6" fmla="*/ 20913 w 165149"/>
                <a:gd name="connsiteY6" fmla="*/ 114123 h 117128"/>
                <a:gd name="connsiteX7" fmla="*/ -2130 w 165149"/>
                <a:gd name="connsiteY7" fmla="*/ 91454 h 117128"/>
                <a:gd name="connsiteX8" fmla="*/ -2701 w 165149"/>
                <a:gd name="connsiteY8" fmla="*/ 20999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2701" y="20999"/>
                  </a:moveTo>
                  <a:cubicBezTo>
                    <a:pt x="-2800" y="8426"/>
                    <a:pt x="7403" y="-1945"/>
                    <a:pt x="19976" y="-2044"/>
                  </a:cubicBezTo>
                  <a:lnTo>
                    <a:pt x="138833" y="-3004"/>
                  </a:lnTo>
                  <a:cubicBezTo>
                    <a:pt x="151413" y="-3103"/>
                    <a:pt x="161777" y="7100"/>
                    <a:pt x="161883" y="19673"/>
                  </a:cubicBezTo>
                  <a:lnTo>
                    <a:pt x="162447" y="90128"/>
                  </a:lnTo>
                  <a:cubicBezTo>
                    <a:pt x="162546" y="102701"/>
                    <a:pt x="152343" y="113071"/>
                    <a:pt x="139770" y="113171"/>
                  </a:cubicBezTo>
                  <a:lnTo>
                    <a:pt x="20913" y="114123"/>
                  </a:lnTo>
                  <a:cubicBezTo>
                    <a:pt x="8340" y="114222"/>
                    <a:pt x="-2031" y="104027"/>
                    <a:pt x="-2130" y="91454"/>
                  </a:cubicBezTo>
                  <a:lnTo>
                    <a:pt x="-2701" y="2099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496EC185-3BD7-CA08-8C22-EB9390E740AD}"/>
                </a:ext>
              </a:extLst>
            </p:cNvPr>
            <p:cNvSpPr/>
            <p:nvPr/>
          </p:nvSpPr>
          <p:spPr>
            <a:xfrm flipV="1">
              <a:off x="3994478" y="4314368"/>
              <a:ext cx="2214048" cy="485333"/>
            </a:xfrm>
            <a:custGeom>
              <a:avLst/>
              <a:gdLst>
                <a:gd name="connsiteX0" fmla="*/ 308676 w 3323815"/>
                <a:gd name="connsiteY0" fmla="*/ 1549 h 728601"/>
                <a:gd name="connsiteX1" fmla="*/ 2996966 w 3323815"/>
                <a:gd name="connsiteY1" fmla="*/ -3937 h 728601"/>
                <a:gd name="connsiteX2" fmla="*/ 3124875 w 3323815"/>
                <a:gd name="connsiteY2" fmla="*/ 101676 h 728601"/>
                <a:gd name="connsiteX3" fmla="*/ 3308913 w 3323815"/>
                <a:gd name="connsiteY3" fmla="*/ 578352 h 728601"/>
                <a:gd name="connsiteX4" fmla="*/ 3246209 w 3323815"/>
                <a:gd name="connsiteY4" fmla="*/ 718172 h 728601"/>
                <a:gd name="connsiteX5" fmla="*/ 71076 w 3323815"/>
                <a:gd name="connsiteY5" fmla="*/ 724664 h 728601"/>
                <a:gd name="connsiteX6" fmla="*/ 6123 w 3323815"/>
                <a:gd name="connsiteY6" fmla="*/ 585096 h 728601"/>
                <a:gd name="connsiteX7" fmla="*/ 190421 w 3323815"/>
                <a:gd name="connsiteY7" fmla="*/ 107863 h 728601"/>
                <a:gd name="connsiteX8" fmla="*/ 308676 w 3323815"/>
                <a:gd name="connsiteY8" fmla="*/ 1549 h 728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23815" h="728601">
                  <a:moveTo>
                    <a:pt x="308676" y="1549"/>
                  </a:moveTo>
                  <a:lnTo>
                    <a:pt x="2996966" y="-3937"/>
                  </a:lnTo>
                  <a:cubicBezTo>
                    <a:pt x="3050397" y="-4044"/>
                    <a:pt x="3103021" y="42521"/>
                    <a:pt x="3124875" y="101676"/>
                  </a:cubicBezTo>
                  <a:lnTo>
                    <a:pt x="3308913" y="578352"/>
                  </a:lnTo>
                  <a:cubicBezTo>
                    <a:pt x="3337008" y="654407"/>
                    <a:pt x="3309325" y="718050"/>
                    <a:pt x="3246209" y="718172"/>
                  </a:cubicBezTo>
                  <a:lnTo>
                    <a:pt x="71076" y="724664"/>
                  </a:lnTo>
                  <a:cubicBezTo>
                    <a:pt x="7968" y="724794"/>
                    <a:pt x="-20745" y="661265"/>
                    <a:pt x="6123" y="585096"/>
                  </a:cubicBezTo>
                  <a:lnTo>
                    <a:pt x="190421" y="107863"/>
                  </a:lnTo>
                  <a:cubicBezTo>
                    <a:pt x="211322" y="48625"/>
                    <a:pt x="255237" y="1663"/>
                    <a:pt x="308676" y="1549"/>
                  </a:cubicBez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E6FC759F-FB8D-2222-0DE6-5B843033BC07}"/>
                </a:ext>
              </a:extLst>
            </p:cNvPr>
            <p:cNvSpPr/>
            <p:nvPr/>
          </p:nvSpPr>
          <p:spPr>
            <a:xfrm flipV="1">
              <a:off x="3997945" y="4368202"/>
              <a:ext cx="2206953" cy="431706"/>
            </a:xfrm>
            <a:custGeom>
              <a:avLst/>
              <a:gdLst>
                <a:gd name="connsiteX0" fmla="*/ 303601 w 3313163"/>
                <a:gd name="connsiteY0" fmla="*/ 1912 h 648094"/>
                <a:gd name="connsiteX1" fmla="*/ 2992554 w 3313163"/>
                <a:gd name="connsiteY1" fmla="*/ -3582 h 648094"/>
                <a:gd name="connsiteX2" fmla="*/ 3095691 w 3313163"/>
                <a:gd name="connsiteY2" fmla="*/ 42648 h 648094"/>
                <a:gd name="connsiteX3" fmla="*/ 3298847 w 3313163"/>
                <a:gd name="connsiteY3" fmla="*/ 513938 h 648094"/>
                <a:gd name="connsiteX4" fmla="*/ 3235007 w 3313163"/>
                <a:gd name="connsiteY4" fmla="*/ 637755 h 648094"/>
                <a:gd name="connsiteX5" fmla="*/ 71495 w 3313163"/>
                <a:gd name="connsiteY5" fmla="*/ 644217 h 648094"/>
                <a:gd name="connsiteX6" fmla="*/ 5659 w 3313163"/>
                <a:gd name="connsiteY6" fmla="*/ 520666 h 648094"/>
                <a:gd name="connsiteX7" fmla="*/ 201988 w 3313163"/>
                <a:gd name="connsiteY7" fmla="*/ 49072 h 648094"/>
                <a:gd name="connsiteX8" fmla="*/ 303601 w 3313163"/>
                <a:gd name="connsiteY8" fmla="*/ 1912 h 648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13163" h="648094">
                  <a:moveTo>
                    <a:pt x="303601" y="1912"/>
                  </a:moveTo>
                  <a:lnTo>
                    <a:pt x="2992554" y="-3582"/>
                  </a:lnTo>
                  <a:cubicBezTo>
                    <a:pt x="3046008" y="-3697"/>
                    <a:pt x="3074362" y="-10052"/>
                    <a:pt x="3095691" y="42648"/>
                  </a:cubicBezTo>
                  <a:lnTo>
                    <a:pt x="3298847" y="513938"/>
                  </a:lnTo>
                  <a:cubicBezTo>
                    <a:pt x="3326104" y="581291"/>
                    <a:pt x="3297887" y="637626"/>
                    <a:pt x="3235007" y="637755"/>
                  </a:cubicBezTo>
                  <a:lnTo>
                    <a:pt x="71495" y="644217"/>
                  </a:lnTo>
                  <a:cubicBezTo>
                    <a:pt x="8615" y="644346"/>
                    <a:pt x="-20516" y="588134"/>
                    <a:pt x="5659" y="520666"/>
                  </a:cubicBezTo>
                  <a:lnTo>
                    <a:pt x="201988" y="49072"/>
                  </a:lnTo>
                  <a:cubicBezTo>
                    <a:pt x="222463" y="-3712"/>
                    <a:pt x="250154" y="2018"/>
                    <a:pt x="303601" y="1912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EF6C6A00-658D-9B43-41BE-302FDF45D8D0}"/>
                </a:ext>
              </a:extLst>
            </p:cNvPr>
            <p:cNvSpPr/>
            <p:nvPr/>
          </p:nvSpPr>
          <p:spPr>
            <a:xfrm flipV="1">
              <a:off x="4085733" y="4429522"/>
              <a:ext cx="2035385" cy="335600"/>
            </a:xfrm>
            <a:custGeom>
              <a:avLst/>
              <a:gdLst>
                <a:gd name="connsiteX0" fmla="*/ 246887 w 3055598"/>
                <a:gd name="connsiteY0" fmla="*/ 16667 h 503815"/>
                <a:gd name="connsiteX1" fmla="*/ 2793552 w 3055598"/>
                <a:gd name="connsiteY1" fmla="*/ -3846 h 503815"/>
                <a:gd name="connsiteX2" fmla="*/ 2916676 w 3055598"/>
                <a:gd name="connsiteY2" fmla="*/ 96395 h 503815"/>
                <a:gd name="connsiteX3" fmla="*/ 3034078 w 3055598"/>
                <a:gd name="connsiteY3" fmla="*/ 348480 h 503815"/>
                <a:gd name="connsiteX4" fmla="*/ 3004664 w 3055598"/>
                <a:gd name="connsiteY4" fmla="*/ 476115 h 503815"/>
                <a:gd name="connsiteX5" fmla="*/ 44050 w 3055598"/>
                <a:gd name="connsiteY5" fmla="*/ 499966 h 503815"/>
                <a:gd name="connsiteX6" fmla="*/ 12450 w 3055598"/>
                <a:gd name="connsiteY6" fmla="*/ 372818 h 503815"/>
                <a:gd name="connsiteX7" fmla="*/ 125501 w 3055598"/>
                <a:gd name="connsiteY7" fmla="*/ 118882 h 503815"/>
                <a:gd name="connsiteX8" fmla="*/ 246887 w 3055598"/>
                <a:gd name="connsiteY8" fmla="*/ 16667 h 50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55598" h="503815">
                  <a:moveTo>
                    <a:pt x="246887" y="16667"/>
                  </a:moveTo>
                  <a:lnTo>
                    <a:pt x="2793552" y="-3846"/>
                  </a:lnTo>
                  <a:cubicBezTo>
                    <a:pt x="2835439" y="-4181"/>
                    <a:pt x="2890448" y="40091"/>
                    <a:pt x="2916676" y="96395"/>
                  </a:cubicBezTo>
                  <a:lnTo>
                    <a:pt x="3034078" y="348480"/>
                  </a:lnTo>
                  <a:cubicBezTo>
                    <a:pt x="3066036" y="417098"/>
                    <a:pt x="3053356" y="475726"/>
                    <a:pt x="3004664" y="476115"/>
                  </a:cubicBezTo>
                  <a:lnTo>
                    <a:pt x="44050" y="499966"/>
                  </a:lnTo>
                  <a:cubicBezTo>
                    <a:pt x="-4641" y="500362"/>
                    <a:pt x="-18327" y="441947"/>
                    <a:pt x="12450" y="372818"/>
                  </a:cubicBezTo>
                  <a:lnTo>
                    <a:pt x="125501" y="118882"/>
                  </a:lnTo>
                  <a:cubicBezTo>
                    <a:pt x="150753" y="62159"/>
                    <a:pt x="205008" y="17010"/>
                    <a:pt x="246887" y="16667"/>
                  </a:cubicBez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42E2110C-E751-E082-9402-1781828686D7}"/>
                </a:ext>
              </a:extLst>
            </p:cNvPr>
            <p:cNvSpPr/>
            <p:nvPr/>
          </p:nvSpPr>
          <p:spPr>
            <a:xfrm flipV="1">
              <a:off x="5759563" y="5041284"/>
              <a:ext cx="110004" cy="78021"/>
            </a:xfrm>
            <a:custGeom>
              <a:avLst/>
              <a:gdLst>
                <a:gd name="connsiteX0" fmla="*/ -5157 w 165142"/>
                <a:gd name="connsiteY0" fmla="*/ 21234 h 117128"/>
                <a:gd name="connsiteX1" fmla="*/ 17521 w 165142"/>
                <a:gd name="connsiteY1" fmla="*/ -1808 h 117128"/>
                <a:gd name="connsiteX2" fmla="*/ 136370 w 165142"/>
                <a:gd name="connsiteY2" fmla="*/ -2769 h 117128"/>
                <a:gd name="connsiteX3" fmla="*/ 159420 w 165142"/>
                <a:gd name="connsiteY3" fmla="*/ 19909 h 117128"/>
                <a:gd name="connsiteX4" fmla="*/ 159984 w 165142"/>
                <a:gd name="connsiteY4" fmla="*/ 90363 h 117128"/>
                <a:gd name="connsiteX5" fmla="*/ 137315 w 165142"/>
                <a:gd name="connsiteY5" fmla="*/ 113406 h 117128"/>
                <a:gd name="connsiteX6" fmla="*/ 18450 w 165142"/>
                <a:gd name="connsiteY6" fmla="*/ 114358 h 117128"/>
                <a:gd name="connsiteX7" fmla="*/ -4593 w 165142"/>
                <a:gd name="connsiteY7" fmla="*/ 91689 h 117128"/>
                <a:gd name="connsiteX8" fmla="*/ -5157 w 165142"/>
                <a:gd name="connsiteY8" fmla="*/ 21234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5157" y="21234"/>
                  </a:moveTo>
                  <a:cubicBezTo>
                    <a:pt x="-5256" y="8661"/>
                    <a:pt x="4940" y="-1709"/>
                    <a:pt x="17521" y="-1808"/>
                  </a:cubicBezTo>
                  <a:lnTo>
                    <a:pt x="136370" y="-2769"/>
                  </a:lnTo>
                  <a:cubicBezTo>
                    <a:pt x="148950" y="-2868"/>
                    <a:pt x="159314" y="7336"/>
                    <a:pt x="159420" y="19909"/>
                  </a:cubicBezTo>
                  <a:lnTo>
                    <a:pt x="159984" y="90363"/>
                  </a:lnTo>
                  <a:cubicBezTo>
                    <a:pt x="160091" y="102928"/>
                    <a:pt x="149888" y="113299"/>
                    <a:pt x="137315" y="113406"/>
                  </a:cubicBezTo>
                  <a:lnTo>
                    <a:pt x="18450" y="114358"/>
                  </a:lnTo>
                  <a:cubicBezTo>
                    <a:pt x="5877" y="114465"/>
                    <a:pt x="-4494" y="104262"/>
                    <a:pt x="-4593" y="91689"/>
                  </a:cubicBezTo>
                  <a:lnTo>
                    <a:pt x="-5157" y="2123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F599BA05-3DD3-6E46-DA85-596A243700CC}"/>
                </a:ext>
              </a:extLst>
            </p:cNvPr>
            <p:cNvSpPr/>
            <p:nvPr/>
          </p:nvSpPr>
          <p:spPr>
            <a:xfrm flipV="1">
              <a:off x="5615679" y="5040122"/>
              <a:ext cx="109999" cy="78026"/>
            </a:xfrm>
            <a:custGeom>
              <a:avLst/>
              <a:gdLst>
                <a:gd name="connsiteX0" fmla="*/ -4911 w 165134"/>
                <a:gd name="connsiteY0" fmla="*/ 21232 h 117136"/>
                <a:gd name="connsiteX1" fmla="*/ 17759 w 165134"/>
                <a:gd name="connsiteY1" fmla="*/ -1811 h 117136"/>
                <a:gd name="connsiteX2" fmla="*/ 136623 w 165134"/>
                <a:gd name="connsiteY2" fmla="*/ -2771 h 117136"/>
                <a:gd name="connsiteX3" fmla="*/ 159658 w 165134"/>
                <a:gd name="connsiteY3" fmla="*/ 19906 h 117136"/>
                <a:gd name="connsiteX4" fmla="*/ 160222 w 165134"/>
                <a:gd name="connsiteY4" fmla="*/ 90360 h 117136"/>
                <a:gd name="connsiteX5" fmla="*/ 137553 w 165134"/>
                <a:gd name="connsiteY5" fmla="*/ 113403 h 117136"/>
                <a:gd name="connsiteX6" fmla="*/ 18696 w 165134"/>
                <a:gd name="connsiteY6" fmla="*/ 114363 h 117136"/>
                <a:gd name="connsiteX7" fmla="*/ -4347 w 165134"/>
                <a:gd name="connsiteY7" fmla="*/ 91686 h 117136"/>
                <a:gd name="connsiteX8" fmla="*/ -4911 w 165134"/>
                <a:gd name="connsiteY8" fmla="*/ 21232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36">
                  <a:moveTo>
                    <a:pt x="-4911" y="21232"/>
                  </a:moveTo>
                  <a:cubicBezTo>
                    <a:pt x="-5018" y="8659"/>
                    <a:pt x="5193" y="-1704"/>
                    <a:pt x="17759" y="-1811"/>
                  </a:cubicBezTo>
                  <a:lnTo>
                    <a:pt x="136623" y="-2771"/>
                  </a:lnTo>
                  <a:cubicBezTo>
                    <a:pt x="149188" y="-2870"/>
                    <a:pt x="159567" y="7333"/>
                    <a:pt x="159658" y="19906"/>
                  </a:cubicBezTo>
                  <a:lnTo>
                    <a:pt x="160222" y="90360"/>
                  </a:lnTo>
                  <a:cubicBezTo>
                    <a:pt x="160329" y="102933"/>
                    <a:pt x="150126" y="113304"/>
                    <a:pt x="137553" y="113403"/>
                  </a:cubicBezTo>
                  <a:lnTo>
                    <a:pt x="18696" y="114363"/>
                  </a:lnTo>
                  <a:cubicBezTo>
                    <a:pt x="6123" y="114463"/>
                    <a:pt x="-4248" y="104259"/>
                    <a:pt x="-4347" y="91686"/>
                  </a:cubicBezTo>
                  <a:lnTo>
                    <a:pt x="-4911" y="2123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4C3D9BAF-3C72-2807-F02E-C57BB39E7E93}"/>
                </a:ext>
              </a:extLst>
            </p:cNvPr>
            <p:cNvSpPr/>
            <p:nvPr/>
          </p:nvSpPr>
          <p:spPr>
            <a:xfrm flipV="1">
              <a:off x="5471790" y="5038965"/>
              <a:ext cx="110008" cy="78021"/>
            </a:xfrm>
            <a:custGeom>
              <a:avLst/>
              <a:gdLst>
                <a:gd name="connsiteX0" fmla="*/ -4665 w 165149"/>
                <a:gd name="connsiteY0" fmla="*/ 21222 h 117128"/>
                <a:gd name="connsiteX1" fmla="*/ 18012 w 165149"/>
                <a:gd name="connsiteY1" fmla="*/ -1821 h 117128"/>
                <a:gd name="connsiteX2" fmla="*/ 136868 w 165149"/>
                <a:gd name="connsiteY2" fmla="*/ -2774 h 117128"/>
                <a:gd name="connsiteX3" fmla="*/ 159919 w 165149"/>
                <a:gd name="connsiteY3" fmla="*/ 19903 h 117128"/>
                <a:gd name="connsiteX4" fmla="*/ 160483 w 165149"/>
                <a:gd name="connsiteY4" fmla="*/ 90350 h 117128"/>
                <a:gd name="connsiteX5" fmla="*/ 137806 w 165149"/>
                <a:gd name="connsiteY5" fmla="*/ 113401 h 117128"/>
                <a:gd name="connsiteX6" fmla="*/ 18949 w 165149"/>
                <a:gd name="connsiteY6" fmla="*/ 114353 h 117128"/>
                <a:gd name="connsiteX7" fmla="*/ -4102 w 165149"/>
                <a:gd name="connsiteY7" fmla="*/ 91676 h 117128"/>
                <a:gd name="connsiteX8" fmla="*/ -4665 w 165149"/>
                <a:gd name="connsiteY8" fmla="*/ 21222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665" y="21222"/>
                  </a:moveTo>
                  <a:cubicBezTo>
                    <a:pt x="-4765" y="8649"/>
                    <a:pt x="5439" y="-1715"/>
                    <a:pt x="18012" y="-1821"/>
                  </a:cubicBezTo>
                  <a:lnTo>
                    <a:pt x="136868" y="-2774"/>
                  </a:lnTo>
                  <a:cubicBezTo>
                    <a:pt x="149441" y="-2880"/>
                    <a:pt x="159812" y="7330"/>
                    <a:pt x="159919" y="19903"/>
                  </a:cubicBezTo>
                  <a:lnTo>
                    <a:pt x="160483" y="90350"/>
                  </a:lnTo>
                  <a:cubicBezTo>
                    <a:pt x="160574" y="102931"/>
                    <a:pt x="150379" y="113294"/>
                    <a:pt x="137806" y="113401"/>
                  </a:cubicBezTo>
                  <a:lnTo>
                    <a:pt x="18949" y="114353"/>
                  </a:lnTo>
                  <a:cubicBezTo>
                    <a:pt x="6376" y="114453"/>
                    <a:pt x="-3995" y="104249"/>
                    <a:pt x="-4102" y="91676"/>
                  </a:cubicBezTo>
                  <a:lnTo>
                    <a:pt x="-4665" y="2122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F97E876D-889A-6B17-6922-B8E34D858BF1}"/>
                </a:ext>
              </a:extLst>
            </p:cNvPr>
            <p:cNvSpPr/>
            <p:nvPr/>
          </p:nvSpPr>
          <p:spPr>
            <a:xfrm flipV="1">
              <a:off x="5327906" y="5037803"/>
              <a:ext cx="110004" cy="78026"/>
            </a:xfrm>
            <a:custGeom>
              <a:avLst/>
              <a:gdLst>
                <a:gd name="connsiteX0" fmla="*/ -4420 w 165142"/>
                <a:gd name="connsiteY0" fmla="*/ 21227 h 117136"/>
                <a:gd name="connsiteX1" fmla="*/ 18258 w 165142"/>
                <a:gd name="connsiteY1" fmla="*/ -1824 h 117136"/>
                <a:gd name="connsiteX2" fmla="*/ 137107 w 165142"/>
                <a:gd name="connsiteY2" fmla="*/ -2776 h 117136"/>
                <a:gd name="connsiteX3" fmla="*/ 160157 w 165142"/>
                <a:gd name="connsiteY3" fmla="*/ 19901 h 117136"/>
                <a:gd name="connsiteX4" fmla="*/ 160721 w 165142"/>
                <a:gd name="connsiteY4" fmla="*/ 90355 h 117136"/>
                <a:gd name="connsiteX5" fmla="*/ 138052 w 165142"/>
                <a:gd name="connsiteY5" fmla="*/ 113398 h 117136"/>
                <a:gd name="connsiteX6" fmla="*/ 19187 w 165142"/>
                <a:gd name="connsiteY6" fmla="*/ 114358 h 117136"/>
                <a:gd name="connsiteX7" fmla="*/ -3856 w 165142"/>
                <a:gd name="connsiteY7" fmla="*/ 91674 h 117136"/>
                <a:gd name="connsiteX8" fmla="*/ -4420 w 165142"/>
                <a:gd name="connsiteY8" fmla="*/ 21227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36">
                  <a:moveTo>
                    <a:pt x="-4420" y="21227"/>
                  </a:moveTo>
                  <a:cubicBezTo>
                    <a:pt x="-4519" y="8654"/>
                    <a:pt x="5677" y="-1717"/>
                    <a:pt x="18258" y="-1824"/>
                  </a:cubicBezTo>
                  <a:lnTo>
                    <a:pt x="137107" y="-2776"/>
                  </a:lnTo>
                  <a:cubicBezTo>
                    <a:pt x="149687" y="-2875"/>
                    <a:pt x="160050" y="7328"/>
                    <a:pt x="160157" y="19901"/>
                  </a:cubicBezTo>
                  <a:lnTo>
                    <a:pt x="160721" y="90355"/>
                  </a:lnTo>
                  <a:cubicBezTo>
                    <a:pt x="160828" y="102928"/>
                    <a:pt x="150625" y="113291"/>
                    <a:pt x="138052" y="113398"/>
                  </a:cubicBezTo>
                  <a:lnTo>
                    <a:pt x="19187" y="114358"/>
                  </a:lnTo>
                  <a:cubicBezTo>
                    <a:pt x="6614" y="114457"/>
                    <a:pt x="-3757" y="104247"/>
                    <a:pt x="-3856" y="91674"/>
                  </a:cubicBezTo>
                  <a:lnTo>
                    <a:pt x="-4420" y="2122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CE88CEF5-BAEC-3A70-93FD-5F0C0A00CAED}"/>
                </a:ext>
              </a:extLst>
            </p:cNvPr>
            <p:cNvSpPr/>
            <p:nvPr/>
          </p:nvSpPr>
          <p:spPr>
            <a:xfrm flipV="1">
              <a:off x="5184022" y="5036646"/>
              <a:ext cx="109999" cy="78026"/>
            </a:xfrm>
            <a:custGeom>
              <a:avLst/>
              <a:gdLst>
                <a:gd name="connsiteX0" fmla="*/ -4174 w 165135"/>
                <a:gd name="connsiteY0" fmla="*/ 21224 h 117136"/>
                <a:gd name="connsiteX1" fmla="*/ 18496 w 165135"/>
                <a:gd name="connsiteY1" fmla="*/ -1819 h 117136"/>
                <a:gd name="connsiteX2" fmla="*/ 137360 w 165135"/>
                <a:gd name="connsiteY2" fmla="*/ -2779 h 117136"/>
                <a:gd name="connsiteX3" fmla="*/ 160396 w 165135"/>
                <a:gd name="connsiteY3" fmla="*/ 19898 h 117136"/>
                <a:gd name="connsiteX4" fmla="*/ 160960 w 165135"/>
                <a:gd name="connsiteY4" fmla="*/ 90353 h 117136"/>
                <a:gd name="connsiteX5" fmla="*/ 138290 w 165135"/>
                <a:gd name="connsiteY5" fmla="*/ 113396 h 117136"/>
                <a:gd name="connsiteX6" fmla="*/ 19433 w 165135"/>
                <a:gd name="connsiteY6" fmla="*/ 114356 h 117136"/>
                <a:gd name="connsiteX7" fmla="*/ -3610 w 165135"/>
                <a:gd name="connsiteY7" fmla="*/ 91679 h 117136"/>
                <a:gd name="connsiteX8" fmla="*/ -4174 w 165135"/>
                <a:gd name="connsiteY8" fmla="*/ 21224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5" h="117136">
                  <a:moveTo>
                    <a:pt x="-4174" y="21224"/>
                  </a:moveTo>
                  <a:cubicBezTo>
                    <a:pt x="-4280" y="8651"/>
                    <a:pt x="5931" y="-1720"/>
                    <a:pt x="18496" y="-1819"/>
                  </a:cubicBezTo>
                  <a:lnTo>
                    <a:pt x="137360" y="-2779"/>
                  </a:lnTo>
                  <a:cubicBezTo>
                    <a:pt x="149926" y="-2878"/>
                    <a:pt x="160304" y="7325"/>
                    <a:pt x="160396" y="19898"/>
                  </a:cubicBezTo>
                  <a:lnTo>
                    <a:pt x="160960" y="90353"/>
                  </a:lnTo>
                  <a:cubicBezTo>
                    <a:pt x="161066" y="102926"/>
                    <a:pt x="150863" y="113296"/>
                    <a:pt x="138290" y="113396"/>
                  </a:cubicBezTo>
                  <a:lnTo>
                    <a:pt x="19433" y="114356"/>
                  </a:lnTo>
                  <a:cubicBezTo>
                    <a:pt x="6860" y="114455"/>
                    <a:pt x="-3511" y="104252"/>
                    <a:pt x="-3610" y="91679"/>
                  </a:cubicBezTo>
                  <a:lnTo>
                    <a:pt x="-4174" y="2122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3E1FD47B-DFDF-2A32-A8EA-2B2B3FC808A2}"/>
                </a:ext>
              </a:extLst>
            </p:cNvPr>
            <p:cNvSpPr/>
            <p:nvPr/>
          </p:nvSpPr>
          <p:spPr>
            <a:xfrm flipV="1">
              <a:off x="5040133" y="5035488"/>
              <a:ext cx="110008" cy="78026"/>
            </a:xfrm>
            <a:custGeom>
              <a:avLst/>
              <a:gdLst>
                <a:gd name="connsiteX0" fmla="*/ -3928 w 165149"/>
                <a:gd name="connsiteY0" fmla="*/ 21221 h 117136"/>
                <a:gd name="connsiteX1" fmla="*/ 18749 w 165149"/>
                <a:gd name="connsiteY1" fmla="*/ -1822 h 117136"/>
                <a:gd name="connsiteX2" fmla="*/ 137606 w 165149"/>
                <a:gd name="connsiteY2" fmla="*/ -2782 h 117136"/>
                <a:gd name="connsiteX3" fmla="*/ 160656 w 165149"/>
                <a:gd name="connsiteY3" fmla="*/ 19903 h 117136"/>
                <a:gd name="connsiteX4" fmla="*/ 161220 w 165149"/>
                <a:gd name="connsiteY4" fmla="*/ 90350 h 117136"/>
                <a:gd name="connsiteX5" fmla="*/ 138543 w 165149"/>
                <a:gd name="connsiteY5" fmla="*/ 113393 h 117136"/>
                <a:gd name="connsiteX6" fmla="*/ 19686 w 165149"/>
                <a:gd name="connsiteY6" fmla="*/ 114353 h 117136"/>
                <a:gd name="connsiteX7" fmla="*/ -3364 w 165149"/>
                <a:gd name="connsiteY7" fmla="*/ 91676 h 117136"/>
                <a:gd name="connsiteX8" fmla="*/ -3928 w 165149"/>
                <a:gd name="connsiteY8" fmla="*/ 21221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3928" y="21221"/>
                  </a:moveTo>
                  <a:cubicBezTo>
                    <a:pt x="-4027" y="8648"/>
                    <a:pt x="6176" y="-1715"/>
                    <a:pt x="18749" y="-1822"/>
                  </a:cubicBezTo>
                  <a:lnTo>
                    <a:pt x="137606" y="-2782"/>
                  </a:lnTo>
                  <a:cubicBezTo>
                    <a:pt x="150179" y="-2881"/>
                    <a:pt x="160550" y="7330"/>
                    <a:pt x="160656" y="19903"/>
                  </a:cubicBezTo>
                  <a:lnTo>
                    <a:pt x="161220" y="90350"/>
                  </a:lnTo>
                  <a:cubicBezTo>
                    <a:pt x="161312" y="102923"/>
                    <a:pt x="151116" y="113294"/>
                    <a:pt x="138543" y="113393"/>
                  </a:cubicBezTo>
                  <a:lnTo>
                    <a:pt x="19686" y="114353"/>
                  </a:lnTo>
                  <a:cubicBezTo>
                    <a:pt x="7113" y="114452"/>
                    <a:pt x="-3257" y="104249"/>
                    <a:pt x="-3364" y="91676"/>
                  </a:cubicBezTo>
                  <a:lnTo>
                    <a:pt x="-3928" y="2122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B7242F38-C0AE-7AFC-AB14-DBD32C7360E4}"/>
                </a:ext>
              </a:extLst>
            </p:cNvPr>
            <p:cNvSpPr/>
            <p:nvPr/>
          </p:nvSpPr>
          <p:spPr>
            <a:xfrm flipV="1">
              <a:off x="4896249" y="5034331"/>
              <a:ext cx="110003" cy="78021"/>
            </a:xfrm>
            <a:custGeom>
              <a:avLst/>
              <a:gdLst>
                <a:gd name="connsiteX0" fmla="*/ -3683 w 165141"/>
                <a:gd name="connsiteY0" fmla="*/ 21211 h 117128"/>
                <a:gd name="connsiteX1" fmla="*/ 18994 w 165141"/>
                <a:gd name="connsiteY1" fmla="*/ -1824 h 117128"/>
                <a:gd name="connsiteX2" fmla="*/ 137844 w 165141"/>
                <a:gd name="connsiteY2" fmla="*/ -2784 h 117128"/>
                <a:gd name="connsiteX3" fmla="*/ 160894 w 165141"/>
                <a:gd name="connsiteY3" fmla="*/ 19893 h 117128"/>
                <a:gd name="connsiteX4" fmla="*/ 161458 w 165141"/>
                <a:gd name="connsiteY4" fmla="*/ 90348 h 117128"/>
                <a:gd name="connsiteX5" fmla="*/ 138788 w 165141"/>
                <a:gd name="connsiteY5" fmla="*/ 113391 h 117128"/>
                <a:gd name="connsiteX6" fmla="*/ 19924 w 165141"/>
                <a:gd name="connsiteY6" fmla="*/ 114343 h 117128"/>
                <a:gd name="connsiteX7" fmla="*/ -3119 w 165141"/>
                <a:gd name="connsiteY7" fmla="*/ 91674 h 117128"/>
                <a:gd name="connsiteX8" fmla="*/ -3683 w 165141"/>
                <a:gd name="connsiteY8" fmla="*/ 21211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1" h="117128">
                  <a:moveTo>
                    <a:pt x="-3683" y="21211"/>
                  </a:moveTo>
                  <a:cubicBezTo>
                    <a:pt x="-3782" y="8646"/>
                    <a:pt x="6414" y="-1725"/>
                    <a:pt x="18994" y="-1824"/>
                  </a:cubicBezTo>
                  <a:lnTo>
                    <a:pt x="137844" y="-2784"/>
                  </a:lnTo>
                  <a:cubicBezTo>
                    <a:pt x="150424" y="-2883"/>
                    <a:pt x="160787" y="7320"/>
                    <a:pt x="160894" y="19893"/>
                  </a:cubicBezTo>
                  <a:lnTo>
                    <a:pt x="161458" y="90348"/>
                  </a:lnTo>
                  <a:cubicBezTo>
                    <a:pt x="161565" y="102921"/>
                    <a:pt x="151361" y="113284"/>
                    <a:pt x="138788" y="113391"/>
                  </a:cubicBezTo>
                  <a:lnTo>
                    <a:pt x="19924" y="114343"/>
                  </a:lnTo>
                  <a:cubicBezTo>
                    <a:pt x="7351" y="114442"/>
                    <a:pt x="-3020" y="104239"/>
                    <a:pt x="-3119" y="91674"/>
                  </a:cubicBezTo>
                  <a:lnTo>
                    <a:pt x="-3683" y="2121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24F35209-8306-9237-12D0-E85193032F01}"/>
                </a:ext>
              </a:extLst>
            </p:cNvPr>
            <p:cNvSpPr/>
            <p:nvPr/>
          </p:nvSpPr>
          <p:spPr>
            <a:xfrm flipV="1">
              <a:off x="4752365" y="5033168"/>
              <a:ext cx="109999" cy="78026"/>
            </a:xfrm>
            <a:custGeom>
              <a:avLst/>
              <a:gdLst>
                <a:gd name="connsiteX0" fmla="*/ -3437 w 165134"/>
                <a:gd name="connsiteY0" fmla="*/ 21216 h 117136"/>
                <a:gd name="connsiteX1" fmla="*/ 19233 w 165134"/>
                <a:gd name="connsiteY1" fmla="*/ -1827 h 117136"/>
                <a:gd name="connsiteX2" fmla="*/ 138097 w 165134"/>
                <a:gd name="connsiteY2" fmla="*/ -2787 h 117136"/>
                <a:gd name="connsiteX3" fmla="*/ 161132 w 165134"/>
                <a:gd name="connsiteY3" fmla="*/ 19890 h 117136"/>
                <a:gd name="connsiteX4" fmla="*/ 161696 w 165134"/>
                <a:gd name="connsiteY4" fmla="*/ 90345 h 117136"/>
                <a:gd name="connsiteX5" fmla="*/ 139027 w 165134"/>
                <a:gd name="connsiteY5" fmla="*/ 113388 h 117136"/>
                <a:gd name="connsiteX6" fmla="*/ 20170 w 165134"/>
                <a:gd name="connsiteY6" fmla="*/ 114348 h 117136"/>
                <a:gd name="connsiteX7" fmla="*/ -2873 w 165134"/>
                <a:gd name="connsiteY7" fmla="*/ 91671 h 117136"/>
                <a:gd name="connsiteX8" fmla="*/ -3437 w 165134"/>
                <a:gd name="connsiteY8" fmla="*/ 21216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36">
                  <a:moveTo>
                    <a:pt x="-3437" y="21216"/>
                  </a:moveTo>
                  <a:cubicBezTo>
                    <a:pt x="-3544" y="8643"/>
                    <a:pt x="6660" y="-1727"/>
                    <a:pt x="19233" y="-1827"/>
                  </a:cubicBezTo>
                  <a:lnTo>
                    <a:pt x="138097" y="-2787"/>
                  </a:lnTo>
                  <a:cubicBezTo>
                    <a:pt x="150662" y="-2886"/>
                    <a:pt x="161041" y="7317"/>
                    <a:pt x="161132" y="19890"/>
                  </a:cubicBezTo>
                  <a:lnTo>
                    <a:pt x="161696" y="90345"/>
                  </a:lnTo>
                  <a:cubicBezTo>
                    <a:pt x="161803" y="102918"/>
                    <a:pt x="151600" y="113281"/>
                    <a:pt x="139027" y="113388"/>
                  </a:cubicBezTo>
                  <a:lnTo>
                    <a:pt x="20170" y="114348"/>
                  </a:lnTo>
                  <a:cubicBezTo>
                    <a:pt x="7597" y="114447"/>
                    <a:pt x="-2774" y="104244"/>
                    <a:pt x="-2873" y="91671"/>
                  </a:cubicBezTo>
                  <a:lnTo>
                    <a:pt x="-3437" y="21216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58A9B266-9DC2-155A-5720-7E01F3999D46}"/>
                </a:ext>
              </a:extLst>
            </p:cNvPr>
            <p:cNvSpPr/>
            <p:nvPr/>
          </p:nvSpPr>
          <p:spPr>
            <a:xfrm flipV="1">
              <a:off x="4608476" y="5032011"/>
              <a:ext cx="110008" cy="78021"/>
            </a:xfrm>
            <a:custGeom>
              <a:avLst/>
              <a:gdLst>
                <a:gd name="connsiteX0" fmla="*/ -3191 w 165149"/>
                <a:gd name="connsiteY0" fmla="*/ 21206 h 117128"/>
                <a:gd name="connsiteX1" fmla="*/ 19486 w 165149"/>
                <a:gd name="connsiteY1" fmla="*/ -1837 h 117128"/>
                <a:gd name="connsiteX2" fmla="*/ 138343 w 165149"/>
                <a:gd name="connsiteY2" fmla="*/ -2789 h 117128"/>
                <a:gd name="connsiteX3" fmla="*/ 161393 w 165149"/>
                <a:gd name="connsiteY3" fmla="*/ 19880 h 117128"/>
                <a:gd name="connsiteX4" fmla="*/ 161957 w 165149"/>
                <a:gd name="connsiteY4" fmla="*/ 90335 h 117128"/>
                <a:gd name="connsiteX5" fmla="*/ 139280 w 165149"/>
                <a:gd name="connsiteY5" fmla="*/ 113378 h 117128"/>
                <a:gd name="connsiteX6" fmla="*/ 20423 w 165149"/>
                <a:gd name="connsiteY6" fmla="*/ 114338 h 117128"/>
                <a:gd name="connsiteX7" fmla="*/ -2627 w 165149"/>
                <a:gd name="connsiteY7" fmla="*/ 91661 h 117128"/>
                <a:gd name="connsiteX8" fmla="*/ -3191 w 165149"/>
                <a:gd name="connsiteY8" fmla="*/ 21206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191" y="21206"/>
                  </a:moveTo>
                  <a:cubicBezTo>
                    <a:pt x="-3290" y="8633"/>
                    <a:pt x="6913" y="-1738"/>
                    <a:pt x="19486" y="-1837"/>
                  </a:cubicBezTo>
                  <a:lnTo>
                    <a:pt x="138343" y="-2789"/>
                  </a:lnTo>
                  <a:cubicBezTo>
                    <a:pt x="150916" y="-2896"/>
                    <a:pt x="161286" y="7307"/>
                    <a:pt x="161393" y="19880"/>
                  </a:cubicBezTo>
                  <a:lnTo>
                    <a:pt x="161957" y="90335"/>
                  </a:lnTo>
                  <a:cubicBezTo>
                    <a:pt x="162048" y="102908"/>
                    <a:pt x="151853" y="113279"/>
                    <a:pt x="139280" y="113378"/>
                  </a:cubicBezTo>
                  <a:lnTo>
                    <a:pt x="20423" y="114338"/>
                  </a:lnTo>
                  <a:cubicBezTo>
                    <a:pt x="7850" y="114437"/>
                    <a:pt x="-2521" y="104234"/>
                    <a:pt x="-2627" y="91661"/>
                  </a:cubicBezTo>
                  <a:lnTo>
                    <a:pt x="-3191" y="21206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4C5A9D62-CAF9-76DD-4E56-4FF035068BEF}"/>
                </a:ext>
              </a:extLst>
            </p:cNvPr>
            <p:cNvSpPr/>
            <p:nvPr/>
          </p:nvSpPr>
          <p:spPr>
            <a:xfrm flipV="1">
              <a:off x="4464592" y="5030854"/>
              <a:ext cx="110004" cy="78021"/>
            </a:xfrm>
            <a:custGeom>
              <a:avLst/>
              <a:gdLst>
                <a:gd name="connsiteX0" fmla="*/ -2946 w 165142"/>
                <a:gd name="connsiteY0" fmla="*/ 21204 h 117128"/>
                <a:gd name="connsiteX1" fmla="*/ 19732 w 165142"/>
                <a:gd name="connsiteY1" fmla="*/ -1832 h 117128"/>
                <a:gd name="connsiteX2" fmla="*/ 138588 w 165142"/>
                <a:gd name="connsiteY2" fmla="*/ -2792 h 117128"/>
                <a:gd name="connsiteX3" fmla="*/ 161631 w 165142"/>
                <a:gd name="connsiteY3" fmla="*/ 19885 h 117128"/>
                <a:gd name="connsiteX4" fmla="*/ 162195 w 165142"/>
                <a:gd name="connsiteY4" fmla="*/ 90332 h 117128"/>
                <a:gd name="connsiteX5" fmla="*/ 139526 w 165142"/>
                <a:gd name="connsiteY5" fmla="*/ 113383 h 117128"/>
                <a:gd name="connsiteX6" fmla="*/ 20661 w 165142"/>
                <a:gd name="connsiteY6" fmla="*/ 114335 h 117128"/>
                <a:gd name="connsiteX7" fmla="*/ -2382 w 165142"/>
                <a:gd name="connsiteY7" fmla="*/ 91666 h 117128"/>
                <a:gd name="connsiteX8" fmla="*/ -2946 w 165142"/>
                <a:gd name="connsiteY8" fmla="*/ 21204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2946" y="21204"/>
                  </a:moveTo>
                  <a:cubicBezTo>
                    <a:pt x="-3044" y="8638"/>
                    <a:pt x="7151" y="-1733"/>
                    <a:pt x="19732" y="-1832"/>
                  </a:cubicBezTo>
                  <a:lnTo>
                    <a:pt x="138588" y="-2792"/>
                  </a:lnTo>
                  <a:cubicBezTo>
                    <a:pt x="151161" y="-2898"/>
                    <a:pt x="161525" y="7312"/>
                    <a:pt x="161631" y="19885"/>
                  </a:cubicBezTo>
                  <a:lnTo>
                    <a:pt x="162195" y="90332"/>
                  </a:lnTo>
                  <a:cubicBezTo>
                    <a:pt x="162302" y="102905"/>
                    <a:pt x="152091" y="113276"/>
                    <a:pt x="139526" y="113383"/>
                  </a:cubicBezTo>
                  <a:lnTo>
                    <a:pt x="20661" y="114335"/>
                  </a:lnTo>
                  <a:cubicBezTo>
                    <a:pt x="8096" y="114434"/>
                    <a:pt x="-2282" y="104231"/>
                    <a:pt x="-2382" y="91666"/>
                  </a:cubicBezTo>
                  <a:lnTo>
                    <a:pt x="-2946" y="2120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9AEB17A7-E6DF-CA63-D5DE-BE33172859C9}"/>
                </a:ext>
              </a:extLst>
            </p:cNvPr>
            <p:cNvSpPr/>
            <p:nvPr/>
          </p:nvSpPr>
          <p:spPr>
            <a:xfrm flipV="1">
              <a:off x="4320708" y="5029697"/>
              <a:ext cx="109999" cy="78021"/>
            </a:xfrm>
            <a:custGeom>
              <a:avLst/>
              <a:gdLst>
                <a:gd name="connsiteX0" fmla="*/ -2700 w 165134"/>
                <a:gd name="connsiteY0" fmla="*/ 21209 h 117128"/>
                <a:gd name="connsiteX1" fmla="*/ 19970 w 165134"/>
                <a:gd name="connsiteY1" fmla="*/ -1834 h 117128"/>
                <a:gd name="connsiteX2" fmla="*/ 138834 w 165134"/>
                <a:gd name="connsiteY2" fmla="*/ -2794 h 117128"/>
                <a:gd name="connsiteX3" fmla="*/ 161869 w 165134"/>
                <a:gd name="connsiteY3" fmla="*/ 19883 h 117128"/>
                <a:gd name="connsiteX4" fmla="*/ 162433 w 165134"/>
                <a:gd name="connsiteY4" fmla="*/ 90337 h 117128"/>
                <a:gd name="connsiteX5" fmla="*/ 139764 w 165134"/>
                <a:gd name="connsiteY5" fmla="*/ 113380 h 117128"/>
                <a:gd name="connsiteX6" fmla="*/ 20907 w 165134"/>
                <a:gd name="connsiteY6" fmla="*/ 114333 h 117128"/>
                <a:gd name="connsiteX7" fmla="*/ -2136 w 165134"/>
                <a:gd name="connsiteY7" fmla="*/ 91663 h 117128"/>
                <a:gd name="connsiteX8" fmla="*/ -2700 w 165134"/>
                <a:gd name="connsiteY8" fmla="*/ 21209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28">
                  <a:moveTo>
                    <a:pt x="-2700" y="21209"/>
                  </a:moveTo>
                  <a:cubicBezTo>
                    <a:pt x="-2806" y="8636"/>
                    <a:pt x="7397" y="-1735"/>
                    <a:pt x="19970" y="-1834"/>
                  </a:cubicBezTo>
                  <a:lnTo>
                    <a:pt x="138834" y="-2794"/>
                  </a:lnTo>
                  <a:cubicBezTo>
                    <a:pt x="151400" y="-2894"/>
                    <a:pt x="161778" y="7310"/>
                    <a:pt x="161869" y="19883"/>
                  </a:cubicBezTo>
                  <a:lnTo>
                    <a:pt x="162433" y="90337"/>
                  </a:lnTo>
                  <a:cubicBezTo>
                    <a:pt x="162540" y="102910"/>
                    <a:pt x="152337" y="113281"/>
                    <a:pt x="139764" y="113380"/>
                  </a:cubicBezTo>
                  <a:lnTo>
                    <a:pt x="20907" y="114333"/>
                  </a:lnTo>
                  <a:cubicBezTo>
                    <a:pt x="8334" y="114439"/>
                    <a:pt x="-2037" y="104236"/>
                    <a:pt x="-2136" y="91663"/>
                  </a:cubicBezTo>
                  <a:lnTo>
                    <a:pt x="-2700" y="2120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41BEFDED-35B1-49AA-0050-9B7E2FE2FC23}"/>
                </a:ext>
              </a:extLst>
            </p:cNvPr>
            <p:cNvSpPr/>
            <p:nvPr/>
          </p:nvSpPr>
          <p:spPr>
            <a:xfrm flipV="1">
              <a:off x="5757999" y="5336667"/>
              <a:ext cx="110004" cy="78021"/>
            </a:xfrm>
            <a:custGeom>
              <a:avLst/>
              <a:gdLst>
                <a:gd name="connsiteX0" fmla="*/ -5154 w 165142"/>
                <a:gd name="connsiteY0" fmla="*/ 21886 h 117128"/>
                <a:gd name="connsiteX1" fmla="*/ 17523 w 165142"/>
                <a:gd name="connsiteY1" fmla="*/ -1149 h 117128"/>
                <a:gd name="connsiteX2" fmla="*/ 136380 w 165142"/>
                <a:gd name="connsiteY2" fmla="*/ -2109 h 117128"/>
                <a:gd name="connsiteX3" fmla="*/ 159423 w 165142"/>
                <a:gd name="connsiteY3" fmla="*/ 20568 h 117128"/>
                <a:gd name="connsiteX4" fmla="*/ 159987 w 165142"/>
                <a:gd name="connsiteY4" fmla="*/ 91015 h 117128"/>
                <a:gd name="connsiteX5" fmla="*/ 137317 w 165142"/>
                <a:gd name="connsiteY5" fmla="*/ 114065 h 117128"/>
                <a:gd name="connsiteX6" fmla="*/ 18453 w 165142"/>
                <a:gd name="connsiteY6" fmla="*/ 115018 h 117128"/>
                <a:gd name="connsiteX7" fmla="*/ -4582 w 165142"/>
                <a:gd name="connsiteY7" fmla="*/ 92348 h 117128"/>
                <a:gd name="connsiteX8" fmla="*/ -5154 w 165142"/>
                <a:gd name="connsiteY8" fmla="*/ 21886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5154" y="21886"/>
                  </a:moveTo>
                  <a:cubicBezTo>
                    <a:pt x="-5253" y="9321"/>
                    <a:pt x="4950" y="-1050"/>
                    <a:pt x="17523" y="-1149"/>
                  </a:cubicBezTo>
                  <a:lnTo>
                    <a:pt x="136380" y="-2109"/>
                  </a:lnTo>
                  <a:cubicBezTo>
                    <a:pt x="148953" y="-2208"/>
                    <a:pt x="159324" y="7995"/>
                    <a:pt x="159423" y="20568"/>
                  </a:cubicBezTo>
                  <a:lnTo>
                    <a:pt x="159987" y="91015"/>
                  </a:lnTo>
                  <a:cubicBezTo>
                    <a:pt x="160094" y="103596"/>
                    <a:pt x="149883" y="113959"/>
                    <a:pt x="137317" y="114065"/>
                  </a:cubicBezTo>
                  <a:lnTo>
                    <a:pt x="18453" y="115018"/>
                  </a:lnTo>
                  <a:cubicBezTo>
                    <a:pt x="5888" y="115117"/>
                    <a:pt x="-4483" y="104921"/>
                    <a:pt x="-4582" y="92348"/>
                  </a:cubicBezTo>
                  <a:lnTo>
                    <a:pt x="-5154" y="21886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1BDCA01F-E701-56A1-AB54-01B3EBAC98E5}"/>
                </a:ext>
              </a:extLst>
            </p:cNvPr>
            <p:cNvSpPr/>
            <p:nvPr/>
          </p:nvSpPr>
          <p:spPr>
            <a:xfrm flipV="1">
              <a:off x="5614115" y="5335504"/>
              <a:ext cx="110004" cy="78026"/>
            </a:xfrm>
            <a:custGeom>
              <a:avLst/>
              <a:gdLst>
                <a:gd name="connsiteX0" fmla="*/ -4908 w 165142"/>
                <a:gd name="connsiteY0" fmla="*/ 21891 h 117136"/>
                <a:gd name="connsiteX1" fmla="*/ 17761 w 165142"/>
                <a:gd name="connsiteY1" fmla="*/ -1152 h 117136"/>
                <a:gd name="connsiteX2" fmla="*/ 136618 w 165142"/>
                <a:gd name="connsiteY2" fmla="*/ -2112 h 117136"/>
                <a:gd name="connsiteX3" fmla="*/ 159669 w 165142"/>
                <a:gd name="connsiteY3" fmla="*/ 20565 h 117136"/>
                <a:gd name="connsiteX4" fmla="*/ 160232 w 165142"/>
                <a:gd name="connsiteY4" fmla="*/ 91020 h 117136"/>
                <a:gd name="connsiteX5" fmla="*/ 137555 w 165142"/>
                <a:gd name="connsiteY5" fmla="*/ 114063 h 117136"/>
                <a:gd name="connsiteX6" fmla="*/ 18699 w 165142"/>
                <a:gd name="connsiteY6" fmla="*/ 115023 h 117136"/>
                <a:gd name="connsiteX7" fmla="*/ -4344 w 165142"/>
                <a:gd name="connsiteY7" fmla="*/ 92346 h 117136"/>
                <a:gd name="connsiteX8" fmla="*/ -4908 w 165142"/>
                <a:gd name="connsiteY8" fmla="*/ 21891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36">
                  <a:moveTo>
                    <a:pt x="-4908" y="21891"/>
                  </a:moveTo>
                  <a:cubicBezTo>
                    <a:pt x="-5015" y="9318"/>
                    <a:pt x="5188" y="-1053"/>
                    <a:pt x="17761" y="-1152"/>
                  </a:cubicBezTo>
                  <a:lnTo>
                    <a:pt x="136618" y="-2112"/>
                  </a:lnTo>
                  <a:cubicBezTo>
                    <a:pt x="149199" y="-2211"/>
                    <a:pt x="159562" y="7992"/>
                    <a:pt x="159669" y="20565"/>
                  </a:cubicBezTo>
                  <a:lnTo>
                    <a:pt x="160232" y="91020"/>
                  </a:lnTo>
                  <a:cubicBezTo>
                    <a:pt x="160339" y="103593"/>
                    <a:pt x="150136" y="113964"/>
                    <a:pt x="137555" y="114063"/>
                  </a:cubicBezTo>
                  <a:lnTo>
                    <a:pt x="18699" y="115023"/>
                  </a:lnTo>
                  <a:cubicBezTo>
                    <a:pt x="6126" y="115122"/>
                    <a:pt x="-4238" y="104911"/>
                    <a:pt x="-4344" y="92346"/>
                  </a:cubicBezTo>
                  <a:lnTo>
                    <a:pt x="-4908" y="2189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62649EA5-F6A4-25C3-0F64-7CF3D1A05FF2}"/>
                </a:ext>
              </a:extLst>
            </p:cNvPr>
            <p:cNvSpPr/>
            <p:nvPr/>
          </p:nvSpPr>
          <p:spPr>
            <a:xfrm flipV="1">
              <a:off x="5470227" y="5334346"/>
              <a:ext cx="110008" cy="78021"/>
            </a:xfrm>
            <a:custGeom>
              <a:avLst/>
              <a:gdLst>
                <a:gd name="connsiteX0" fmla="*/ -4663 w 165149"/>
                <a:gd name="connsiteY0" fmla="*/ 21881 h 117128"/>
                <a:gd name="connsiteX1" fmla="*/ 18014 w 165149"/>
                <a:gd name="connsiteY1" fmla="*/ -1162 h 117128"/>
                <a:gd name="connsiteX2" fmla="*/ 136879 w 165149"/>
                <a:gd name="connsiteY2" fmla="*/ -2114 h 117128"/>
                <a:gd name="connsiteX3" fmla="*/ 159914 w 165149"/>
                <a:gd name="connsiteY3" fmla="*/ 20555 h 117128"/>
                <a:gd name="connsiteX4" fmla="*/ 160486 w 165149"/>
                <a:gd name="connsiteY4" fmla="*/ 91010 h 117128"/>
                <a:gd name="connsiteX5" fmla="*/ 137816 w 165149"/>
                <a:gd name="connsiteY5" fmla="*/ 114053 h 117128"/>
                <a:gd name="connsiteX6" fmla="*/ 18952 w 165149"/>
                <a:gd name="connsiteY6" fmla="*/ 115013 h 117128"/>
                <a:gd name="connsiteX7" fmla="*/ -4099 w 165149"/>
                <a:gd name="connsiteY7" fmla="*/ 92336 h 117128"/>
                <a:gd name="connsiteX8" fmla="*/ -4663 w 165149"/>
                <a:gd name="connsiteY8" fmla="*/ 21881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663" y="21881"/>
                  </a:moveTo>
                  <a:cubicBezTo>
                    <a:pt x="-4762" y="9308"/>
                    <a:pt x="5441" y="-1063"/>
                    <a:pt x="18014" y="-1162"/>
                  </a:cubicBezTo>
                  <a:lnTo>
                    <a:pt x="136879" y="-2114"/>
                  </a:lnTo>
                  <a:cubicBezTo>
                    <a:pt x="149444" y="-2213"/>
                    <a:pt x="159815" y="7982"/>
                    <a:pt x="159914" y="20555"/>
                  </a:cubicBezTo>
                  <a:lnTo>
                    <a:pt x="160486" y="91010"/>
                  </a:lnTo>
                  <a:cubicBezTo>
                    <a:pt x="160585" y="103583"/>
                    <a:pt x="150381" y="113953"/>
                    <a:pt x="137816" y="114053"/>
                  </a:cubicBezTo>
                  <a:lnTo>
                    <a:pt x="18952" y="115013"/>
                  </a:lnTo>
                  <a:cubicBezTo>
                    <a:pt x="6379" y="115112"/>
                    <a:pt x="-3992" y="104909"/>
                    <a:pt x="-4099" y="92336"/>
                  </a:cubicBezTo>
                  <a:lnTo>
                    <a:pt x="-4663" y="2188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747225A1-85D9-A74F-AFC2-AEBFFCAB77E3}"/>
                </a:ext>
              </a:extLst>
            </p:cNvPr>
            <p:cNvSpPr/>
            <p:nvPr/>
          </p:nvSpPr>
          <p:spPr>
            <a:xfrm flipV="1">
              <a:off x="5326342" y="5333189"/>
              <a:ext cx="110008" cy="78021"/>
            </a:xfrm>
            <a:custGeom>
              <a:avLst/>
              <a:gdLst>
                <a:gd name="connsiteX0" fmla="*/ -4417 w 165149"/>
                <a:gd name="connsiteY0" fmla="*/ 21886 h 117128"/>
                <a:gd name="connsiteX1" fmla="*/ 18260 w 165149"/>
                <a:gd name="connsiteY1" fmla="*/ -1157 h 117128"/>
                <a:gd name="connsiteX2" fmla="*/ 137117 w 165149"/>
                <a:gd name="connsiteY2" fmla="*/ -2117 h 117128"/>
                <a:gd name="connsiteX3" fmla="*/ 160160 w 165149"/>
                <a:gd name="connsiteY3" fmla="*/ 20560 h 117128"/>
                <a:gd name="connsiteX4" fmla="*/ 160731 w 165149"/>
                <a:gd name="connsiteY4" fmla="*/ 91007 h 117128"/>
                <a:gd name="connsiteX5" fmla="*/ 138054 w 165149"/>
                <a:gd name="connsiteY5" fmla="*/ 114050 h 117128"/>
                <a:gd name="connsiteX6" fmla="*/ 19190 w 165149"/>
                <a:gd name="connsiteY6" fmla="*/ 115010 h 117128"/>
                <a:gd name="connsiteX7" fmla="*/ -3845 w 165149"/>
                <a:gd name="connsiteY7" fmla="*/ 92333 h 117128"/>
                <a:gd name="connsiteX8" fmla="*/ -4417 w 165149"/>
                <a:gd name="connsiteY8" fmla="*/ 21886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417" y="21886"/>
                  </a:moveTo>
                  <a:cubicBezTo>
                    <a:pt x="-4516" y="9313"/>
                    <a:pt x="5687" y="-1058"/>
                    <a:pt x="18260" y="-1157"/>
                  </a:cubicBezTo>
                  <a:lnTo>
                    <a:pt x="137117" y="-2117"/>
                  </a:lnTo>
                  <a:cubicBezTo>
                    <a:pt x="149690" y="-2216"/>
                    <a:pt x="160053" y="7987"/>
                    <a:pt x="160160" y="20560"/>
                  </a:cubicBezTo>
                  <a:lnTo>
                    <a:pt x="160731" y="91007"/>
                  </a:lnTo>
                  <a:cubicBezTo>
                    <a:pt x="160830" y="103580"/>
                    <a:pt x="150620" y="113951"/>
                    <a:pt x="138054" y="114050"/>
                  </a:cubicBezTo>
                  <a:lnTo>
                    <a:pt x="19190" y="115010"/>
                  </a:lnTo>
                  <a:cubicBezTo>
                    <a:pt x="6625" y="115109"/>
                    <a:pt x="-3746" y="104906"/>
                    <a:pt x="-3845" y="92333"/>
                  </a:cubicBezTo>
                  <a:lnTo>
                    <a:pt x="-4417" y="21886"/>
                  </a:lnTo>
                </a:path>
              </a:pathLst>
            </a:custGeom>
            <a:solidFill>
              <a:srgbClr val="989697"/>
            </a:solidFill>
            <a:ln w="762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8D957F6A-AD8B-CDDE-5EC6-A16A6946CAEA}"/>
                </a:ext>
              </a:extLst>
            </p:cNvPr>
            <p:cNvSpPr/>
            <p:nvPr/>
          </p:nvSpPr>
          <p:spPr>
            <a:xfrm flipV="1">
              <a:off x="5182458" y="5332032"/>
              <a:ext cx="110004" cy="78021"/>
            </a:xfrm>
            <a:custGeom>
              <a:avLst/>
              <a:gdLst>
                <a:gd name="connsiteX0" fmla="*/ -4171 w 165142"/>
                <a:gd name="connsiteY0" fmla="*/ 21884 h 117128"/>
                <a:gd name="connsiteX1" fmla="*/ 18506 w 165142"/>
                <a:gd name="connsiteY1" fmla="*/ -1159 h 117128"/>
                <a:gd name="connsiteX2" fmla="*/ 137355 w 165142"/>
                <a:gd name="connsiteY2" fmla="*/ -2119 h 117128"/>
                <a:gd name="connsiteX3" fmla="*/ 160406 w 165142"/>
                <a:gd name="connsiteY3" fmla="*/ 20558 h 117128"/>
                <a:gd name="connsiteX4" fmla="*/ 160969 w 165142"/>
                <a:gd name="connsiteY4" fmla="*/ 91012 h 117128"/>
                <a:gd name="connsiteX5" fmla="*/ 138292 w 165142"/>
                <a:gd name="connsiteY5" fmla="*/ 114055 h 117128"/>
                <a:gd name="connsiteX6" fmla="*/ 19443 w 165142"/>
                <a:gd name="connsiteY6" fmla="*/ 115008 h 117128"/>
                <a:gd name="connsiteX7" fmla="*/ -3607 w 165142"/>
                <a:gd name="connsiteY7" fmla="*/ 92338 h 117128"/>
                <a:gd name="connsiteX8" fmla="*/ -4171 w 165142"/>
                <a:gd name="connsiteY8" fmla="*/ 21884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4171" y="21884"/>
                  </a:moveTo>
                  <a:cubicBezTo>
                    <a:pt x="-4278" y="9311"/>
                    <a:pt x="5925" y="-1060"/>
                    <a:pt x="18506" y="-1159"/>
                  </a:cubicBezTo>
                  <a:lnTo>
                    <a:pt x="137355" y="-2119"/>
                  </a:lnTo>
                  <a:cubicBezTo>
                    <a:pt x="149936" y="-2218"/>
                    <a:pt x="160299" y="7985"/>
                    <a:pt x="160406" y="20558"/>
                  </a:cubicBezTo>
                  <a:lnTo>
                    <a:pt x="160969" y="91012"/>
                  </a:lnTo>
                  <a:cubicBezTo>
                    <a:pt x="161076" y="103585"/>
                    <a:pt x="150873" y="113956"/>
                    <a:pt x="138292" y="114055"/>
                  </a:cubicBezTo>
                  <a:lnTo>
                    <a:pt x="19443" y="115008"/>
                  </a:lnTo>
                  <a:cubicBezTo>
                    <a:pt x="6863" y="115107"/>
                    <a:pt x="-3501" y="104911"/>
                    <a:pt x="-3607" y="92338"/>
                  </a:cubicBezTo>
                  <a:lnTo>
                    <a:pt x="-4171" y="2188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8A2BCCB3-DC59-98B3-D171-630A0DE8BAD9}"/>
                </a:ext>
              </a:extLst>
            </p:cNvPr>
            <p:cNvSpPr/>
            <p:nvPr/>
          </p:nvSpPr>
          <p:spPr>
            <a:xfrm flipV="1">
              <a:off x="5038570" y="5330870"/>
              <a:ext cx="110008" cy="78026"/>
            </a:xfrm>
            <a:custGeom>
              <a:avLst/>
              <a:gdLst>
                <a:gd name="connsiteX0" fmla="*/ -3926 w 165149"/>
                <a:gd name="connsiteY0" fmla="*/ 21881 h 117136"/>
                <a:gd name="connsiteX1" fmla="*/ 18751 w 165149"/>
                <a:gd name="connsiteY1" fmla="*/ -1162 h 117136"/>
                <a:gd name="connsiteX2" fmla="*/ 137616 w 165149"/>
                <a:gd name="connsiteY2" fmla="*/ -2122 h 117136"/>
                <a:gd name="connsiteX3" fmla="*/ 160651 w 165149"/>
                <a:gd name="connsiteY3" fmla="*/ 20555 h 117136"/>
                <a:gd name="connsiteX4" fmla="*/ 161223 w 165149"/>
                <a:gd name="connsiteY4" fmla="*/ 91010 h 117136"/>
                <a:gd name="connsiteX5" fmla="*/ 138545 w 165149"/>
                <a:gd name="connsiteY5" fmla="*/ 114053 h 117136"/>
                <a:gd name="connsiteX6" fmla="*/ 19689 w 165149"/>
                <a:gd name="connsiteY6" fmla="*/ 115013 h 117136"/>
                <a:gd name="connsiteX7" fmla="*/ -3354 w 165149"/>
                <a:gd name="connsiteY7" fmla="*/ 92336 h 117136"/>
                <a:gd name="connsiteX8" fmla="*/ -3926 w 165149"/>
                <a:gd name="connsiteY8" fmla="*/ 21881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3926" y="21881"/>
                  </a:moveTo>
                  <a:cubicBezTo>
                    <a:pt x="-4025" y="9308"/>
                    <a:pt x="6178" y="-1063"/>
                    <a:pt x="18751" y="-1162"/>
                  </a:cubicBezTo>
                  <a:lnTo>
                    <a:pt x="137616" y="-2122"/>
                  </a:lnTo>
                  <a:cubicBezTo>
                    <a:pt x="150181" y="-2221"/>
                    <a:pt x="160552" y="7982"/>
                    <a:pt x="160651" y="20555"/>
                  </a:cubicBezTo>
                  <a:lnTo>
                    <a:pt x="161223" y="91010"/>
                  </a:lnTo>
                  <a:cubicBezTo>
                    <a:pt x="161322" y="103583"/>
                    <a:pt x="151118" y="113954"/>
                    <a:pt x="138545" y="114053"/>
                  </a:cubicBezTo>
                  <a:lnTo>
                    <a:pt x="19689" y="115013"/>
                  </a:lnTo>
                  <a:cubicBezTo>
                    <a:pt x="7116" y="115112"/>
                    <a:pt x="-3255" y="104909"/>
                    <a:pt x="-3354" y="92336"/>
                  </a:cubicBezTo>
                  <a:lnTo>
                    <a:pt x="-3926" y="2188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E4D43E7A-205E-E26F-D59F-5D75377111C0}"/>
                </a:ext>
              </a:extLst>
            </p:cNvPr>
            <p:cNvSpPr/>
            <p:nvPr/>
          </p:nvSpPr>
          <p:spPr>
            <a:xfrm flipV="1">
              <a:off x="4894685" y="5329712"/>
              <a:ext cx="110008" cy="78021"/>
            </a:xfrm>
            <a:custGeom>
              <a:avLst/>
              <a:gdLst>
                <a:gd name="connsiteX0" fmla="*/ -3680 w 165149"/>
                <a:gd name="connsiteY0" fmla="*/ 21879 h 117128"/>
                <a:gd name="connsiteX1" fmla="*/ 18997 w 165149"/>
                <a:gd name="connsiteY1" fmla="*/ -1172 h 117128"/>
                <a:gd name="connsiteX2" fmla="*/ 137854 w 165149"/>
                <a:gd name="connsiteY2" fmla="*/ -2124 h 117128"/>
                <a:gd name="connsiteX3" fmla="*/ 160897 w 165149"/>
                <a:gd name="connsiteY3" fmla="*/ 20545 h 117128"/>
                <a:gd name="connsiteX4" fmla="*/ 161468 w 165149"/>
                <a:gd name="connsiteY4" fmla="*/ 91000 h 117128"/>
                <a:gd name="connsiteX5" fmla="*/ 138791 w 165149"/>
                <a:gd name="connsiteY5" fmla="*/ 114042 h 117128"/>
                <a:gd name="connsiteX6" fmla="*/ 19927 w 165149"/>
                <a:gd name="connsiteY6" fmla="*/ 115003 h 117128"/>
                <a:gd name="connsiteX7" fmla="*/ -3108 w 165149"/>
                <a:gd name="connsiteY7" fmla="*/ 92325 h 117128"/>
                <a:gd name="connsiteX8" fmla="*/ -3680 w 165149"/>
                <a:gd name="connsiteY8" fmla="*/ 21879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680" y="21879"/>
                  </a:moveTo>
                  <a:cubicBezTo>
                    <a:pt x="-3779" y="9306"/>
                    <a:pt x="6424" y="-1065"/>
                    <a:pt x="18997" y="-1172"/>
                  </a:cubicBezTo>
                  <a:lnTo>
                    <a:pt x="137854" y="-2124"/>
                  </a:lnTo>
                  <a:cubicBezTo>
                    <a:pt x="150427" y="-2231"/>
                    <a:pt x="160798" y="7972"/>
                    <a:pt x="160897" y="20545"/>
                  </a:cubicBezTo>
                  <a:lnTo>
                    <a:pt x="161468" y="91000"/>
                  </a:lnTo>
                  <a:cubicBezTo>
                    <a:pt x="161567" y="103573"/>
                    <a:pt x="151357" y="113943"/>
                    <a:pt x="138791" y="114042"/>
                  </a:cubicBezTo>
                  <a:lnTo>
                    <a:pt x="19927" y="115003"/>
                  </a:lnTo>
                  <a:cubicBezTo>
                    <a:pt x="7362" y="115102"/>
                    <a:pt x="-3009" y="104898"/>
                    <a:pt x="-3108" y="92325"/>
                  </a:cubicBezTo>
                  <a:lnTo>
                    <a:pt x="-3680" y="2187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78157D58-93BB-FCD0-26CF-19F665B58C62}"/>
                </a:ext>
              </a:extLst>
            </p:cNvPr>
            <p:cNvSpPr/>
            <p:nvPr/>
          </p:nvSpPr>
          <p:spPr>
            <a:xfrm flipV="1">
              <a:off x="4750802" y="5328555"/>
              <a:ext cx="110004" cy="78021"/>
            </a:xfrm>
            <a:custGeom>
              <a:avLst/>
              <a:gdLst>
                <a:gd name="connsiteX0" fmla="*/ -3434 w 165142"/>
                <a:gd name="connsiteY0" fmla="*/ 21876 h 117128"/>
                <a:gd name="connsiteX1" fmla="*/ 19243 w 165142"/>
                <a:gd name="connsiteY1" fmla="*/ -1167 h 117128"/>
                <a:gd name="connsiteX2" fmla="*/ 138092 w 165142"/>
                <a:gd name="connsiteY2" fmla="*/ -2127 h 117128"/>
                <a:gd name="connsiteX3" fmla="*/ 161143 w 165142"/>
                <a:gd name="connsiteY3" fmla="*/ 20550 h 117128"/>
                <a:gd name="connsiteX4" fmla="*/ 161707 w 165142"/>
                <a:gd name="connsiteY4" fmla="*/ 91005 h 117128"/>
                <a:gd name="connsiteX5" fmla="*/ 139029 w 165142"/>
                <a:gd name="connsiteY5" fmla="*/ 114047 h 117128"/>
                <a:gd name="connsiteX6" fmla="*/ 20180 w 165142"/>
                <a:gd name="connsiteY6" fmla="*/ 115000 h 117128"/>
                <a:gd name="connsiteX7" fmla="*/ -2870 w 165142"/>
                <a:gd name="connsiteY7" fmla="*/ 92330 h 117128"/>
                <a:gd name="connsiteX8" fmla="*/ -3434 w 165142"/>
                <a:gd name="connsiteY8" fmla="*/ 21876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3434" y="21876"/>
                  </a:moveTo>
                  <a:cubicBezTo>
                    <a:pt x="-3541" y="9303"/>
                    <a:pt x="6662" y="-1068"/>
                    <a:pt x="19243" y="-1167"/>
                  </a:cubicBezTo>
                  <a:lnTo>
                    <a:pt x="138092" y="-2127"/>
                  </a:lnTo>
                  <a:cubicBezTo>
                    <a:pt x="150673" y="-2234"/>
                    <a:pt x="161036" y="7977"/>
                    <a:pt x="161143" y="20550"/>
                  </a:cubicBezTo>
                  <a:lnTo>
                    <a:pt x="161707" y="91005"/>
                  </a:lnTo>
                  <a:cubicBezTo>
                    <a:pt x="161806" y="103570"/>
                    <a:pt x="151610" y="113941"/>
                    <a:pt x="139029" y="114047"/>
                  </a:cubicBezTo>
                  <a:lnTo>
                    <a:pt x="20180" y="115000"/>
                  </a:lnTo>
                  <a:cubicBezTo>
                    <a:pt x="7600" y="115107"/>
                    <a:pt x="-2764" y="104903"/>
                    <a:pt x="-2870" y="92330"/>
                  </a:cubicBezTo>
                  <a:lnTo>
                    <a:pt x="-3434" y="21876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C84A5A37-C49D-5D4C-8C63-5A3711BBC004}"/>
                </a:ext>
              </a:extLst>
            </p:cNvPr>
            <p:cNvSpPr/>
            <p:nvPr/>
          </p:nvSpPr>
          <p:spPr>
            <a:xfrm flipV="1">
              <a:off x="4606913" y="5327398"/>
              <a:ext cx="110008" cy="78021"/>
            </a:xfrm>
            <a:custGeom>
              <a:avLst/>
              <a:gdLst>
                <a:gd name="connsiteX0" fmla="*/ -3189 w 165149"/>
                <a:gd name="connsiteY0" fmla="*/ 21873 h 117128"/>
                <a:gd name="connsiteX1" fmla="*/ 19489 w 165149"/>
                <a:gd name="connsiteY1" fmla="*/ -1170 h 117128"/>
                <a:gd name="connsiteX2" fmla="*/ 138353 w 165149"/>
                <a:gd name="connsiteY2" fmla="*/ -2130 h 117128"/>
                <a:gd name="connsiteX3" fmla="*/ 161388 w 165149"/>
                <a:gd name="connsiteY3" fmla="*/ 20547 h 117128"/>
                <a:gd name="connsiteX4" fmla="*/ 161960 w 165149"/>
                <a:gd name="connsiteY4" fmla="*/ 91002 h 117128"/>
                <a:gd name="connsiteX5" fmla="*/ 139283 w 165149"/>
                <a:gd name="connsiteY5" fmla="*/ 114045 h 117128"/>
                <a:gd name="connsiteX6" fmla="*/ 20426 w 165149"/>
                <a:gd name="connsiteY6" fmla="*/ 114997 h 117128"/>
                <a:gd name="connsiteX7" fmla="*/ -2617 w 165149"/>
                <a:gd name="connsiteY7" fmla="*/ 92328 h 117128"/>
                <a:gd name="connsiteX8" fmla="*/ -3189 w 165149"/>
                <a:gd name="connsiteY8" fmla="*/ 21873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189" y="21873"/>
                  </a:moveTo>
                  <a:cubicBezTo>
                    <a:pt x="-3288" y="9300"/>
                    <a:pt x="6923" y="-1071"/>
                    <a:pt x="19489" y="-1170"/>
                  </a:cubicBezTo>
                  <a:lnTo>
                    <a:pt x="138353" y="-2130"/>
                  </a:lnTo>
                  <a:cubicBezTo>
                    <a:pt x="150918" y="-2229"/>
                    <a:pt x="161289" y="7974"/>
                    <a:pt x="161388" y="20547"/>
                  </a:cubicBezTo>
                  <a:lnTo>
                    <a:pt x="161960" y="91002"/>
                  </a:lnTo>
                  <a:cubicBezTo>
                    <a:pt x="162059" y="103575"/>
                    <a:pt x="151856" y="113946"/>
                    <a:pt x="139283" y="114045"/>
                  </a:cubicBezTo>
                  <a:lnTo>
                    <a:pt x="20426" y="114997"/>
                  </a:lnTo>
                  <a:cubicBezTo>
                    <a:pt x="7853" y="115104"/>
                    <a:pt x="-2518" y="104901"/>
                    <a:pt x="-2617" y="92328"/>
                  </a:cubicBezTo>
                  <a:lnTo>
                    <a:pt x="-3189" y="21873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DBDDAA94-9949-0381-2D32-5B180BFC2A59}"/>
                </a:ext>
              </a:extLst>
            </p:cNvPr>
            <p:cNvSpPr/>
            <p:nvPr/>
          </p:nvSpPr>
          <p:spPr>
            <a:xfrm flipV="1">
              <a:off x="4463029" y="5326235"/>
              <a:ext cx="110004" cy="78021"/>
            </a:xfrm>
            <a:custGeom>
              <a:avLst/>
              <a:gdLst>
                <a:gd name="connsiteX0" fmla="*/ -2943 w 165142"/>
                <a:gd name="connsiteY0" fmla="*/ 21863 h 117128"/>
                <a:gd name="connsiteX1" fmla="*/ 19734 w 165142"/>
                <a:gd name="connsiteY1" fmla="*/ -1180 h 117128"/>
                <a:gd name="connsiteX2" fmla="*/ 138591 w 165142"/>
                <a:gd name="connsiteY2" fmla="*/ -2132 h 117128"/>
                <a:gd name="connsiteX3" fmla="*/ 161634 w 165142"/>
                <a:gd name="connsiteY3" fmla="*/ 20537 h 117128"/>
                <a:gd name="connsiteX4" fmla="*/ 162198 w 165142"/>
                <a:gd name="connsiteY4" fmla="*/ 90992 h 117128"/>
                <a:gd name="connsiteX5" fmla="*/ 139528 w 165142"/>
                <a:gd name="connsiteY5" fmla="*/ 114035 h 117128"/>
                <a:gd name="connsiteX6" fmla="*/ 20664 w 165142"/>
                <a:gd name="connsiteY6" fmla="*/ 114995 h 117128"/>
                <a:gd name="connsiteX7" fmla="*/ -2371 w 165142"/>
                <a:gd name="connsiteY7" fmla="*/ 92318 h 117128"/>
                <a:gd name="connsiteX8" fmla="*/ -2943 w 165142"/>
                <a:gd name="connsiteY8" fmla="*/ 21863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2943" y="21863"/>
                  </a:moveTo>
                  <a:cubicBezTo>
                    <a:pt x="-3042" y="9290"/>
                    <a:pt x="7161" y="-1081"/>
                    <a:pt x="19734" y="-1180"/>
                  </a:cubicBezTo>
                  <a:lnTo>
                    <a:pt x="138591" y="-2132"/>
                  </a:lnTo>
                  <a:cubicBezTo>
                    <a:pt x="151164" y="-2239"/>
                    <a:pt x="161535" y="7964"/>
                    <a:pt x="161634" y="20537"/>
                  </a:cubicBezTo>
                  <a:lnTo>
                    <a:pt x="162198" y="90992"/>
                  </a:lnTo>
                  <a:cubicBezTo>
                    <a:pt x="162304" y="103565"/>
                    <a:pt x="152094" y="113935"/>
                    <a:pt x="139528" y="114035"/>
                  </a:cubicBezTo>
                  <a:lnTo>
                    <a:pt x="20664" y="114995"/>
                  </a:lnTo>
                  <a:cubicBezTo>
                    <a:pt x="8099" y="115094"/>
                    <a:pt x="-2280" y="104891"/>
                    <a:pt x="-2371" y="92318"/>
                  </a:cubicBezTo>
                  <a:lnTo>
                    <a:pt x="-2943" y="21863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0E0B19F-0AEF-78DB-F877-C23E2D33D447}"/>
                </a:ext>
              </a:extLst>
            </p:cNvPr>
            <p:cNvSpPr/>
            <p:nvPr/>
          </p:nvSpPr>
          <p:spPr>
            <a:xfrm flipV="1">
              <a:off x="4319140" y="5325078"/>
              <a:ext cx="110008" cy="78021"/>
            </a:xfrm>
            <a:custGeom>
              <a:avLst/>
              <a:gdLst>
                <a:gd name="connsiteX0" fmla="*/ -2697 w 165149"/>
                <a:gd name="connsiteY0" fmla="*/ 21868 h 117128"/>
                <a:gd name="connsiteX1" fmla="*/ 19988 w 165149"/>
                <a:gd name="connsiteY1" fmla="*/ -1175 h 117128"/>
                <a:gd name="connsiteX2" fmla="*/ 138837 w 165149"/>
                <a:gd name="connsiteY2" fmla="*/ -2135 h 117128"/>
                <a:gd name="connsiteX3" fmla="*/ 161887 w 165149"/>
                <a:gd name="connsiteY3" fmla="*/ 20542 h 117128"/>
                <a:gd name="connsiteX4" fmla="*/ 162451 w 165149"/>
                <a:gd name="connsiteY4" fmla="*/ 90989 h 117128"/>
                <a:gd name="connsiteX5" fmla="*/ 139774 w 165149"/>
                <a:gd name="connsiteY5" fmla="*/ 114032 h 117128"/>
                <a:gd name="connsiteX6" fmla="*/ 20917 w 165149"/>
                <a:gd name="connsiteY6" fmla="*/ 114992 h 117128"/>
                <a:gd name="connsiteX7" fmla="*/ -2126 w 165149"/>
                <a:gd name="connsiteY7" fmla="*/ 92315 h 117128"/>
                <a:gd name="connsiteX8" fmla="*/ -2697 w 165149"/>
                <a:gd name="connsiteY8" fmla="*/ 21868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2697" y="21868"/>
                  </a:moveTo>
                  <a:cubicBezTo>
                    <a:pt x="-2796" y="9295"/>
                    <a:pt x="7415" y="-1076"/>
                    <a:pt x="19988" y="-1175"/>
                  </a:cubicBezTo>
                  <a:lnTo>
                    <a:pt x="138837" y="-2135"/>
                  </a:lnTo>
                  <a:cubicBezTo>
                    <a:pt x="151417" y="-2234"/>
                    <a:pt x="161780" y="7962"/>
                    <a:pt x="161887" y="20542"/>
                  </a:cubicBezTo>
                  <a:lnTo>
                    <a:pt x="162451" y="90989"/>
                  </a:lnTo>
                  <a:cubicBezTo>
                    <a:pt x="162558" y="103562"/>
                    <a:pt x="152355" y="113933"/>
                    <a:pt x="139774" y="114032"/>
                  </a:cubicBezTo>
                  <a:lnTo>
                    <a:pt x="20917" y="114992"/>
                  </a:lnTo>
                  <a:cubicBezTo>
                    <a:pt x="8344" y="115099"/>
                    <a:pt x="-2027" y="104888"/>
                    <a:pt x="-2126" y="92315"/>
                  </a:cubicBezTo>
                  <a:lnTo>
                    <a:pt x="-2697" y="2186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1AEDED40-1D7C-6BDA-CBEC-D1084BC41B06}"/>
                </a:ext>
              </a:extLst>
            </p:cNvPr>
            <p:cNvSpPr/>
            <p:nvPr/>
          </p:nvSpPr>
          <p:spPr>
            <a:xfrm flipV="1">
              <a:off x="5757999" y="5235246"/>
              <a:ext cx="110004" cy="78021"/>
            </a:xfrm>
            <a:custGeom>
              <a:avLst/>
              <a:gdLst>
                <a:gd name="connsiteX0" fmla="*/ -5154 w 165142"/>
                <a:gd name="connsiteY0" fmla="*/ 21660 h 117128"/>
                <a:gd name="connsiteX1" fmla="*/ 17523 w 165142"/>
                <a:gd name="connsiteY1" fmla="*/ -1383 h 117128"/>
                <a:gd name="connsiteX2" fmla="*/ 136380 w 165142"/>
                <a:gd name="connsiteY2" fmla="*/ -2335 h 117128"/>
                <a:gd name="connsiteX3" fmla="*/ 159423 w 165142"/>
                <a:gd name="connsiteY3" fmla="*/ 20334 h 117128"/>
                <a:gd name="connsiteX4" fmla="*/ 159987 w 165142"/>
                <a:gd name="connsiteY4" fmla="*/ 90789 h 117128"/>
                <a:gd name="connsiteX5" fmla="*/ 137317 w 165142"/>
                <a:gd name="connsiteY5" fmla="*/ 113831 h 117128"/>
                <a:gd name="connsiteX6" fmla="*/ 18453 w 165142"/>
                <a:gd name="connsiteY6" fmla="*/ 114792 h 117128"/>
                <a:gd name="connsiteX7" fmla="*/ -4582 w 165142"/>
                <a:gd name="connsiteY7" fmla="*/ 92114 h 117128"/>
                <a:gd name="connsiteX8" fmla="*/ -5154 w 165142"/>
                <a:gd name="connsiteY8" fmla="*/ 21660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5154" y="21660"/>
                  </a:moveTo>
                  <a:cubicBezTo>
                    <a:pt x="-5253" y="9087"/>
                    <a:pt x="4950" y="-1284"/>
                    <a:pt x="17523" y="-1383"/>
                  </a:cubicBezTo>
                  <a:lnTo>
                    <a:pt x="136380" y="-2335"/>
                  </a:lnTo>
                  <a:cubicBezTo>
                    <a:pt x="148953" y="-2442"/>
                    <a:pt x="159324" y="7761"/>
                    <a:pt x="159423" y="20334"/>
                  </a:cubicBezTo>
                  <a:lnTo>
                    <a:pt x="159987" y="90789"/>
                  </a:lnTo>
                  <a:cubicBezTo>
                    <a:pt x="160094" y="103362"/>
                    <a:pt x="149883" y="113732"/>
                    <a:pt x="137317" y="113831"/>
                  </a:cubicBezTo>
                  <a:lnTo>
                    <a:pt x="18453" y="114792"/>
                  </a:lnTo>
                  <a:cubicBezTo>
                    <a:pt x="5888" y="114891"/>
                    <a:pt x="-4483" y="104687"/>
                    <a:pt x="-4582" y="92114"/>
                  </a:cubicBezTo>
                  <a:lnTo>
                    <a:pt x="-5154" y="21660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36DCBEC7-C4AB-2F6F-E9A6-F3BDDD970200}"/>
                </a:ext>
              </a:extLst>
            </p:cNvPr>
            <p:cNvSpPr/>
            <p:nvPr/>
          </p:nvSpPr>
          <p:spPr>
            <a:xfrm flipV="1">
              <a:off x="5614115" y="5234089"/>
              <a:ext cx="110004" cy="78021"/>
            </a:xfrm>
            <a:custGeom>
              <a:avLst/>
              <a:gdLst>
                <a:gd name="connsiteX0" fmla="*/ -4908 w 165142"/>
                <a:gd name="connsiteY0" fmla="*/ 21657 h 117128"/>
                <a:gd name="connsiteX1" fmla="*/ 17769 w 165142"/>
                <a:gd name="connsiteY1" fmla="*/ -1378 h 117128"/>
                <a:gd name="connsiteX2" fmla="*/ 136618 w 165142"/>
                <a:gd name="connsiteY2" fmla="*/ -2338 h 117128"/>
                <a:gd name="connsiteX3" fmla="*/ 159669 w 165142"/>
                <a:gd name="connsiteY3" fmla="*/ 20339 h 117128"/>
                <a:gd name="connsiteX4" fmla="*/ 160232 w 165142"/>
                <a:gd name="connsiteY4" fmla="*/ 90786 h 117128"/>
                <a:gd name="connsiteX5" fmla="*/ 137555 w 165142"/>
                <a:gd name="connsiteY5" fmla="*/ 113829 h 117128"/>
                <a:gd name="connsiteX6" fmla="*/ 18706 w 165142"/>
                <a:gd name="connsiteY6" fmla="*/ 114789 h 117128"/>
                <a:gd name="connsiteX7" fmla="*/ -4344 w 165142"/>
                <a:gd name="connsiteY7" fmla="*/ 92112 h 117128"/>
                <a:gd name="connsiteX8" fmla="*/ -4908 w 165142"/>
                <a:gd name="connsiteY8" fmla="*/ 21657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4908" y="21657"/>
                  </a:moveTo>
                  <a:cubicBezTo>
                    <a:pt x="-5015" y="9092"/>
                    <a:pt x="5188" y="-1279"/>
                    <a:pt x="17769" y="-1378"/>
                  </a:cubicBezTo>
                  <a:lnTo>
                    <a:pt x="136618" y="-2338"/>
                  </a:lnTo>
                  <a:cubicBezTo>
                    <a:pt x="149199" y="-2445"/>
                    <a:pt x="159562" y="7759"/>
                    <a:pt x="159669" y="20339"/>
                  </a:cubicBezTo>
                  <a:lnTo>
                    <a:pt x="160232" y="90786"/>
                  </a:lnTo>
                  <a:cubicBezTo>
                    <a:pt x="160339" y="103359"/>
                    <a:pt x="150136" y="113730"/>
                    <a:pt x="137555" y="113829"/>
                  </a:cubicBezTo>
                  <a:lnTo>
                    <a:pt x="18706" y="114789"/>
                  </a:lnTo>
                  <a:cubicBezTo>
                    <a:pt x="6126" y="114888"/>
                    <a:pt x="-4238" y="104685"/>
                    <a:pt x="-4344" y="92112"/>
                  </a:cubicBezTo>
                  <a:lnTo>
                    <a:pt x="-4908" y="2165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4218C37D-94F1-73D8-2D3C-DA7D44AE3814}"/>
                </a:ext>
              </a:extLst>
            </p:cNvPr>
            <p:cNvSpPr/>
            <p:nvPr/>
          </p:nvSpPr>
          <p:spPr>
            <a:xfrm flipV="1">
              <a:off x="5470227" y="5232932"/>
              <a:ext cx="110008" cy="78021"/>
            </a:xfrm>
            <a:custGeom>
              <a:avLst/>
              <a:gdLst>
                <a:gd name="connsiteX0" fmla="*/ -4663 w 165149"/>
                <a:gd name="connsiteY0" fmla="*/ 21655 h 117128"/>
                <a:gd name="connsiteX1" fmla="*/ 18014 w 165149"/>
                <a:gd name="connsiteY1" fmla="*/ -1381 h 117128"/>
                <a:gd name="connsiteX2" fmla="*/ 136879 w 165149"/>
                <a:gd name="connsiteY2" fmla="*/ -2341 h 117128"/>
                <a:gd name="connsiteX3" fmla="*/ 159914 w 165149"/>
                <a:gd name="connsiteY3" fmla="*/ 20336 h 117128"/>
                <a:gd name="connsiteX4" fmla="*/ 160486 w 165149"/>
                <a:gd name="connsiteY4" fmla="*/ 90791 h 117128"/>
                <a:gd name="connsiteX5" fmla="*/ 137816 w 165149"/>
                <a:gd name="connsiteY5" fmla="*/ 113834 h 117128"/>
                <a:gd name="connsiteX6" fmla="*/ 18952 w 165149"/>
                <a:gd name="connsiteY6" fmla="*/ 114787 h 117128"/>
                <a:gd name="connsiteX7" fmla="*/ -4091 w 165149"/>
                <a:gd name="connsiteY7" fmla="*/ 92117 h 117128"/>
                <a:gd name="connsiteX8" fmla="*/ -4663 w 165149"/>
                <a:gd name="connsiteY8" fmla="*/ 21655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663" y="21655"/>
                  </a:moveTo>
                  <a:cubicBezTo>
                    <a:pt x="-4762" y="9089"/>
                    <a:pt x="5441" y="-1281"/>
                    <a:pt x="18014" y="-1381"/>
                  </a:cubicBezTo>
                  <a:lnTo>
                    <a:pt x="136879" y="-2341"/>
                  </a:lnTo>
                  <a:cubicBezTo>
                    <a:pt x="149444" y="-2440"/>
                    <a:pt x="159815" y="7763"/>
                    <a:pt x="159914" y="20336"/>
                  </a:cubicBezTo>
                  <a:lnTo>
                    <a:pt x="160486" y="90791"/>
                  </a:lnTo>
                  <a:cubicBezTo>
                    <a:pt x="160585" y="103364"/>
                    <a:pt x="150381" y="113727"/>
                    <a:pt x="137816" y="113834"/>
                  </a:cubicBezTo>
                  <a:lnTo>
                    <a:pt x="18952" y="114787"/>
                  </a:lnTo>
                  <a:cubicBezTo>
                    <a:pt x="6379" y="114885"/>
                    <a:pt x="-3992" y="104682"/>
                    <a:pt x="-4091" y="92117"/>
                  </a:cubicBezTo>
                  <a:lnTo>
                    <a:pt x="-4663" y="21655"/>
                  </a:lnTo>
                </a:path>
              </a:pathLst>
            </a:custGeom>
            <a:solidFill>
              <a:srgbClr val="989697"/>
            </a:solidFill>
            <a:ln w="762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C271008E-C45A-00A8-5B85-09CA156B5DD1}"/>
                </a:ext>
              </a:extLst>
            </p:cNvPr>
            <p:cNvSpPr/>
            <p:nvPr/>
          </p:nvSpPr>
          <p:spPr>
            <a:xfrm flipV="1">
              <a:off x="5326342" y="5231770"/>
              <a:ext cx="110008" cy="78026"/>
            </a:xfrm>
            <a:custGeom>
              <a:avLst/>
              <a:gdLst>
                <a:gd name="connsiteX0" fmla="*/ -4417 w 165149"/>
                <a:gd name="connsiteY0" fmla="*/ 21660 h 117136"/>
                <a:gd name="connsiteX1" fmla="*/ 18260 w 165149"/>
                <a:gd name="connsiteY1" fmla="*/ -1383 h 117136"/>
                <a:gd name="connsiteX2" fmla="*/ 137117 w 165149"/>
                <a:gd name="connsiteY2" fmla="*/ -2343 h 117136"/>
                <a:gd name="connsiteX3" fmla="*/ 160160 w 165149"/>
                <a:gd name="connsiteY3" fmla="*/ 20334 h 117136"/>
                <a:gd name="connsiteX4" fmla="*/ 160731 w 165149"/>
                <a:gd name="connsiteY4" fmla="*/ 90788 h 117136"/>
                <a:gd name="connsiteX5" fmla="*/ 138054 w 165149"/>
                <a:gd name="connsiteY5" fmla="*/ 113831 h 117136"/>
                <a:gd name="connsiteX6" fmla="*/ 19190 w 165149"/>
                <a:gd name="connsiteY6" fmla="*/ 114791 h 117136"/>
                <a:gd name="connsiteX7" fmla="*/ -3845 w 165149"/>
                <a:gd name="connsiteY7" fmla="*/ 92114 h 117136"/>
                <a:gd name="connsiteX8" fmla="*/ -4417 w 165149"/>
                <a:gd name="connsiteY8" fmla="*/ 21660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4417" y="21660"/>
                  </a:moveTo>
                  <a:cubicBezTo>
                    <a:pt x="-4516" y="9087"/>
                    <a:pt x="5687" y="-1284"/>
                    <a:pt x="18260" y="-1383"/>
                  </a:cubicBezTo>
                  <a:lnTo>
                    <a:pt x="137117" y="-2343"/>
                  </a:lnTo>
                  <a:cubicBezTo>
                    <a:pt x="149690" y="-2442"/>
                    <a:pt x="160061" y="7761"/>
                    <a:pt x="160160" y="20334"/>
                  </a:cubicBezTo>
                  <a:lnTo>
                    <a:pt x="160731" y="90788"/>
                  </a:lnTo>
                  <a:cubicBezTo>
                    <a:pt x="160830" y="103361"/>
                    <a:pt x="150620" y="113732"/>
                    <a:pt x="138054" y="113831"/>
                  </a:cubicBezTo>
                  <a:lnTo>
                    <a:pt x="19190" y="114791"/>
                  </a:lnTo>
                  <a:cubicBezTo>
                    <a:pt x="6625" y="114891"/>
                    <a:pt x="-3746" y="104680"/>
                    <a:pt x="-3845" y="92114"/>
                  </a:cubicBezTo>
                  <a:lnTo>
                    <a:pt x="-4417" y="21660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105A5293-2C95-78B7-619D-3A157D19D268}"/>
                </a:ext>
              </a:extLst>
            </p:cNvPr>
            <p:cNvSpPr/>
            <p:nvPr/>
          </p:nvSpPr>
          <p:spPr>
            <a:xfrm flipV="1">
              <a:off x="5182458" y="5230612"/>
              <a:ext cx="110004" cy="78021"/>
            </a:xfrm>
            <a:custGeom>
              <a:avLst/>
              <a:gdLst>
                <a:gd name="connsiteX0" fmla="*/ -4171 w 165142"/>
                <a:gd name="connsiteY0" fmla="*/ 21650 h 117128"/>
                <a:gd name="connsiteX1" fmla="*/ 18506 w 165142"/>
                <a:gd name="connsiteY1" fmla="*/ -1393 h 117128"/>
                <a:gd name="connsiteX2" fmla="*/ 137355 w 165142"/>
                <a:gd name="connsiteY2" fmla="*/ -2346 h 117128"/>
                <a:gd name="connsiteX3" fmla="*/ 160406 w 165142"/>
                <a:gd name="connsiteY3" fmla="*/ 20324 h 117128"/>
                <a:gd name="connsiteX4" fmla="*/ 160969 w 165142"/>
                <a:gd name="connsiteY4" fmla="*/ 90778 h 117128"/>
                <a:gd name="connsiteX5" fmla="*/ 138292 w 165142"/>
                <a:gd name="connsiteY5" fmla="*/ 113821 h 117128"/>
                <a:gd name="connsiteX6" fmla="*/ 19443 w 165142"/>
                <a:gd name="connsiteY6" fmla="*/ 114781 h 117128"/>
                <a:gd name="connsiteX7" fmla="*/ -3607 w 165142"/>
                <a:gd name="connsiteY7" fmla="*/ 92104 h 117128"/>
                <a:gd name="connsiteX8" fmla="*/ -4171 w 165142"/>
                <a:gd name="connsiteY8" fmla="*/ 21650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4171" y="21650"/>
                  </a:moveTo>
                  <a:cubicBezTo>
                    <a:pt x="-4278" y="9077"/>
                    <a:pt x="5925" y="-1294"/>
                    <a:pt x="18506" y="-1393"/>
                  </a:cubicBezTo>
                  <a:lnTo>
                    <a:pt x="137355" y="-2346"/>
                  </a:lnTo>
                  <a:cubicBezTo>
                    <a:pt x="149936" y="-2452"/>
                    <a:pt x="160299" y="7751"/>
                    <a:pt x="160406" y="20324"/>
                  </a:cubicBezTo>
                  <a:lnTo>
                    <a:pt x="160969" y="90778"/>
                  </a:lnTo>
                  <a:cubicBezTo>
                    <a:pt x="161076" y="103351"/>
                    <a:pt x="150873" y="113722"/>
                    <a:pt x="138292" y="113821"/>
                  </a:cubicBezTo>
                  <a:lnTo>
                    <a:pt x="19443" y="114781"/>
                  </a:lnTo>
                  <a:cubicBezTo>
                    <a:pt x="6863" y="114880"/>
                    <a:pt x="-3501" y="104677"/>
                    <a:pt x="-3607" y="92104"/>
                  </a:cubicBezTo>
                  <a:lnTo>
                    <a:pt x="-4171" y="21650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DD3268B6-DBC4-3F75-7A3A-A8D168C50FAF}"/>
                </a:ext>
              </a:extLst>
            </p:cNvPr>
            <p:cNvSpPr/>
            <p:nvPr/>
          </p:nvSpPr>
          <p:spPr>
            <a:xfrm flipV="1">
              <a:off x="5038570" y="5229455"/>
              <a:ext cx="110008" cy="78021"/>
            </a:xfrm>
            <a:custGeom>
              <a:avLst/>
              <a:gdLst>
                <a:gd name="connsiteX0" fmla="*/ -3926 w 165149"/>
                <a:gd name="connsiteY0" fmla="*/ 21655 h 117128"/>
                <a:gd name="connsiteX1" fmla="*/ 18751 w 165149"/>
                <a:gd name="connsiteY1" fmla="*/ -1388 h 117128"/>
                <a:gd name="connsiteX2" fmla="*/ 137616 w 165149"/>
                <a:gd name="connsiteY2" fmla="*/ -2348 h 117128"/>
                <a:gd name="connsiteX3" fmla="*/ 160651 w 165149"/>
                <a:gd name="connsiteY3" fmla="*/ 20329 h 117128"/>
                <a:gd name="connsiteX4" fmla="*/ 161223 w 165149"/>
                <a:gd name="connsiteY4" fmla="*/ 90776 h 117128"/>
                <a:gd name="connsiteX5" fmla="*/ 138545 w 165149"/>
                <a:gd name="connsiteY5" fmla="*/ 113819 h 117128"/>
                <a:gd name="connsiteX6" fmla="*/ 19689 w 165149"/>
                <a:gd name="connsiteY6" fmla="*/ 114779 h 117128"/>
                <a:gd name="connsiteX7" fmla="*/ -3354 w 165149"/>
                <a:gd name="connsiteY7" fmla="*/ 92102 h 117128"/>
                <a:gd name="connsiteX8" fmla="*/ -3926 w 165149"/>
                <a:gd name="connsiteY8" fmla="*/ 21655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926" y="21655"/>
                  </a:moveTo>
                  <a:cubicBezTo>
                    <a:pt x="-4025" y="9082"/>
                    <a:pt x="6178" y="-1289"/>
                    <a:pt x="18751" y="-1388"/>
                  </a:cubicBezTo>
                  <a:lnTo>
                    <a:pt x="137616" y="-2348"/>
                  </a:lnTo>
                  <a:cubicBezTo>
                    <a:pt x="150181" y="-2455"/>
                    <a:pt x="160552" y="7756"/>
                    <a:pt x="160651" y="20329"/>
                  </a:cubicBezTo>
                  <a:lnTo>
                    <a:pt x="161223" y="90776"/>
                  </a:lnTo>
                  <a:cubicBezTo>
                    <a:pt x="161322" y="103349"/>
                    <a:pt x="151118" y="113720"/>
                    <a:pt x="138545" y="113819"/>
                  </a:cubicBezTo>
                  <a:lnTo>
                    <a:pt x="19689" y="114779"/>
                  </a:lnTo>
                  <a:cubicBezTo>
                    <a:pt x="7116" y="114878"/>
                    <a:pt x="-3255" y="104682"/>
                    <a:pt x="-3354" y="92102"/>
                  </a:cubicBezTo>
                  <a:lnTo>
                    <a:pt x="-3926" y="21655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0BDC91D1-9B85-C8E9-DF34-07E407D442D7}"/>
                </a:ext>
              </a:extLst>
            </p:cNvPr>
            <p:cNvSpPr/>
            <p:nvPr/>
          </p:nvSpPr>
          <p:spPr>
            <a:xfrm flipV="1">
              <a:off x="4894685" y="5228297"/>
              <a:ext cx="110008" cy="78021"/>
            </a:xfrm>
            <a:custGeom>
              <a:avLst/>
              <a:gdLst>
                <a:gd name="connsiteX0" fmla="*/ -3680 w 165149"/>
                <a:gd name="connsiteY0" fmla="*/ 21652 h 117128"/>
                <a:gd name="connsiteX1" fmla="*/ 18997 w 165149"/>
                <a:gd name="connsiteY1" fmla="*/ -1391 h 117128"/>
                <a:gd name="connsiteX2" fmla="*/ 137854 w 165149"/>
                <a:gd name="connsiteY2" fmla="*/ -2351 h 117128"/>
                <a:gd name="connsiteX3" fmla="*/ 160897 w 165149"/>
                <a:gd name="connsiteY3" fmla="*/ 20326 h 117128"/>
                <a:gd name="connsiteX4" fmla="*/ 161468 w 165149"/>
                <a:gd name="connsiteY4" fmla="*/ 90781 h 117128"/>
                <a:gd name="connsiteX5" fmla="*/ 138791 w 165149"/>
                <a:gd name="connsiteY5" fmla="*/ 113823 h 117128"/>
                <a:gd name="connsiteX6" fmla="*/ 19927 w 165149"/>
                <a:gd name="connsiteY6" fmla="*/ 114776 h 117128"/>
                <a:gd name="connsiteX7" fmla="*/ -3108 w 165149"/>
                <a:gd name="connsiteY7" fmla="*/ 92106 h 117128"/>
                <a:gd name="connsiteX8" fmla="*/ -3680 w 165149"/>
                <a:gd name="connsiteY8" fmla="*/ 21652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680" y="21652"/>
                  </a:moveTo>
                  <a:cubicBezTo>
                    <a:pt x="-3779" y="9079"/>
                    <a:pt x="6424" y="-1292"/>
                    <a:pt x="18997" y="-1391"/>
                  </a:cubicBezTo>
                  <a:lnTo>
                    <a:pt x="137854" y="-2351"/>
                  </a:lnTo>
                  <a:cubicBezTo>
                    <a:pt x="150427" y="-2450"/>
                    <a:pt x="160798" y="7753"/>
                    <a:pt x="160897" y="20326"/>
                  </a:cubicBezTo>
                  <a:lnTo>
                    <a:pt x="161468" y="90781"/>
                  </a:lnTo>
                  <a:cubicBezTo>
                    <a:pt x="161567" y="103354"/>
                    <a:pt x="151357" y="113725"/>
                    <a:pt x="138791" y="113823"/>
                  </a:cubicBezTo>
                  <a:lnTo>
                    <a:pt x="19927" y="114776"/>
                  </a:lnTo>
                  <a:cubicBezTo>
                    <a:pt x="7362" y="114883"/>
                    <a:pt x="-3009" y="104679"/>
                    <a:pt x="-3108" y="92106"/>
                  </a:cubicBezTo>
                  <a:lnTo>
                    <a:pt x="-3680" y="2165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FF92D656-1AFF-131D-32E1-F766981665BA}"/>
                </a:ext>
              </a:extLst>
            </p:cNvPr>
            <p:cNvSpPr/>
            <p:nvPr/>
          </p:nvSpPr>
          <p:spPr>
            <a:xfrm flipV="1">
              <a:off x="4750802" y="5227136"/>
              <a:ext cx="110004" cy="78021"/>
            </a:xfrm>
            <a:custGeom>
              <a:avLst/>
              <a:gdLst>
                <a:gd name="connsiteX0" fmla="*/ -3434 w 165142"/>
                <a:gd name="connsiteY0" fmla="*/ 21642 h 117128"/>
                <a:gd name="connsiteX1" fmla="*/ 19243 w 165142"/>
                <a:gd name="connsiteY1" fmla="*/ -1401 h 117128"/>
                <a:gd name="connsiteX2" fmla="*/ 138092 w 165142"/>
                <a:gd name="connsiteY2" fmla="*/ -2353 h 117128"/>
                <a:gd name="connsiteX3" fmla="*/ 161143 w 165142"/>
                <a:gd name="connsiteY3" fmla="*/ 20316 h 117128"/>
                <a:gd name="connsiteX4" fmla="*/ 161707 w 165142"/>
                <a:gd name="connsiteY4" fmla="*/ 90771 h 117128"/>
                <a:gd name="connsiteX5" fmla="*/ 139029 w 165142"/>
                <a:gd name="connsiteY5" fmla="*/ 113813 h 117128"/>
                <a:gd name="connsiteX6" fmla="*/ 20180 w 165142"/>
                <a:gd name="connsiteY6" fmla="*/ 114774 h 117128"/>
                <a:gd name="connsiteX7" fmla="*/ -2870 w 165142"/>
                <a:gd name="connsiteY7" fmla="*/ 92096 h 117128"/>
                <a:gd name="connsiteX8" fmla="*/ -3434 w 165142"/>
                <a:gd name="connsiteY8" fmla="*/ 21642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3434" y="21642"/>
                  </a:moveTo>
                  <a:cubicBezTo>
                    <a:pt x="-3541" y="9069"/>
                    <a:pt x="6662" y="-1302"/>
                    <a:pt x="19243" y="-1401"/>
                  </a:cubicBezTo>
                  <a:lnTo>
                    <a:pt x="138092" y="-2353"/>
                  </a:lnTo>
                  <a:cubicBezTo>
                    <a:pt x="150673" y="-2460"/>
                    <a:pt x="161036" y="7743"/>
                    <a:pt x="161143" y="20316"/>
                  </a:cubicBezTo>
                  <a:lnTo>
                    <a:pt x="161707" y="90771"/>
                  </a:lnTo>
                  <a:cubicBezTo>
                    <a:pt x="161806" y="103344"/>
                    <a:pt x="151610" y="113714"/>
                    <a:pt x="139029" y="113813"/>
                  </a:cubicBezTo>
                  <a:lnTo>
                    <a:pt x="20180" y="114774"/>
                  </a:lnTo>
                  <a:cubicBezTo>
                    <a:pt x="7600" y="114872"/>
                    <a:pt x="-2764" y="104669"/>
                    <a:pt x="-2870" y="92096"/>
                  </a:cubicBezTo>
                  <a:lnTo>
                    <a:pt x="-3434" y="2164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327D688A-0972-3D39-806F-E3AE4A072CA0}"/>
                </a:ext>
              </a:extLst>
            </p:cNvPr>
            <p:cNvSpPr/>
            <p:nvPr/>
          </p:nvSpPr>
          <p:spPr>
            <a:xfrm flipV="1">
              <a:off x="4606913" y="5225978"/>
              <a:ext cx="110008" cy="78021"/>
            </a:xfrm>
            <a:custGeom>
              <a:avLst/>
              <a:gdLst>
                <a:gd name="connsiteX0" fmla="*/ -3189 w 165149"/>
                <a:gd name="connsiteY0" fmla="*/ 21647 h 117128"/>
                <a:gd name="connsiteX1" fmla="*/ 19489 w 165149"/>
                <a:gd name="connsiteY1" fmla="*/ -1404 h 117128"/>
                <a:gd name="connsiteX2" fmla="*/ 138353 w 165149"/>
                <a:gd name="connsiteY2" fmla="*/ -2356 h 117128"/>
                <a:gd name="connsiteX3" fmla="*/ 161388 w 165149"/>
                <a:gd name="connsiteY3" fmla="*/ 20313 h 117128"/>
                <a:gd name="connsiteX4" fmla="*/ 161960 w 165149"/>
                <a:gd name="connsiteY4" fmla="*/ 90768 h 117128"/>
                <a:gd name="connsiteX5" fmla="*/ 139283 w 165149"/>
                <a:gd name="connsiteY5" fmla="*/ 113811 h 117128"/>
                <a:gd name="connsiteX6" fmla="*/ 20426 w 165149"/>
                <a:gd name="connsiteY6" fmla="*/ 114771 h 117128"/>
                <a:gd name="connsiteX7" fmla="*/ -2617 w 165149"/>
                <a:gd name="connsiteY7" fmla="*/ 92094 h 117128"/>
                <a:gd name="connsiteX8" fmla="*/ -3189 w 165149"/>
                <a:gd name="connsiteY8" fmla="*/ 21647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189" y="21647"/>
                  </a:moveTo>
                  <a:cubicBezTo>
                    <a:pt x="-3288" y="9074"/>
                    <a:pt x="6923" y="-1297"/>
                    <a:pt x="19489" y="-1404"/>
                  </a:cubicBezTo>
                  <a:lnTo>
                    <a:pt x="138353" y="-2356"/>
                  </a:lnTo>
                  <a:cubicBezTo>
                    <a:pt x="150918" y="-2455"/>
                    <a:pt x="161289" y="7740"/>
                    <a:pt x="161388" y="20313"/>
                  </a:cubicBezTo>
                  <a:lnTo>
                    <a:pt x="161960" y="90768"/>
                  </a:lnTo>
                  <a:cubicBezTo>
                    <a:pt x="162059" y="103341"/>
                    <a:pt x="151856" y="113712"/>
                    <a:pt x="139283" y="113811"/>
                  </a:cubicBezTo>
                  <a:lnTo>
                    <a:pt x="20426" y="114771"/>
                  </a:lnTo>
                  <a:cubicBezTo>
                    <a:pt x="7853" y="114870"/>
                    <a:pt x="-2518" y="104667"/>
                    <a:pt x="-2617" y="92094"/>
                  </a:cubicBezTo>
                  <a:lnTo>
                    <a:pt x="-3189" y="21647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50C7335F-30E6-4179-2701-5433664C9CAE}"/>
                </a:ext>
              </a:extLst>
            </p:cNvPr>
            <p:cNvSpPr/>
            <p:nvPr/>
          </p:nvSpPr>
          <p:spPr>
            <a:xfrm flipV="1">
              <a:off x="4463029" y="5224821"/>
              <a:ext cx="110008" cy="78021"/>
            </a:xfrm>
            <a:custGeom>
              <a:avLst/>
              <a:gdLst>
                <a:gd name="connsiteX0" fmla="*/ -2943 w 165149"/>
                <a:gd name="connsiteY0" fmla="*/ 21644 h 117128"/>
                <a:gd name="connsiteX1" fmla="*/ 19734 w 165149"/>
                <a:gd name="connsiteY1" fmla="*/ -1399 h 117128"/>
                <a:gd name="connsiteX2" fmla="*/ 138591 w 165149"/>
                <a:gd name="connsiteY2" fmla="*/ -2359 h 117128"/>
                <a:gd name="connsiteX3" fmla="*/ 161634 w 165149"/>
                <a:gd name="connsiteY3" fmla="*/ 20318 h 117128"/>
                <a:gd name="connsiteX4" fmla="*/ 162205 w 165149"/>
                <a:gd name="connsiteY4" fmla="*/ 90765 h 117128"/>
                <a:gd name="connsiteX5" fmla="*/ 139528 w 165149"/>
                <a:gd name="connsiteY5" fmla="*/ 113816 h 117128"/>
                <a:gd name="connsiteX6" fmla="*/ 20664 w 165149"/>
                <a:gd name="connsiteY6" fmla="*/ 114768 h 117128"/>
                <a:gd name="connsiteX7" fmla="*/ -2371 w 165149"/>
                <a:gd name="connsiteY7" fmla="*/ 92099 h 117128"/>
                <a:gd name="connsiteX8" fmla="*/ -2943 w 165149"/>
                <a:gd name="connsiteY8" fmla="*/ 21644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2943" y="21644"/>
                  </a:moveTo>
                  <a:cubicBezTo>
                    <a:pt x="-3042" y="9071"/>
                    <a:pt x="7161" y="-1300"/>
                    <a:pt x="19734" y="-1399"/>
                  </a:cubicBezTo>
                  <a:lnTo>
                    <a:pt x="138591" y="-2359"/>
                  </a:lnTo>
                  <a:cubicBezTo>
                    <a:pt x="151164" y="-2458"/>
                    <a:pt x="161535" y="7745"/>
                    <a:pt x="161634" y="20318"/>
                  </a:cubicBezTo>
                  <a:lnTo>
                    <a:pt x="162205" y="90765"/>
                  </a:lnTo>
                  <a:cubicBezTo>
                    <a:pt x="162304" y="103338"/>
                    <a:pt x="152094" y="113709"/>
                    <a:pt x="139528" y="113816"/>
                  </a:cubicBezTo>
                  <a:lnTo>
                    <a:pt x="20664" y="114768"/>
                  </a:lnTo>
                  <a:cubicBezTo>
                    <a:pt x="8099" y="114867"/>
                    <a:pt x="-2272" y="104672"/>
                    <a:pt x="-2371" y="92099"/>
                  </a:cubicBezTo>
                  <a:lnTo>
                    <a:pt x="-2943" y="2164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00C06062-2824-500D-A49D-B9F25D05F8B7}"/>
                </a:ext>
              </a:extLst>
            </p:cNvPr>
            <p:cNvSpPr/>
            <p:nvPr/>
          </p:nvSpPr>
          <p:spPr>
            <a:xfrm flipV="1">
              <a:off x="4319140" y="5223659"/>
              <a:ext cx="110008" cy="78026"/>
            </a:xfrm>
            <a:custGeom>
              <a:avLst/>
              <a:gdLst>
                <a:gd name="connsiteX0" fmla="*/ -2697 w 165149"/>
                <a:gd name="connsiteY0" fmla="*/ 21642 h 117136"/>
                <a:gd name="connsiteX1" fmla="*/ 19988 w 165149"/>
                <a:gd name="connsiteY1" fmla="*/ -1401 h 117136"/>
                <a:gd name="connsiteX2" fmla="*/ 138837 w 165149"/>
                <a:gd name="connsiteY2" fmla="*/ -2361 h 117136"/>
                <a:gd name="connsiteX3" fmla="*/ 161887 w 165149"/>
                <a:gd name="connsiteY3" fmla="*/ 20316 h 117136"/>
                <a:gd name="connsiteX4" fmla="*/ 162451 w 165149"/>
                <a:gd name="connsiteY4" fmla="*/ 90770 h 117136"/>
                <a:gd name="connsiteX5" fmla="*/ 139774 w 165149"/>
                <a:gd name="connsiteY5" fmla="*/ 113813 h 117136"/>
                <a:gd name="connsiteX6" fmla="*/ 20917 w 165149"/>
                <a:gd name="connsiteY6" fmla="*/ 114773 h 117136"/>
                <a:gd name="connsiteX7" fmla="*/ -2126 w 165149"/>
                <a:gd name="connsiteY7" fmla="*/ 92096 h 117136"/>
                <a:gd name="connsiteX8" fmla="*/ -2697 w 165149"/>
                <a:gd name="connsiteY8" fmla="*/ 21642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2697" y="21642"/>
                  </a:moveTo>
                  <a:cubicBezTo>
                    <a:pt x="-2796" y="9069"/>
                    <a:pt x="7415" y="-1302"/>
                    <a:pt x="19988" y="-1401"/>
                  </a:cubicBezTo>
                  <a:lnTo>
                    <a:pt x="138837" y="-2361"/>
                  </a:lnTo>
                  <a:cubicBezTo>
                    <a:pt x="151417" y="-2460"/>
                    <a:pt x="161780" y="7743"/>
                    <a:pt x="161887" y="20316"/>
                  </a:cubicBezTo>
                  <a:lnTo>
                    <a:pt x="162451" y="90770"/>
                  </a:lnTo>
                  <a:cubicBezTo>
                    <a:pt x="162558" y="103343"/>
                    <a:pt x="152355" y="113714"/>
                    <a:pt x="139774" y="113813"/>
                  </a:cubicBezTo>
                  <a:lnTo>
                    <a:pt x="20917" y="114773"/>
                  </a:lnTo>
                  <a:cubicBezTo>
                    <a:pt x="8344" y="114872"/>
                    <a:pt x="-2027" y="104669"/>
                    <a:pt x="-2126" y="92096"/>
                  </a:cubicBezTo>
                  <a:lnTo>
                    <a:pt x="-2697" y="2164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5AFFDBA-2DFD-E369-F053-0D6C57401EFF}"/>
                </a:ext>
              </a:extLst>
            </p:cNvPr>
            <p:cNvSpPr/>
            <p:nvPr/>
          </p:nvSpPr>
          <p:spPr>
            <a:xfrm flipV="1">
              <a:off x="5758781" y="5138263"/>
              <a:ext cx="110008" cy="78026"/>
            </a:xfrm>
            <a:custGeom>
              <a:avLst/>
              <a:gdLst>
                <a:gd name="connsiteX0" fmla="*/ -5155 w 165149"/>
                <a:gd name="connsiteY0" fmla="*/ 21451 h 117136"/>
                <a:gd name="connsiteX1" fmla="*/ 17522 w 165149"/>
                <a:gd name="connsiteY1" fmla="*/ -1592 h 117136"/>
                <a:gd name="connsiteX2" fmla="*/ 136379 w 165149"/>
                <a:gd name="connsiteY2" fmla="*/ -2552 h 117136"/>
                <a:gd name="connsiteX3" fmla="*/ 159422 w 165149"/>
                <a:gd name="connsiteY3" fmla="*/ 20125 h 117136"/>
                <a:gd name="connsiteX4" fmla="*/ 159993 w 165149"/>
                <a:gd name="connsiteY4" fmla="*/ 90580 h 117136"/>
                <a:gd name="connsiteX5" fmla="*/ 137308 w 165149"/>
                <a:gd name="connsiteY5" fmla="*/ 113623 h 117136"/>
                <a:gd name="connsiteX6" fmla="*/ 18459 w 165149"/>
                <a:gd name="connsiteY6" fmla="*/ 114583 h 117136"/>
                <a:gd name="connsiteX7" fmla="*/ -4591 w 165149"/>
                <a:gd name="connsiteY7" fmla="*/ 91906 h 117136"/>
                <a:gd name="connsiteX8" fmla="*/ -5155 w 165149"/>
                <a:gd name="connsiteY8" fmla="*/ 21451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5155" y="21451"/>
                  </a:moveTo>
                  <a:cubicBezTo>
                    <a:pt x="-5262" y="8878"/>
                    <a:pt x="4949" y="-1493"/>
                    <a:pt x="17522" y="-1592"/>
                  </a:cubicBezTo>
                  <a:lnTo>
                    <a:pt x="136379" y="-2552"/>
                  </a:lnTo>
                  <a:cubicBezTo>
                    <a:pt x="148952" y="-2651"/>
                    <a:pt x="159323" y="7552"/>
                    <a:pt x="159422" y="20125"/>
                  </a:cubicBezTo>
                  <a:lnTo>
                    <a:pt x="159993" y="90580"/>
                  </a:lnTo>
                  <a:cubicBezTo>
                    <a:pt x="160085" y="103153"/>
                    <a:pt x="149889" y="113516"/>
                    <a:pt x="137308" y="113623"/>
                  </a:cubicBezTo>
                  <a:lnTo>
                    <a:pt x="18459" y="114583"/>
                  </a:lnTo>
                  <a:cubicBezTo>
                    <a:pt x="5879" y="114682"/>
                    <a:pt x="-4484" y="104479"/>
                    <a:pt x="-4591" y="91906"/>
                  </a:cubicBezTo>
                  <a:lnTo>
                    <a:pt x="-5155" y="2145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3ABC5243-BDCF-8D4E-303F-A573642D5EA4}"/>
                </a:ext>
              </a:extLst>
            </p:cNvPr>
            <p:cNvSpPr/>
            <p:nvPr/>
          </p:nvSpPr>
          <p:spPr>
            <a:xfrm flipV="1">
              <a:off x="5614892" y="5137106"/>
              <a:ext cx="110008" cy="78026"/>
            </a:xfrm>
            <a:custGeom>
              <a:avLst/>
              <a:gdLst>
                <a:gd name="connsiteX0" fmla="*/ -4910 w 165149"/>
                <a:gd name="connsiteY0" fmla="*/ 21448 h 117136"/>
                <a:gd name="connsiteX1" fmla="*/ 17775 w 165149"/>
                <a:gd name="connsiteY1" fmla="*/ -1594 h 117136"/>
                <a:gd name="connsiteX2" fmla="*/ 136632 w 165149"/>
                <a:gd name="connsiteY2" fmla="*/ -2555 h 117136"/>
                <a:gd name="connsiteX3" fmla="*/ 159675 w 165149"/>
                <a:gd name="connsiteY3" fmla="*/ 20130 h 117136"/>
                <a:gd name="connsiteX4" fmla="*/ 160239 w 165149"/>
                <a:gd name="connsiteY4" fmla="*/ 90577 h 117136"/>
                <a:gd name="connsiteX5" fmla="*/ 137569 w 165149"/>
                <a:gd name="connsiteY5" fmla="*/ 113620 h 117136"/>
                <a:gd name="connsiteX6" fmla="*/ 18705 w 165149"/>
                <a:gd name="connsiteY6" fmla="*/ 114580 h 117136"/>
                <a:gd name="connsiteX7" fmla="*/ -4338 w 165149"/>
                <a:gd name="connsiteY7" fmla="*/ 91903 h 117136"/>
                <a:gd name="connsiteX8" fmla="*/ -4910 w 165149"/>
                <a:gd name="connsiteY8" fmla="*/ 21448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4910" y="21448"/>
                  </a:moveTo>
                  <a:cubicBezTo>
                    <a:pt x="-5001" y="8875"/>
                    <a:pt x="5195" y="-1488"/>
                    <a:pt x="17775" y="-1594"/>
                  </a:cubicBezTo>
                  <a:lnTo>
                    <a:pt x="136632" y="-2555"/>
                  </a:lnTo>
                  <a:cubicBezTo>
                    <a:pt x="149205" y="-2654"/>
                    <a:pt x="159568" y="7550"/>
                    <a:pt x="159675" y="20130"/>
                  </a:cubicBezTo>
                  <a:lnTo>
                    <a:pt x="160239" y="90577"/>
                  </a:lnTo>
                  <a:cubicBezTo>
                    <a:pt x="160345" y="103150"/>
                    <a:pt x="150135" y="113521"/>
                    <a:pt x="137569" y="113620"/>
                  </a:cubicBezTo>
                  <a:lnTo>
                    <a:pt x="18705" y="114580"/>
                  </a:lnTo>
                  <a:cubicBezTo>
                    <a:pt x="6139" y="114679"/>
                    <a:pt x="-4239" y="104476"/>
                    <a:pt x="-4338" y="91903"/>
                  </a:cubicBezTo>
                  <a:lnTo>
                    <a:pt x="-4910" y="2144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D32CCF43-6904-280C-4C81-520EF80B4B20}"/>
                </a:ext>
              </a:extLst>
            </p:cNvPr>
            <p:cNvSpPr/>
            <p:nvPr/>
          </p:nvSpPr>
          <p:spPr>
            <a:xfrm flipV="1">
              <a:off x="5471014" y="5135948"/>
              <a:ext cx="109999" cy="78021"/>
            </a:xfrm>
            <a:custGeom>
              <a:avLst/>
              <a:gdLst>
                <a:gd name="connsiteX0" fmla="*/ -4664 w 165134"/>
                <a:gd name="connsiteY0" fmla="*/ 21438 h 117128"/>
                <a:gd name="connsiteX1" fmla="*/ 18006 w 165134"/>
                <a:gd name="connsiteY1" fmla="*/ -1605 h 117128"/>
                <a:gd name="connsiteX2" fmla="*/ 136862 w 165134"/>
                <a:gd name="connsiteY2" fmla="*/ -2557 h 117128"/>
                <a:gd name="connsiteX3" fmla="*/ 159905 w 165134"/>
                <a:gd name="connsiteY3" fmla="*/ 20120 h 117128"/>
                <a:gd name="connsiteX4" fmla="*/ 160469 w 165134"/>
                <a:gd name="connsiteY4" fmla="*/ 90567 h 117128"/>
                <a:gd name="connsiteX5" fmla="*/ 137800 w 165134"/>
                <a:gd name="connsiteY5" fmla="*/ 113617 h 117128"/>
                <a:gd name="connsiteX6" fmla="*/ 18943 w 165134"/>
                <a:gd name="connsiteY6" fmla="*/ 114570 h 117128"/>
                <a:gd name="connsiteX7" fmla="*/ -4100 w 165134"/>
                <a:gd name="connsiteY7" fmla="*/ 91900 h 117128"/>
                <a:gd name="connsiteX8" fmla="*/ -4664 w 165134"/>
                <a:gd name="connsiteY8" fmla="*/ 21438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28">
                  <a:moveTo>
                    <a:pt x="-4664" y="21438"/>
                  </a:moveTo>
                  <a:cubicBezTo>
                    <a:pt x="-4771" y="8873"/>
                    <a:pt x="5433" y="-1498"/>
                    <a:pt x="18006" y="-1605"/>
                  </a:cubicBezTo>
                  <a:lnTo>
                    <a:pt x="136862" y="-2557"/>
                  </a:lnTo>
                  <a:cubicBezTo>
                    <a:pt x="149435" y="-2656"/>
                    <a:pt x="159806" y="7547"/>
                    <a:pt x="159905" y="20120"/>
                  </a:cubicBezTo>
                  <a:lnTo>
                    <a:pt x="160469" y="90567"/>
                  </a:lnTo>
                  <a:cubicBezTo>
                    <a:pt x="160576" y="103147"/>
                    <a:pt x="150373" y="113511"/>
                    <a:pt x="137800" y="113617"/>
                  </a:cubicBezTo>
                  <a:lnTo>
                    <a:pt x="18943" y="114570"/>
                  </a:lnTo>
                  <a:cubicBezTo>
                    <a:pt x="6370" y="114669"/>
                    <a:pt x="-4001" y="104466"/>
                    <a:pt x="-4100" y="91900"/>
                  </a:cubicBezTo>
                  <a:lnTo>
                    <a:pt x="-4664" y="2143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D5F86877-8B90-1A03-B063-9A7CC2655374}"/>
                </a:ext>
              </a:extLst>
            </p:cNvPr>
            <p:cNvSpPr/>
            <p:nvPr/>
          </p:nvSpPr>
          <p:spPr>
            <a:xfrm flipV="1">
              <a:off x="5327124" y="5134786"/>
              <a:ext cx="110008" cy="78026"/>
            </a:xfrm>
            <a:custGeom>
              <a:avLst/>
              <a:gdLst>
                <a:gd name="connsiteX0" fmla="*/ -4418 w 165149"/>
                <a:gd name="connsiteY0" fmla="*/ 21443 h 117136"/>
                <a:gd name="connsiteX1" fmla="*/ 18259 w 165149"/>
                <a:gd name="connsiteY1" fmla="*/ -1600 h 117136"/>
                <a:gd name="connsiteX2" fmla="*/ 137116 w 165149"/>
                <a:gd name="connsiteY2" fmla="*/ -2560 h 117136"/>
                <a:gd name="connsiteX3" fmla="*/ 160159 w 165149"/>
                <a:gd name="connsiteY3" fmla="*/ 20117 h 117136"/>
                <a:gd name="connsiteX4" fmla="*/ 160730 w 165149"/>
                <a:gd name="connsiteY4" fmla="*/ 90572 h 117136"/>
                <a:gd name="connsiteX5" fmla="*/ 138045 w 165149"/>
                <a:gd name="connsiteY5" fmla="*/ 113615 h 117136"/>
                <a:gd name="connsiteX6" fmla="*/ 19196 w 165149"/>
                <a:gd name="connsiteY6" fmla="*/ 114575 h 117136"/>
                <a:gd name="connsiteX7" fmla="*/ -3854 w 165149"/>
                <a:gd name="connsiteY7" fmla="*/ 91898 h 117136"/>
                <a:gd name="connsiteX8" fmla="*/ -4418 w 165149"/>
                <a:gd name="connsiteY8" fmla="*/ 21443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4418" y="21443"/>
                  </a:moveTo>
                  <a:cubicBezTo>
                    <a:pt x="-4525" y="8870"/>
                    <a:pt x="5686" y="-1501"/>
                    <a:pt x="18259" y="-1600"/>
                  </a:cubicBezTo>
                  <a:lnTo>
                    <a:pt x="137116" y="-2560"/>
                  </a:lnTo>
                  <a:cubicBezTo>
                    <a:pt x="149689" y="-2659"/>
                    <a:pt x="160060" y="7544"/>
                    <a:pt x="160159" y="20117"/>
                  </a:cubicBezTo>
                  <a:lnTo>
                    <a:pt x="160730" y="90572"/>
                  </a:lnTo>
                  <a:cubicBezTo>
                    <a:pt x="160822" y="103145"/>
                    <a:pt x="150626" y="113508"/>
                    <a:pt x="138045" y="113615"/>
                  </a:cubicBezTo>
                  <a:lnTo>
                    <a:pt x="19196" y="114575"/>
                  </a:lnTo>
                  <a:cubicBezTo>
                    <a:pt x="6616" y="114674"/>
                    <a:pt x="-3748" y="104463"/>
                    <a:pt x="-3854" y="91898"/>
                  </a:cubicBezTo>
                  <a:lnTo>
                    <a:pt x="-4418" y="21443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DA31DEB9-4A28-E70D-4205-66196FA944AD}"/>
                </a:ext>
              </a:extLst>
            </p:cNvPr>
            <p:cNvSpPr/>
            <p:nvPr/>
          </p:nvSpPr>
          <p:spPr>
            <a:xfrm flipV="1">
              <a:off x="5183235" y="5133629"/>
              <a:ext cx="110008" cy="78021"/>
            </a:xfrm>
            <a:custGeom>
              <a:avLst/>
              <a:gdLst>
                <a:gd name="connsiteX0" fmla="*/ -4173 w 165149"/>
                <a:gd name="connsiteY0" fmla="*/ 21433 h 117128"/>
                <a:gd name="connsiteX1" fmla="*/ 18505 w 165149"/>
                <a:gd name="connsiteY1" fmla="*/ -1610 h 117128"/>
                <a:gd name="connsiteX2" fmla="*/ 137369 w 165149"/>
                <a:gd name="connsiteY2" fmla="*/ -2562 h 117128"/>
                <a:gd name="connsiteX3" fmla="*/ 160412 w 165149"/>
                <a:gd name="connsiteY3" fmla="*/ 20107 h 117128"/>
                <a:gd name="connsiteX4" fmla="*/ 160976 w 165149"/>
                <a:gd name="connsiteY4" fmla="*/ 90562 h 117128"/>
                <a:gd name="connsiteX5" fmla="*/ 138306 w 165149"/>
                <a:gd name="connsiteY5" fmla="*/ 113605 h 117128"/>
                <a:gd name="connsiteX6" fmla="*/ 19442 w 165149"/>
                <a:gd name="connsiteY6" fmla="*/ 114565 h 117128"/>
                <a:gd name="connsiteX7" fmla="*/ -3601 w 165149"/>
                <a:gd name="connsiteY7" fmla="*/ 91888 h 117128"/>
                <a:gd name="connsiteX8" fmla="*/ -4173 w 165149"/>
                <a:gd name="connsiteY8" fmla="*/ 21433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4173" y="21433"/>
                  </a:moveTo>
                  <a:cubicBezTo>
                    <a:pt x="-4264" y="8860"/>
                    <a:pt x="5932" y="-1511"/>
                    <a:pt x="18505" y="-1610"/>
                  </a:cubicBezTo>
                  <a:lnTo>
                    <a:pt x="137369" y="-2562"/>
                  </a:lnTo>
                  <a:cubicBezTo>
                    <a:pt x="149942" y="-2669"/>
                    <a:pt x="160305" y="7534"/>
                    <a:pt x="160412" y="20107"/>
                  </a:cubicBezTo>
                  <a:lnTo>
                    <a:pt x="160976" y="90562"/>
                  </a:lnTo>
                  <a:cubicBezTo>
                    <a:pt x="161082" y="103135"/>
                    <a:pt x="150872" y="113506"/>
                    <a:pt x="138306" y="113605"/>
                  </a:cubicBezTo>
                  <a:lnTo>
                    <a:pt x="19442" y="114565"/>
                  </a:lnTo>
                  <a:cubicBezTo>
                    <a:pt x="6876" y="114664"/>
                    <a:pt x="-3502" y="104461"/>
                    <a:pt x="-3601" y="91888"/>
                  </a:cubicBezTo>
                  <a:lnTo>
                    <a:pt x="-4173" y="21433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D40EF2DE-1802-17F8-E3AC-E09B3C145CDF}"/>
                </a:ext>
              </a:extLst>
            </p:cNvPr>
            <p:cNvSpPr/>
            <p:nvPr/>
          </p:nvSpPr>
          <p:spPr>
            <a:xfrm flipV="1">
              <a:off x="5039357" y="5132472"/>
              <a:ext cx="109999" cy="78021"/>
            </a:xfrm>
            <a:custGeom>
              <a:avLst/>
              <a:gdLst>
                <a:gd name="connsiteX0" fmla="*/ -3927 w 165134"/>
                <a:gd name="connsiteY0" fmla="*/ 21431 h 117128"/>
                <a:gd name="connsiteX1" fmla="*/ 18743 w 165134"/>
                <a:gd name="connsiteY1" fmla="*/ -1605 h 117128"/>
                <a:gd name="connsiteX2" fmla="*/ 137599 w 165134"/>
                <a:gd name="connsiteY2" fmla="*/ -2565 h 117128"/>
                <a:gd name="connsiteX3" fmla="*/ 160643 w 165134"/>
                <a:gd name="connsiteY3" fmla="*/ 20112 h 117128"/>
                <a:gd name="connsiteX4" fmla="*/ 161206 w 165134"/>
                <a:gd name="connsiteY4" fmla="*/ 90559 h 117128"/>
                <a:gd name="connsiteX5" fmla="*/ 138537 w 165134"/>
                <a:gd name="connsiteY5" fmla="*/ 113602 h 117128"/>
                <a:gd name="connsiteX6" fmla="*/ 19680 w 165134"/>
                <a:gd name="connsiteY6" fmla="*/ 114562 h 117128"/>
                <a:gd name="connsiteX7" fmla="*/ -3363 w 165134"/>
                <a:gd name="connsiteY7" fmla="*/ 91885 h 117128"/>
                <a:gd name="connsiteX8" fmla="*/ -3927 w 165134"/>
                <a:gd name="connsiteY8" fmla="*/ 21431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28">
                  <a:moveTo>
                    <a:pt x="-3927" y="21431"/>
                  </a:moveTo>
                  <a:cubicBezTo>
                    <a:pt x="-4034" y="8865"/>
                    <a:pt x="6170" y="-1506"/>
                    <a:pt x="18743" y="-1605"/>
                  </a:cubicBezTo>
                  <a:lnTo>
                    <a:pt x="137599" y="-2565"/>
                  </a:lnTo>
                  <a:cubicBezTo>
                    <a:pt x="150172" y="-2672"/>
                    <a:pt x="160543" y="7539"/>
                    <a:pt x="160643" y="20112"/>
                  </a:cubicBezTo>
                  <a:lnTo>
                    <a:pt x="161206" y="90559"/>
                  </a:lnTo>
                  <a:cubicBezTo>
                    <a:pt x="161313" y="103132"/>
                    <a:pt x="151110" y="113503"/>
                    <a:pt x="138537" y="113602"/>
                  </a:cubicBezTo>
                  <a:lnTo>
                    <a:pt x="19680" y="114562"/>
                  </a:lnTo>
                  <a:cubicBezTo>
                    <a:pt x="7107" y="114661"/>
                    <a:pt x="-3256" y="104458"/>
                    <a:pt x="-3363" y="91885"/>
                  </a:cubicBezTo>
                  <a:lnTo>
                    <a:pt x="-3927" y="2143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B643CC04-384A-E25F-8881-036A046F4E00}"/>
                </a:ext>
              </a:extLst>
            </p:cNvPr>
            <p:cNvSpPr/>
            <p:nvPr/>
          </p:nvSpPr>
          <p:spPr>
            <a:xfrm flipV="1">
              <a:off x="4895467" y="5131314"/>
              <a:ext cx="110008" cy="78021"/>
            </a:xfrm>
            <a:custGeom>
              <a:avLst/>
              <a:gdLst>
                <a:gd name="connsiteX0" fmla="*/ -3681 w 165149"/>
                <a:gd name="connsiteY0" fmla="*/ 21428 h 117128"/>
                <a:gd name="connsiteX1" fmla="*/ 18996 w 165149"/>
                <a:gd name="connsiteY1" fmla="*/ -1607 h 117128"/>
                <a:gd name="connsiteX2" fmla="*/ 137853 w 165149"/>
                <a:gd name="connsiteY2" fmla="*/ -2568 h 117128"/>
                <a:gd name="connsiteX3" fmla="*/ 160896 w 165149"/>
                <a:gd name="connsiteY3" fmla="*/ 20110 h 117128"/>
                <a:gd name="connsiteX4" fmla="*/ 161467 w 165149"/>
                <a:gd name="connsiteY4" fmla="*/ 90564 h 117128"/>
                <a:gd name="connsiteX5" fmla="*/ 138782 w 165149"/>
                <a:gd name="connsiteY5" fmla="*/ 113607 h 117128"/>
                <a:gd name="connsiteX6" fmla="*/ 19933 w 165149"/>
                <a:gd name="connsiteY6" fmla="*/ 114559 h 117128"/>
                <a:gd name="connsiteX7" fmla="*/ -3117 w 165149"/>
                <a:gd name="connsiteY7" fmla="*/ 91890 h 117128"/>
                <a:gd name="connsiteX8" fmla="*/ -3681 w 165149"/>
                <a:gd name="connsiteY8" fmla="*/ 21428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3681" y="21428"/>
                  </a:moveTo>
                  <a:cubicBezTo>
                    <a:pt x="-3788" y="8862"/>
                    <a:pt x="6423" y="-1508"/>
                    <a:pt x="18996" y="-1607"/>
                  </a:cubicBezTo>
                  <a:lnTo>
                    <a:pt x="137853" y="-2568"/>
                  </a:lnTo>
                  <a:cubicBezTo>
                    <a:pt x="150426" y="-2667"/>
                    <a:pt x="160797" y="7537"/>
                    <a:pt x="160896" y="20110"/>
                  </a:cubicBezTo>
                  <a:lnTo>
                    <a:pt x="161467" y="90564"/>
                  </a:lnTo>
                  <a:cubicBezTo>
                    <a:pt x="161566" y="103137"/>
                    <a:pt x="151363" y="113508"/>
                    <a:pt x="138782" y="113607"/>
                  </a:cubicBezTo>
                  <a:lnTo>
                    <a:pt x="19933" y="114559"/>
                  </a:lnTo>
                  <a:cubicBezTo>
                    <a:pt x="7353" y="114658"/>
                    <a:pt x="-3011" y="104455"/>
                    <a:pt x="-3117" y="91890"/>
                  </a:cubicBezTo>
                  <a:lnTo>
                    <a:pt x="-3681" y="2142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C82D08D-2561-23B5-15AD-F6C962B88D1D}"/>
                </a:ext>
              </a:extLst>
            </p:cNvPr>
            <p:cNvSpPr/>
            <p:nvPr/>
          </p:nvSpPr>
          <p:spPr>
            <a:xfrm flipV="1">
              <a:off x="4751578" y="5130152"/>
              <a:ext cx="110008" cy="78026"/>
            </a:xfrm>
            <a:custGeom>
              <a:avLst/>
              <a:gdLst>
                <a:gd name="connsiteX0" fmla="*/ -3436 w 165149"/>
                <a:gd name="connsiteY0" fmla="*/ 21433 h 117136"/>
                <a:gd name="connsiteX1" fmla="*/ 19241 w 165149"/>
                <a:gd name="connsiteY1" fmla="*/ -1610 h 117136"/>
                <a:gd name="connsiteX2" fmla="*/ 138106 w 165149"/>
                <a:gd name="connsiteY2" fmla="*/ -2570 h 117136"/>
                <a:gd name="connsiteX3" fmla="*/ 161149 w 165149"/>
                <a:gd name="connsiteY3" fmla="*/ 20107 h 117136"/>
                <a:gd name="connsiteX4" fmla="*/ 161713 w 165149"/>
                <a:gd name="connsiteY4" fmla="*/ 90561 h 117136"/>
                <a:gd name="connsiteX5" fmla="*/ 139043 w 165149"/>
                <a:gd name="connsiteY5" fmla="*/ 113604 h 117136"/>
                <a:gd name="connsiteX6" fmla="*/ 20179 w 165149"/>
                <a:gd name="connsiteY6" fmla="*/ 114564 h 117136"/>
                <a:gd name="connsiteX7" fmla="*/ -2864 w 165149"/>
                <a:gd name="connsiteY7" fmla="*/ 91887 h 117136"/>
                <a:gd name="connsiteX8" fmla="*/ -3436 w 165149"/>
                <a:gd name="connsiteY8" fmla="*/ 21433 h 11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36">
                  <a:moveTo>
                    <a:pt x="-3436" y="21433"/>
                  </a:moveTo>
                  <a:cubicBezTo>
                    <a:pt x="-3527" y="8860"/>
                    <a:pt x="6668" y="-1511"/>
                    <a:pt x="19241" y="-1610"/>
                  </a:cubicBezTo>
                  <a:lnTo>
                    <a:pt x="138106" y="-2570"/>
                  </a:lnTo>
                  <a:cubicBezTo>
                    <a:pt x="150679" y="-2669"/>
                    <a:pt x="161042" y="7534"/>
                    <a:pt x="161149" y="20107"/>
                  </a:cubicBezTo>
                  <a:lnTo>
                    <a:pt x="161713" y="90561"/>
                  </a:lnTo>
                  <a:cubicBezTo>
                    <a:pt x="161812" y="103134"/>
                    <a:pt x="151608" y="113505"/>
                    <a:pt x="139043" y="113604"/>
                  </a:cubicBezTo>
                  <a:lnTo>
                    <a:pt x="20179" y="114564"/>
                  </a:lnTo>
                  <a:cubicBezTo>
                    <a:pt x="7613" y="114663"/>
                    <a:pt x="-2765" y="104460"/>
                    <a:pt x="-2864" y="91887"/>
                  </a:cubicBezTo>
                  <a:lnTo>
                    <a:pt x="-3436" y="21433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05866837-9A3A-C5E4-333C-64CDCE96731E}"/>
                </a:ext>
              </a:extLst>
            </p:cNvPr>
            <p:cNvSpPr/>
            <p:nvPr/>
          </p:nvSpPr>
          <p:spPr>
            <a:xfrm flipV="1">
              <a:off x="4607700" y="5128995"/>
              <a:ext cx="109999" cy="78021"/>
            </a:xfrm>
            <a:custGeom>
              <a:avLst/>
              <a:gdLst>
                <a:gd name="connsiteX0" fmla="*/ -3190 w 165134"/>
                <a:gd name="connsiteY0" fmla="*/ 21430 h 117128"/>
                <a:gd name="connsiteX1" fmla="*/ 19480 w 165134"/>
                <a:gd name="connsiteY1" fmla="*/ -1620 h 117128"/>
                <a:gd name="connsiteX2" fmla="*/ 138337 w 165134"/>
                <a:gd name="connsiteY2" fmla="*/ -2573 h 117128"/>
                <a:gd name="connsiteX3" fmla="*/ 161379 w 165134"/>
                <a:gd name="connsiteY3" fmla="*/ 20097 h 117128"/>
                <a:gd name="connsiteX4" fmla="*/ 161943 w 165134"/>
                <a:gd name="connsiteY4" fmla="*/ 90552 h 117128"/>
                <a:gd name="connsiteX5" fmla="*/ 139274 w 165134"/>
                <a:gd name="connsiteY5" fmla="*/ 113594 h 117128"/>
                <a:gd name="connsiteX6" fmla="*/ 20417 w 165134"/>
                <a:gd name="connsiteY6" fmla="*/ 114555 h 117128"/>
                <a:gd name="connsiteX7" fmla="*/ -2626 w 165134"/>
                <a:gd name="connsiteY7" fmla="*/ 91877 h 117128"/>
                <a:gd name="connsiteX8" fmla="*/ -3190 w 165134"/>
                <a:gd name="connsiteY8" fmla="*/ 21430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7128">
                  <a:moveTo>
                    <a:pt x="-3190" y="21430"/>
                  </a:moveTo>
                  <a:cubicBezTo>
                    <a:pt x="-3297" y="8850"/>
                    <a:pt x="6907" y="-1513"/>
                    <a:pt x="19480" y="-1620"/>
                  </a:cubicBezTo>
                  <a:lnTo>
                    <a:pt x="138337" y="-2573"/>
                  </a:lnTo>
                  <a:cubicBezTo>
                    <a:pt x="150910" y="-2679"/>
                    <a:pt x="161280" y="7524"/>
                    <a:pt x="161379" y="20097"/>
                  </a:cubicBezTo>
                  <a:lnTo>
                    <a:pt x="161943" y="90552"/>
                  </a:lnTo>
                  <a:cubicBezTo>
                    <a:pt x="162050" y="103125"/>
                    <a:pt x="151847" y="113495"/>
                    <a:pt x="139274" y="113594"/>
                  </a:cubicBezTo>
                  <a:lnTo>
                    <a:pt x="20417" y="114555"/>
                  </a:lnTo>
                  <a:cubicBezTo>
                    <a:pt x="7844" y="114654"/>
                    <a:pt x="-2527" y="104450"/>
                    <a:pt x="-2626" y="91877"/>
                  </a:cubicBezTo>
                  <a:lnTo>
                    <a:pt x="-3190" y="21430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E502F9F8-5267-9B3F-2F1E-C9B1DF068E1A}"/>
                </a:ext>
              </a:extLst>
            </p:cNvPr>
            <p:cNvSpPr/>
            <p:nvPr/>
          </p:nvSpPr>
          <p:spPr>
            <a:xfrm flipV="1">
              <a:off x="4463811" y="5127838"/>
              <a:ext cx="110008" cy="78021"/>
            </a:xfrm>
            <a:custGeom>
              <a:avLst/>
              <a:gdLst>
                <a:gd name="connsiteX0" fmla="*/ -2944 w 165149"/>
                <a:gd name="connsiteY0" fmla="*/ 21428 h 117128"/>
                <a:gd name="connsiteX1" fmla="*/ 19733 w 165149"/>
                <a:gd name="connsiteY1" fmla="*/ -1615 h 117128"/>
                <a:gd name="connsiteX2" fmla="*/ 138590 w 165149"/>
                <a:gd name="connsiteY2" fmla="*/ -2575 h 117128"/>
                <a:gd name="connsiteX3" fmla="*/ 161633 w 165149"/>
                <a:gd name="connsiteY3" fmla="*/ 20102 h 117128"/>
                <a:gd name="connsiteX4" fmla="*/ 162204 w 165149"/>
                <a:gd name="connsiteY4" fmla="*/ 90549 h 117128"/>
                <a:gd name="connsiteX5" fmla="*/ 139519 w 165149"/>
                <a:gd name="connsiteY5" fmla="*/ 113599 h 117128"/>
                <a:gd name="connsiteX6" fmla="*/ 20670 w 165149"/>
                <a:gd name="connsiteY6" fmla="*/ 114552 h 117128"/>
                <a:gd name="connsiteX7" fmla="*/ -2380 w 165149"/>
                <a:gd name="connsiteY7" fmla="*/ 91882 h 117128"/>
                <a:gd name="connsiteX8" fmla="*/ -2944 w 165149"/>
                <a:gd name="connsiteY8" fmla="*/ 21428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9" h="117128">
                  <a:moveTo>
                    <a:pt x="-2944" y="21428"/>
                  </a:moveTo>
                  <a:cubicBezTo>
                    <a:pt x="-3051" y="8855"/>
                    <a:pt x="7160" y="-1516"/>
                    <a:pt x="19733" y="-1615"/>
                  </a:cubicBezTo>
                  <a:lnTo>
                    <a:pt x="138590" y="-2575"/>
                  </a:lnTo>
                  <a:cubicBezTo>
                    <a:pt x="151163" y="-2682"/>
                    <a:pt x="161534" y="7529"/>
                    <a:pt x="161633" y="20102"/>
                  </a:cubicBezTo>
                  <a:lnTo>
                    <a:pt x="162204" y="90549"/>
                  </a:lnTo>
                  <a:cubicBezTo>
                    <a:pt x="162303" y="103122"/>
                    <a:pt x="152100" y="113493"/>
                    <a:pt x="139519" y="113599"/>
                  </a:cubicBezTo>
                  <a:lnTo>
                    <a:pt x="20670" y="114552"/>
                  </a:lnTo>
                  <a:cubicBezTo>
                    <a:pt x="8090" y="114651"/>
                    <a:pt x="-2274" y="104455"/>
                    <a:pt x="-2380" y="91882"/>
                  </a:cubicBezTo>
                  <a:lnTo>
                    <a:pt x="-2944" y="2142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4637670A-FF26-9FAE-9EA6-6155D6A72E9A}"/>
                </a:ext>
              </a:extLst>
            </p:cNvPr>
            <p:cNvSpPr/>
            <p:nvPr/>
          </p:nvSpPr>
          <p:spPr>
            <a:xfrm flipV="1">
              <a:off x="4319927" y="5126680"/>
              <a:ext cx="110004" cy="78021"/>
            </a:xfrm>
            <a:custGeom>
              <a:avLst/>
              <a:gdLst>
                <a:gd name="connsiteX0" fmla="*/ -2698 w 165142"/>
                <a:gd name="connsiteY0" fmla="*/ 21425 h 117128"/>
                <a:gd name="connsiteX1" fmla="*/ 19971 w 165142"/>
                <a:gd name="connsiteY1" fmla="*/ -1618 h 117128"/>
                <a:gd name="connsiteX2" fmla="*/ 138836 w 165142"/>
                <a:gd name="connsiteY2" fmla="*/ -2578 h 117128"/>
                <a:gd name="connsiteX3" fmla="*/ 161879 w 165142"/>
                <a:gd name="connsiteY3" fmla="*/ 20099 h 117128"/>
                <a:gd name="connsiteX4" fmla="*/ 162442 w 165142"/>
                <a:gd name="connsiteY4" fmla="*/ 90554 h 117128"/>
                <a:gd name="connsiteX5" fmla="*/ 139773 w 165142"/>
                <a:gd name="connsiteY5" fmla="*/ 113597 h 117128"/>
                <a:gd name="connsiteX6" fmla="*/ 20909 w 165142"/>
                <a:gd name="connsiteY6" fmla="*/ 114549 h 117128"/>
                <a:gd name="connsiteX7" fmla="*/ -2134 w 165142"/>
                <a:gd name="connsiteY7" fmla="*/ 91880 h 117128"/>
                <a:gd name="connsiteX8" fmla="*/ -2698 w 165142"/>
                <a:gd name="connsiteY8" fmla="*/ 21425 h 11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128">
                  <a:moveTo>
                    <a:pt x="-2698" y="21425"/>
                  </a:moveTo>
                  <a:cubicBezTo>
                    <a:pt x="-2805" y="8852"/>
                    <a:pt x="7398" y="-1519"/>
                    <a:pt x="19971" y="-1618"/>
                  </a:cubicBezTo>
                  <a:lnTo>
                    <a:pt x="138836" y="-2578"/>
                  </a:lnTo>
                  <a:cubicBezTo>
                    <a:pt x="151409" y="-2677"/>
                    <a:pt x="161772" y="7526"/>
                    <a:pt x="161879" y="20099"/>
                  </a:cubicBezTo>
                  <a:lnTo>
                    <a:pt x="162442" y="90554"/>
                  </a:lnTo>
                  <a:cubicBezTo>
                    <a:pt x="162541" y="103127"/>
                    <a:pt x="152338" y="113498"/>
                    <a:pt x="139773" y="113597"/>
                  </a:cubicBezTo>
                  <a:lnTo>
                    <a:pt x="20909" y="114549"/>
                  </a:lnTo>
                  <a:cubicBezTo>
                    <a:pt x="8336" y="114656"/>
                    <a:pt x="-2035" y="104453"/>
                    <a:pt x="-2134" y="91880"/>
                  </a:cubicBezTo>
                  <a:lnTo>
                    <a:pt x="-2698" y="21425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FD6BD94A-697D-02BF-9FE4-36F928CF030F}"/>
                </a:ext>
              </a:extLst>
            </p:cNvPr>
            <p:cNvSpPr/>
            <p:nvPr/>
          </p:nvSpPr>
          <p:spPr>
            <a:xfrm flipV="1">
              <a:off x="5614238" y="5335606"/>
              <a:ext cx="251187" cy="78812"/>
            </a:xfrm>
            <a:custGeom>
              <a:avLst/>
              <a:gdLst>
                <a:gd name="connsiteX0" fmla="*/ -5030 w 377091"/>
                <a:gd name="connsiteY0" fmla="*/ 914 h 118315"/>
                <a:gd name="connsiteX1" fmla="*/ 371132 w 377091"/>
                <a:gd name="connsiteY1" fmla="*/ -2111 h 118315"/>
                <a:gd name="connsiteX2" fmla="*/ 372061 w 377091"/>
                <a:gd name="connsiteY2" fmla="*/ 113172 h 118315"/>
                <a:gd name="connsiteX3" fmla="*/ -4092 w 377091"/>
                <a:gd name="connsiteY3" fmla="*/ 116205 h 118315"/>
                <a:gd name="connsiteX4" fmla="*/ -5030 w 377091"/>
                <a:gd name="connsiteY4" fmla="*/ 914 h 118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7091" h="118315">
                  <a:moveTo>
                    <a:pt x="-5030" y="914"/>
                  </a:moveTo>
                  <a:lnTo>
                    <a:pt x="371132" y="-2111"/>
                  </a:lnTo>
                  <a:lnTo>
                    <a:pt x="372061" y="113172"/>
                  </a:lnTo>
                  <a:lnTo>
                    <a:pt x="-4092" y="116205"/>
                  </a:lnTo>
                  <a:lnTo>
                    <a:pt x="-5030" y="91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E9341766-F593-DDDE-1338-A25C54CD4A64}"/>
                </a:ext>
              </a:extLst>
            </p:cNvPr>
            <p:cNvSpPr/>
            <p:nvPr/>
          </p:nvSpPr>
          <p:spPr>
            <a:xfrm flipV="1">
              <a:off x="4752071" y="5428934"/>
              <a:ext cx="830225" cy="78869"/>
            </a:xfrm>
            <a:custGeom>
              <a:avLst/>
              <a:gdLst>
                <a:gd name="connsiteX0" fmla="*/ -4051 w 1246366"/>
                <a:gd name="connsiteY0" fmla="*/ 30811 h 118401"/>
                <a:gd name="connsiteX1" fmla="*/ 18618 w 1246366"/>
                <a:gd name="connsiteY1" fmla="*/ 7768 h 118401"/>
                <a:gd name="connsiteX2" fmla="*/ 1218768 w 1246366"/>
                <a:gd name="connsiteY2" fmla="*/ -1902 h 118401"/>
                <a:gd name="connsiteX3" fmla="*/ 1241804 w 1246366"/>
                <a:gd name="connsiteY3" fmla="*/ 20775 h 118401"/>
                <a:gd name="connsiteX4" fmla="*/ 1242314 w 1246366"/>
                <a:gd name="connsiteY4" fmla="*/ 83792 h 118401"/>
                <a:gd name="connsiteX5" fmla="*/ 1219645 w 1246366"/>
                <a:gd name="connsiteY5" fmla="*/ 106835 h 118401"/>
                <a:gd name="connsiteX6" fmla="*/ 19502 w 1246366"/>
                <a:gd name="connsiteY6" fmla="*/ 116497 h 118401"/>
                <a:gd name="connsiteX7" fmla="*/ -3548 w 1246366"/>
                <a:gd name="connsiteY7" fmla="*/ 93828 h 118401"/>
                <a:gd name="connsiteX8" fmla="*/ -4051 w 1246366"/>
                <a:gd name="connsiteY8" fmla="*/ 30811 h 118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6366" h="118401">
                  <a:moveTo>
                    <a:pt x="-4051" y="30811"/>
                  </a:moveTo>
                  <a:cubicBezTo>
                    <a:pt x="-4158" y="18238"/>
                    <a:pt x="6053" y="7867"/>
                    <a:pt x="18618" y="7768"/>
                  </a:cubicBezTo>
                  <a:lnTo>
                    <a:pt x="1218768" y="-1902"/>
                  </a:lnTo>
                  <a:cubicBezTo>
                    <a:pt x="1231334" y="-2001"/>
                    <a:pt x="1241704" y="8202"/>
                    <a:pt x="1241804" y="20775"/>
                  </a:cubicBezTo>
                  <a:lnTo>
                    <a:pt x="1242314" y="83792"/>
                  </a:lnTo>
                  <a:cubicBezTo>
                    <a:pt x="1242413" y="96365"/>
                    <a:pt x="1232210" y="106736"/>
                    <a:pt x="1219645" y="106835"/>
                  </a:cubicBezTo>
                  <a:lnTo>
                    <a:pt x="19502" y="116497"/>
                  </a:lnTo>
                  <a:cubicBezTo>
                    <a:pt x="6922" y="116604"/>
                    <a:pt x="-3441" y="106401"/>
                    <a:pt x="-3548" y="93828"/>
                  </a:cubicBezTo>
                  <a:lnTo>
                    <a:pt x="-4051" y="3081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F63CD203-4325-09F0-7639-668C2D48E9CE}"/>
                </a:ext>
              </a:extLst>
            </p:cNvPr>
            <p:cNvSpPr/>
            <p:nvPr/>
          </p:nvSpPr>
          <p:spPr>
            <a:xfrm flipV="1">
              <a:off x="4608359" y="5427777"/>
              <a:ext cx="109247" cy="73062"/>
            </a:xfrm>
            <a:custGeom>
              <a:avLst/>
              <a:gdLst>
                <a:gd name="connsiteX0" fmla="*/ -3190 w 164006"/>
                <a:gd name="connsiteY0" fmla="*/ 22084 h 109683"/>
                <a:gd name="connsiteX1" fmla="*/ 19494 w 164006"/>
                <a:gd name="connsiteY1" fmla="*/ -966 h 109683"/>
                <a:gd name="connsiteX2" fmla="*/ 137261 w 164006"/>
                <a:gd name="connsiteY2" fmla="*/ -1911 h 109683"/>
                <a:gd name="connsiteX3" fmla="*/ 160312 w 164006"/>
                <a:gd name="connsiteY3" fmla="*/ 20766 h 109683"/>
                <a:gd name="connsiteX4" fmla="*/ 160815 w 164006"/>
                <a:gd name="connsiteY4" fmla="*/ 83783 h 109683"/>
                <a:gd name="connsiteX5" fmla="*/ 138138 w 164006"/>
                <a:gd name="connsiteY5" fmla="*/ 106826 h 109683"/>
                <a:gd name="connsiteX6" fmla="*/ 20363 w 164006"/>
                <a:gd name="connsiteY6" fmla="*/ 107771 h 109683"/>
                <a:gd name="connsiteX7" fmla="*/ -2672 w 164006"/>
                <a:gd name="connsiteY7" fmla="*/ 85102 h 109683"/>
                <a:gd name="connsiteX8" fmla="*/ -3190 w 164006"/>
                <a:gd name="connsiteY8" fmla="*/ 22084 h 10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006" h="109683">
                  <a:moveTo>
                    <a:pt x="-3190" y="22084"/>
                  </a:moveTo>
                  <a:cubicBezTo>
                    <a:pt x="-3282" y="9511"/>
                    <a:pt x="6921" y="-860"/>
                    <a:pt x="19494" y="-966"/>
                  </a:cubicBezTo>
                  <a:lnTo>
                    <a:pt x="137261" y="-1911"/>
                  </a:lnTo>
                  <a:cubicBezTo>
                    <a:pt x="149834" y="-2010"/>
                    <a:pt x="160205" y="8193"/>
                    <a:pt x="160312" y="20766"/>
                  </a:cubicBezTo>
                  <a:lnTo>
                    <a:pt x="160815" y="83783"/>
                  </a:lnTo>
                  <a:cubicBezTo>
                    <a:pt x="160922" y="96356"/>
                    <a:pt x="150718" y="106727"/>
                    <a:pt x="138138" y="106826"/>
                  </a:cubicBezTo>
                  <a:lnTo>
                    <a:pt x="20363" y="107771"/>
                  </a:lnTo>
                  <a:cubicBezTo>
                    <a:pt x="7798" y="107878"/>
                    <a:pt x="-2573" y="97675"/>
                    <a:pt x="-2672" y="85102"/>
                  </a:cubicBezTo>
                  <a:lnTo>
                    <a:pt x="-3190" y="22084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67B4336-41DB-7B29-3B0B-E8795836EE16}"/>
                </a:ext>
              </a:extLst>
            </p:cNvPr>
            <p:cNvSpPr/>
            <p:nvPr/>
          </p:nvSpPr>
          <p:spPr>
            <a:xfrm flipV="1">
              <a:off x="4319439" y="5426437"/>
              <a:ext cx="109963" cy="73067"/>
            </a:xfrm>
            <a:custGeom>
              <a:avLst/>
              <a:gdLst>
                <a:gd name="connsiteX0" fmla="*/ -2698 w 165081"/>
                <a:gd name="connsiteY0" fmla="*/ 22089 h 109691"/>
                <a:gd name="connsiteX1" fmla="*/ 19972 w 165081"/>
                <a:gd name="connsiteY1" fmla="*/ -962 h 109691"/>
                <a:gd name="connsiteX2" fmla="*/ 138836 w 165081"/>
                <a:gd name="connsiteY2" fmla="*/ -1914 h 109691"/>
                <a:gd name="connsiteX3" fmla="*/ 161872 w 165081"/>
                <a:gd name="connsiteY3" fmla="*/ 20755 h 109691"/>
                <a:gd name="connsiteX4" fmla="*/ 162382 w 165081"/>
                <a:gd name="connsiteY4" fmla="*/ 83780 h 109691"/>
                <a:gd name="connsiteX5" fmla="*/ 139705 w 165081"/>
                <a:gd name="connsiteY5" fmla="*/ 106824 h 109691"/>
                <a:gd name="connsiteX6" fmla="*/ 20848 w 165081"/>
                <a:gd name="connsiteY6" fmla="*/ 107776 h 109691"/>
                <a:gd name="connsiteX7" fmla="*/ -2194 w 165081"/>
                <a:gd name="connsiteY7" fmla="*/ 85107 h 109691"/>
                <a:gd name="connsiteX8" fmla="*/ -2698 w 165081"/>
                <a:gd name="connsiteY8" fmla="*/ 22089 h 10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1" h="109691">
                  <a:moveTo>
                    <a:pt x="-2698" y="22089"/>
                  </a:moveTo>
                  <a:cubicBezTo>
                    <a:pt x="-2804" y="9508"/>
                    <a:pt x="7399" y="-862"/>
                    <a:pt x="19972" y="-962"/>
                  </a:cubicBezTo>
                  <a:lnTo>
                    <a:pt x="138836" y="-1914"/>
                  </a:lnTo>
                  <a:cubicBezTo>
                    <a:pt x="151402" y="-2021"/>
                    <a:pt x="161780" y="8182"/>
                    <a:pt x="161872" y="20755"/>
                  </a:cubicBezTo>
                  <a:lnTo>
                    <a:pt x="162382" y="83780"/>
                  </a:lnTo>
                  <a:cubicBezTo>
                    <a:pt x="162481" y="96353"/>
                    <a:pt x="152278" y="106717"/>
                    <a:pt x="139705" y="106824"/>
                  </a:cubicBezTo>
                  <a:lnTo>
                    <a:pt x="20848" y="107776"/>
                  </a:lnTo>
                  <a:cubicBezTo>
                    <a:pt x="8275" y="107875"/>
                    <a:pt x="-2096" y="97672"/>
                    <a:pt x="-2194" y="85107"/>
                  </a:cubicBezTo>
                  <a:lnTo>
                    <a:pt x="-2698" y="2208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A01320EA-BB2D-10CB-AC29-AB543C1453F2}"/>
                </a:ext>
              </a:extLst>
            </p:cNvPr>
            <p:cNvSpPr/>
            <p:nvPr/>
          </p:nvSpPr>
          <p:spPr>
            <a:xfrm flipV="1">
              <a:off x="4464764" y="5426615"/>
              <a:ext cx="109968" cy="73072"/>
            </a:xfrm>
            <a:custGeom>
              <a:avLst/>
              <a:gdLst>
                <a:gd name="connsiteX0" fmla="*/ -2946 w 165088"/>
                <a:gd name="connsiteY0" fmla="*/ 22082 h 109699"/>
                <a:gd name="connsiteX1" fmla="*/ 19731 w 165088"/>
                <a:gd name="connsiteY1" fmla="*/ -953 h 109699"/>
                <a:gd name="connsiteX2" fmla="*/ 138596 w 165088"/>
                <a:gd name="connsiteY2" fmla="*/ -1914 h 109699"/>
                <a:gd name="connsiteX3" fmla="*/ 161631 w 165088"/>
                <a:gd name="connsiteY3" fmla="*/ 20764 h 109699"/>
                <a:gd name="connsiteX4" fmla="*/ 162141 w 165088"/>
                <a:gd name="connsiteY4" fmla="*/ 83781 h 109699"/>
                <a:gd name="connsiteX5" fmla="*/ 139465 w 165088"/>
                <a:gd name="connsiteY5" fmla="*/ 106824 h 109699"/>
                <a:gd name="connsiteX6" fmla="*/ 20608 w 165088"/>
                <a:gd name="connsiteY6" fmla="*/ 107784 h 109699"/>
                <a:gd name="connsiteX7" fmla="*/ -2435 w 165088"/>
                <a:gd name="connsiteY7" fmla="*/ 85107 h 109699"/>
                <a:gd name="connsiteX8" fmla="*/ -2946 w 165088"/>
                <a:gd name="connsiteY8" fmla="*/ 22082 h 1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8" h="109699">
                  <a:moveTo>
                    <a:pt x="-2946" y="22082"/>
                  </a:moveTo>
                  <a:cubicBezTo>
                    <a:pt x="-3045" y="9509"/>
                    <a:pt x="7166" y="-855"/>
                    <a:pt x="19731" y="-953"/>
                  </a:cubicBezTo>
                  <a:lnTo>
                    <a:pt x="138596" y="-1914"/>
                  </a:lnTo>
                  <a:cubicBezTo>
                    <a:pt x="151161" y="-2020"/>
                    <a:pt x="161532" y="8191"/>
                    <a:pt x="161631" y="20764"/>
                  </a:cubicBezTo>
                  <a:lnTo>
                    <a:pt x="162141" y="83781"/>
                  </a:lnTo>
                  <a:cubicBezTo>
                    <a:pt x="162241" y="96346"/>
                    <a:pt x="152038" y="106717"/>
                    <a:pt x="139465" y="106824"/>
                  </a:cubicBezTo>
                  <a:lnTo>
                    <a:pt x="20608" y="107784"/>
                  </a:lnTo>
                  <a:cubicBezTo>
                    <a:pt x="8035" y="107883"/>
                    <a:pt x="-2336" y="97680"/>
                    <a:pt x="-2435" y="85107"/>
                  </a:cubicBezTo>
                  <a:lnTo>
                    <a:pt x="-2946" y="2208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35388CC2-C060-E81D-6A28-5C3A8982517D}"/>
                </a:ext>
              </a:extLst>
            </p:cNvPr>
            <p:cNvSpPr/>
            <p:nvPr/>
          </p:nvSpPr>
          <p:spPr>
            <a:xfrm flipV="1">
              <a:off x="5613486" y="5436360"/>
              <a:ext cx="109968" cy="73077"/>
            </a:xfrm>
            <a:custGeom>
              <a:avLst/>
              <a:gdLst>
                <a:gd name="connsiteX0" fmla="*/ -4907 w 165088"/>
                <a:gd name="connsiteY0" fmla="*/ 22119 h 109706"/>
                <a:gd name="connsiteX1" fmla="*/ 17770 w 165088"/>
                <a:gd name="connsiteY1" fmla="*/ -932 h 109706"/>
                <a:gd name="connsiteX2" fmla="*/ 136627 w 165088"/>
                <a:gd name="connsiteY2" fmla="*/ -1892 h 109706"/>
                <a:gd name="connsiteX3" fmla="*/ 159670 w 165088"/>
                <a:gd name="connsiteY3" fmla="*/ 20793 h 109706"/>
                <a:gd name="connsiteX4" fmla="*/ 160180 w 165088"/>
                <a:gd name="connsiteY4" fmla="*/ 83810 h 109706"/>
                <a:gd name="connsiteX5" fmla="*/ 137496 w 165088"/>
                <a:gd name="connsiteY5" fmla="*/ 106853 h 109706"/>
                <a:gd name="connsiteX6" fmla="*/ 18646 w 165088"/>
                <a:gd name="connsiteY6" fmla="*/ 107813 h 109706"/>
                <a:gd name="connsiteX7" fmla="*/ -4404 w 165088"/>
                <a:gd name="connsiteY7" fmla="*/ 85136 h 109706"/>
                <a:gd name="connsiteX8" fmla="*/ -4907 w 165088"/>
                <a:gd name="connsiteY8" fmla="*/ 22119 h 109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8" h="109706">
                  <a:moveTo>
                    <a:pt x="-4907" y="22119"/>
                  </a:moveTo>
                  <a:cubicBezTo>
                    <a:pt x="-5013" y="9546"/>
                    <a:pt x="5197" y="-825"/>
                    <a:pt x="17770" y="-932"/>
                  </a:cubicBezTo>
                  <a:lnTo>
                    <a:pt x="136627" y="-1892"/>
                  </a:lnTo>
                  <a:cubicBezTo>
                    <a:pt x="149200" y="-1991"/>
                    <a:pt x="159571" y="8220"/>
                    <a:pt x="159670" y="20793"/>
                  </a:cubicBezTo>
                  <a:lnTo>
                    <a:pt x="160180" y="83810"/>
                  </a:lnTo>
                  <a:cubicBezTo>
                    <a:pt x="160280" y="96383"/>
                    <a:pt x="150076" y="106746"/>
                    <a:pt x="137496" y="106853"/>
                  </a:cubicBezTo>
                  <a:lnTo>
                    <a:pt x="18646" y="107813"/>
                  </a:lnTo>
                  <a:cubicBezTo>
                    <a:pt x="6066" y="107912"/>
                    <a:pt x="-4297" y="97701"/>
                    <a:pt x="-4404" y="85136"/>
                  </a:cubicBezTo>
                  <a:lnTo>
                    <a:pt x="-4907" y="2211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3F0B9666-0B84-F3D4-9285-5B6EF4D6FF6D}"/>
                </a:ext>
              </a:extLst>
            </p:cNvPr>
            <p:cNvSpPr/>
            <p:nvPr/>
          </p:nvSpPr>
          <p:spPr>
            <a:xfrm flipV="1">
              <a:off x="5758817" y="5436548"/>
              <a:ext cx="109968" cy="73067"/>
            </a:xfrm>
            <a:custGeom>
              <a:avLst/>
              <a:gdLst>
                <a:gd name="connsiteX0" fmla="*/ -5155 w 165088"/>
                <a:gd name="connsiteY0" fmla="*/ 22111 h 109691"/>
                <a:gd name="connsiteX1" fmla="*/ 17514 w 165088"/>
                <a:gd name="connsiteY1" fmla="*/ -939 h 109691"/>
                <a:gd name="connsiteX2" fmla="*/ 136378 w 165088"/>
                <a:gd name="connsiteY2" fmla="*/ -1892 h 109691"/>
                <a:gd name="connsiteX3" fmla="*/ 159414 w 165088"/>
                <a:gd name="connsiteY3" fmla="*/ 20786 h 109691"/>
                <a:gd name="connsiteX4" fmla="*/ 159932 w 165088"/>
                <a:gd name="connsiteY4" fmla="*/ 83803 h 109691"/>
                <a:gd name="connsiteX5" fmla="*/ 137247 w 165088"/>
                <a:gd name="connsiteY5" fmla="*/ 106846 h 109691"/>
                <a:gd name="connsiteX6" fmla="*/ 18398 w 165088"/>
                <a:gd name="connsiteY6" fmla="*/ 107798 h 109691"/>
                <a:gd name="connsiteX7" fmla="*/ -4653 w 165088"/>
                <a:gd name="connsiteY7" fmla="*/ 85129 h 109691"/>
                <a:gd name="connsiteX8" fmla="*/ -5155 w 165088"/>
                <a:gd name="connsiteY8" fmla="*/ 22111 h 10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8" h="109691">
                  <a:moveTo>
                    <a:pt x="-5155" y="22111"/>
                  </a:moveTo>
                  <a:cubicBezTo>
                    <a:pt x="-5262" y="9538"/>
                    <a:pt x="4949" y="-832"/>
                    <a:pt x="17514" y="-939"/>
                  </a:cubicBezTo>
                  <a:lnTo>
                    <a:pt x="136378" y="-1892"/>
                  </a:lnTo>
                  <a:cubicBezTo>
                    <a:pt x="148944" y="-1991"/>
                    <a:pt x="159322" y="8213"/>
                    <a:pt x="159414" y="20786"/>
                  </a:cubicBezTo>
                  <a:lnTo>
                    <a:pt x="159932" y="83803"/>
                  </a:lnTo>
                  <a:cubicBezTo>
                    <a:pt x="160024" y="96376"/>
                    <a:pt x="149828" y="106747"/>
                    <a:pt x="137247" y="106846"/>
                  </a:cubicBezTo>
                  <a:lnTo>
                    <a:pt x="18398" y="107798"/>
                  </a:lnTo>
                  <a:cubicBezTo>
                    <a:pt x="5818" y="107905"/>
                    <a:pt x="-4546" y="97702"/>
                    <a:pt x="-4653" y="85129"/>
                  </a:cubicBezTo>
                  <a:lnTo>
                    <a:pt x="-5155" y="22111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A5628FAE-E7D8-6A17-ACCF-F3485F1AC9F1}"/>
                </a:ext>
              </a:extLst>
            </p:cNvPr>
            <p:cNvSpPr/>
            <p:nvPr/>
          </p:nvSpPr>
          <p:spPr>
            <a:xfrm flipV="1">
              <a:off x="4405205" y="5225389"/>
              <a:ext cx="109999" cy="77178"/>
            </a:xfrm>
            <a:custGeom>
              <a:avLst/>
              <a:gdLst>
                <a:gd name="connsiteX0" fmla="*/ -2844 w 165134"/>
                <a:gd name="connsiteY0" fmla="*/ 21645 h 115863"/>
                <a:gd name="connsiteX1" fmla="*/ 19833 w 165134"/>
                <a:gd name="connsiteY1" fmla="*/ -1406 h 115863"/>
                <a:gd name="connsiteX2" fmla="*/ 138682 w 165134"/>
                <a:gd name="connsiteY2" fmla="*/ -2358 h 115863"/>
                <a:gd name="connsiteX3" fmla="*/ 161733 w 165134"/>
                <a:gd name="connsiteY3" fmla="*/ 20319 h 115863"/>
                <a:gd name="connsiteX4" fmla="*/ 162289 w 165134"/>
                <a:gd name="connsiteY4" fmla="*/ 89501 h 115863"/>
                <a:gd name="connsiteX5" fmla="*/ 139612 w 165134"/>
                <a:gd name="connsiteY5" fmla="*/ 112551 h 115863"/>
                <a:gd name="connsiteX6" fmla="*/ 20755 w 165134"/>
                <a:gd name="connsiteY6" fmla="*/ 113504 h 115863"/>
                <a:gd name="connsiteX7" fmla="*/ -2295 w 165134"/>
                <a:gd name="connsiteY7" fmla="*/ 90827 h 115863"/>
                <a:gd name="connsiteX8" fmla="*/ -2844 w 165134"/>
                <a:gd name="connsiteY8" fmla="*/ 21645 h 11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4" h="115863">
                  <a:moveTo>
                    <a:pt x="-2844" y="21645"/>
                  </a:moveTo>
                  <a:cubicBezTo>
                    <a:pt x="-2951" y="9072"/>
                    <a:pt x="7252" y="-1299"/>
                    <a:pt x="19833" y="-1406"/>
                  </a:cubicBezTo>
                  <a:lnTo>
                    <a:pt x="138682" y="-2358"/>
                  </a:lnTo>
                  <a:cubicBezTo>
                    <a:pt x="151263" y="-2457"/>
                    <a:pt x="161626" y="7746"/>
                    <a:pt x="161733" y="20319"/>
                  </a:cubicBezTo>
                  <a:lnTo>
                    <a:pt x="162289" y="89501"/>
                  </a:lnTo>
                  <a:cubicBezTo>
                    <a:pt x="162388" y="102074"/>
                    <a:pt x="152185" y="112445"/>
                    <a:pt x="139612" y="112551"/>
                  </a:cubicBezTo>
                  <a:lnTo>
                    <a:pt x="20755" y="113504"/>
                  </a:lnTo>
                  <a:cubicBezTo>
                    <a:pt x="8182" y="113603"/>
                    <a:pt x="-2189" y="103400"/>
                    <a:pt x="-2295" y="90827"/>
                  </a:cubicBezTo>
                  <a:lnTo>
                    <a:pt x="-2844" y="21645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751A5305-2945-6921-3051-5B6029384866}"/>
                </a:ext>
              </a:extLst>
            </p:cNvPr>
            <p:cNvSpPr/>
            <p:nvPr/>
          </p:nvSpPr>
          <p:spPr>
            <a:xfrm flipV="1">
              <a:off x="5672279" y="5137568"/>
              <a:ext cx="110004" cy="77986"/>
            </a:xfrm>
            <a:custGeom>
              <a:avLst/>
              <a:gdLst>
                <a:gd name="connsiteX0" fmla="*/ -5007 w 165142"/>
                <a:gd name="connsiteY0" fmla="*/ 21449 h 117075"/>
                <a:gd name="connsiteX1" fmla="*/ 17670 w 165142"/>
                <a:gd name="connsiteY1" fmla="*/ -1594 h 117075"/>
                <a:gd name="connsiteX2" fmla="*/ 136519 w 165142"/>
                <a:gd name="connsiteY2" fmla="*/ -2554 h 117075"/>
                <a:gd name="connsiteX3" fmla="*/ 159569 w 165142"/>
                <a:gd name="connsiteY3" fmla="*/ 20131 h 117075"/>
                <a:gd name="connsiteX4" fmla="*/ 160133 w 165142"/>
                <a:gd name="connsiteY4" fmla="*/ 90517 h 117075"/>
                <a:gd name="connsiteX5" fmla="*/ 137456 w 165142"/>
                <a:gd name="connsiteY5" fmla="*/ 113560 h 117075"/>
                <a:gd name="connsiteX6" fmla="*/ 18607 w 165142"/>
                <a:gd name="connsiteY6" fmla="*/ 114520 h 117075"/>
                <a:gd name="connsiteX7" fmla="*/ -4443 w 165142"/>
                <a:gd name="connsiteY7" fmla="*/ 91843 h 117075"/>
                <a:gd name="connsiteX8" fmla="*/ -5007 w 165142"/>
                <a:gd name="connsiteY8" fmla="*/ 21449 h 117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42" h="117075">
                  <a:moveTo>
                    <a:pt x="-5007" y="21449"/>
                  </a:moveTo>
                  <a:cubicBezTo>
                    <a:pt x="-5114" y="8876"/>
                    <a:pt x="5089" y="-1487"/>
                    <a:pt x="17670" y="-1594"/>
                  </a:cubicBezTo>
                  <a:lnTo>
                    <a:pt x="136519" y="-2554"/>
                  </a:lnTo>
                  <a:cubicBezTo>
                    <a:pt x="149100" y="-2653"/>
                    <a:pt x="159463" y="7550"/>
                    <a:pt x="159569" y="20131"/>
                  </a:cubicBezTo>
                  <a:lnTo>
                    <a:pt x="160133" y="90517"/>
                  </a:lnTo>
                  <a:cubicBezTo>
                    <a:pt x="160232" y="103090"/>
                    <a:pt x="150037" y="113461"/>
                    <a:pt x="137456" y="113560"/>
                  </a:cubicBezTo>
                  <a:lnTo>
                    <a:pt x="18607" y="114520"/>
                  </a:lnTo>
                  <a:cubicBezTo>
                    <a:pt x="6026" y="114619"/>
                    <a:pt x="-4337" y="104416"/>
                    <a:pt x="-4443" y="91843"/>
                  </a:cubicBezTo>
                  <a:lnTo>
                    <a:pt x="-5007" y="21449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7E14E306-60AA-8881-4FD3-58101E076E0B}"/>
                </a:ext>
              </a:extLst>
            </p:cNvPr>
            <p:cNvSpPr/>
            <p:nvPr/>
          </p:nvSpPr>
          <p:spPr>
            <a:xfrm flipV="1">
              <a:off x="5758309" y="5193706"/>
              <a:ext cx="110059" cy="63123"/>
            </a:xfrm>
            <a:custGeom>
              <a:avLst/>
              <a:gdLst>
                <a:gd name="connsiteX0" fmla="*/ -5154 w 165225"/>
                <a:gd name="connsiteY0" fmla="*/ 21558 h 94763"/>
                <a:gd name="connsiteX1" fmla="*/ 17523 w 165225"/>
                <a:gd name="connsiteY1" fmla="*/ -1485 h 94763"/>
                <a:gd name="connsiteX2" fmla="*/ 136638 w 165225"/>
                <a:gd name="connsiteY2" fmla="*/ -2445 h 94763"/>
                <a:gd name="connsiteX3" fmla="*/ 159681 w 165225"/>
                <a:gd name="connsiteY3" fmla="*/ 20232 h 94763"/>
                <a:gd name="connsiteX4" fmla="*/ 160070 w 165225"/>
                <a:gd name="connsiteY4" fmla="*/ 68314 h 94763"/>
                <a:gd name="connsiteX5" fmla="*/ 137385 w 165225"/>
                <a:gd name="connsiteY5" fmla="*/ 91358 h 94763"/>
                <a:gd name="connsiteX6" fmla="*/ 18269 w 165225"/>
                <a:gd name="connsiteY6" fmla="*/ 92317 h 94763"/>
                <a:gd name="connsiteX7" fmla="*/ -4766 w 165225"/>
                <a:gd name="connsiteY7" fmla="*/ 69648 h 94763"/>
                <a:gd name="connsiteX8" fmla="*/ -5154 w 165225"/>
                <a:gd name="connsiteY8" fmla="*/ 21558 h 9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225" h="94763">
                  <a:moveTo>
                    <a:pt x="-5154" y="21558"/>
                  </a:moveTo>
                  <a:cubicBezTo>
                    <a:pt x="-5261" y="8985"/>
                    <a:pt x="4942" y="-1386"/>
                    <a:pt x="17523" y="-1485"/>
                  </a:cubicBezTo>
                  <a:lnTo>
                    <a:pt x="136638" y="-2445"/>
                  </a:lnTo>
                  <a:cubicBezTo>
                    <a:pt x="149204" y="-2552"/>
                    <a:pt x="159575" y="7659"/>
                    <a:pt x="159681" y="20232"/>
                  </a:cubicBezTo>
                  <a:lnTo>
                    <a:pt x="160070" y="68314"/>
                  </a:lnTo>
                  <a:cubicBezTo>
                    <a:pt x="160161" y="80887"/>
                    <a:pt x="149966" y="91258"/>
                    <a:pt x="137385" y="91358"/>
                  </a:cubicBezTo>
                  <a:lnTo>
                    <a:pt x="18269" y="92317"/>
                  </a:lnTo>
                  <a:cubicBezTo>
                    <a:pt x="5704" y="92417"/>
                    <a:pt x="-4667" y="82214"/>
                    <a:pt x="-4766" y="69648"/>
                  </a:cubicBezTo>
                  <a:lnTo>
                    <a:pt x="-5154" y="2155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7BA48884-202A-F0A8-C60D-F8D306CC72C5}"/>
                </a:ext>
              </a:extLst>
            </p:cNvPr>
            <p:cNvSpPr/>
            <p:nvPr/>
          </p:nvSpPr>
          <p:spPr>
            <a:xfrm flipV="1">
              <a:off x="4463562" y="4939560"/>
              <a:ext cx="109968" cy="73072"/>
            </a:xfrm>
            <a:custGeom>
              <a:avLst/>
              <a:gdLst>
                <a:gd name="connsiteX0" fmla="*/ -2944 w 165088"/>
                <a:gd name="connsiteY0" fmla="*/ 21002 h 109698"/>
                <a:gd name="connsiteX1" fmla="*/ 19733 w 165088"/>
                <a:gd name="connsiteY1" fmla="*/ -2041 h 109698"/>
                <a:gd name="connsiteX2" fmla="*/ 138590 w 165088"/>
                <a:gd name="connsiteY2" fmla="*/ -3001 h 109698"/>
                <a:gd name="connsiteX3" fmla="*/ 161641 w 165088"/>
                <a:gd name="connsiteY3" fmla="*/ 19676 h 109698"/>
                <a:gd name="connsiteX4" fmla="*/ 162144 w 165088"/>
                <a:gd name="connsiteY4" fmla="*/ 82701 h 109698"/>
                <a:gd name="connsiteX5" fmla="*/ 139474 w 165088"/>
                <a:gd name="connsiteY5" fmla="*/ 105744 h 109698"/>
                <a:gd name="connsiteX6" fmla="*/ 20610 w 165088"/>
                <a:gd name="connsiteY6" fmla="*/ 106696 h 109698"/>
                <a:gd name="connsiteX7" fmla="*/ -2426 w 165088"/>
                <a:gd name="connsiteY7" fmla="*/ 84019 h 109698"/>
                <a:gd name="connsiteX8" fmla="*/ -2944 w 165088"/>
                <a:gd name="connsiteY8" fmla="*/ 21002 h 109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8" h="109698">
                  <a:moveTo>
                    <a:pt x="-2944" y="21002"/>
                  </a:moveTo>
                  <a:cubicBezTo>
                    <a:pt x="-3043" y="8429"/>
                    <a:pt x="7160" y="-1942"/>
                    <a:pt x="19733" y="-2041"/>
                  </a:cubicBezTo>
                  <a:lnTo>
                    <a:pt x="138590" y="-3001"/>
                  </a:lnTo>
                  <a:cubicBezTo>
                    <a:pt x="151171" y="-3100"/>
                    <a:pt x="161534" y="7103"/>
                    <a:pt x="161641" y="19676"/>
                  </a:cubicBezTo>
                  <a:lnTo>
                    <a:pt x="162144" y="82701"/>
                  </a:lnTo>
                  <a:cubicBezTo>
                    <a:pt x="162242" y="95266"/>
                    <a:pt x="152039" y="105637"/>
                    <a:pt x="139474" y="105744"/>
                  </a:cubicBezTo>
                  <a:lnTo>
                    <a:pt x="20610" y="106696"/>
                  </a:lnTo>
                  <a:cubicBezTo>
                    <a:pt x="8044" y="106795"/>
                    <a:pt x="-2334" y="96592"/>
                    <a:pt x="-2426" y="84019"/>
                  </a:cubicBezTo>
                  <a:lnTo>
                    <a:pt x="-2944" y="2100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25606030-1792-E787-BC76-20DC9FBADACB}"/>
                </a:ext>
              </a:extLst>
            </p:cNvPr>
            <p:cNvSpPr/>
            <p:nvPr/>
          </p:nvSpPr>
          <p:spPr>
            <a:xfrm flipV="1">
              <a:off x="5039758" y="4942382"/>
              <a:ext cx="109963" cy="73072"/>
            </a:xfrm>
            <a:custGeom>
              <a:avLst/>
              <a:gdLst>
                <a:gd name="connsiteX0" fmla="*/ -3927 w 165081"/>
                <a:gd name="connsiteY0" fmla="*/ 21008 h 109699"/>
                <a:gd name="connsiteX1" fmla="*/ 18742 w 165081"/>
                <a:gd name="connsiteY1" fmla="*/ -2035 h 109699"/>
                <a:gd name="connsiteX2" fmla="*/ 137599 w 165081"/>
                <a:gd name="connsiteY2" fmla="*/ -2995 h 109699"/>
                <a:gd name="connsiteX3" fmla="*/ 160642 w 165081"/>
                <a:gd name="connsiteY3" fmla="*/ 19682 h 109699"/>
                <a:gd name="connsiteX4" fmla="*/ 161152 w 165081"/>
                <a:gd name="connsiteY4" fmla="*/ 82700 h 109699"/>
                <a:gd name="connsiteX5" fmla="*/ 138475 w 165081"/>
                <a:gd name="connsiteY5" fmla="*/ 105742 h 109699"/>
                <a:gd name="connsiteX6" fmla="*/ 19626 w 165081"/>
                <a:gd name="connsiteY6" fmla="*/ 106703 h 109699"/>
                <a:gd name="connsiteX7" fmla="*/ -3424 w 165081"/>
                <a:gd name="connsiteY7" fmla="*/ 84025 h 109699"/>
                <a:gd name="connsiteX8" fmla="*/ -3927 w 165081"/>
                <a:gd name="connsiteY8" fmla="*/ 21008 h 1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81" h="109699">
                  <a:moveTo>
                    <a:pt x="-3927" y="21008"/>
                  </a:moveTo>
                  <a:cubicBezTo>
                    <a:pt x="-4034" y="8435"/>
                    <a:pt x="6169" y="-1928"/>
                    <a:pt x="18742" y="-2035"/>
                  </a:cubicBezTo>
                  <a:lnTo>
                    <a:pt x="137599" y="-2995"/>
                  </a:lnTo>
                  <a:cubicBezTo>
                    <a:pt x="150172" y="-3094"/>
                    <a:pt x="160543" y="7109"/>
                    <a:pt x="160642" y="19682"/>
                  </a:cubicBezTo>
                  <a:lnTo>
                    <a:pt x="161152" y="82700"/>
                  </a:lnTo>
                  <a:cubicBezTo>
                    <a:pt x="161251" y="95273"/>
                    <a:pt x="151056" y="105643"/>
                    <a:pt x="138475" y="105742"/>
                  </a:cubicBezTo>
                  <a:lnTo>
                    <a:pt x="19626" y="106703"/>
                  </a:lnTo>
                  <a:cubicBezTo>
                    <a:pt x="7045" y="106809"/>
                    <a:pt x="-3325" y="96598"/>
                    <a:pt x="-3424" y="84025"/>
                  </a:cubicBezTo>
                  <a:lnTo>
                    <a:pt x="-3927" y="21008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DA3B9B1B-6354-DEE6-22CF-93B959289B29}"/>
                </a:ext>
              </a:extLst>
            </p:cNvPr>
            <p:cNvSpPr/>
            <p:nvPr/>
          </p:nvSpPr>
          <p:spPr>
            <a:xfrm flipV="1">
              <a:off x="5617811" y="4948829"/>
              <a:ext cx="109973" cy="73072"/>
            </a:xfrm>
            <a:custGeom>
              <a:avLst/>
              <a:gdLst>
                <a:gd name="connsiteX0" fmla="*/ -4915 w 165096"/>
                <a:gd name="connsiteY0" fmla="*/ 21022 h 109699"/>
                <a:gd name="connsiteX1" fmla="*/ 17763 w 165096"/>
                <a:gd name="connsiteY1" fmla="*/ -2020 h 109699"/>
                <a:gd name="connsiteX2" fmla="*/ 136627 w 165096"/>
                <a:gd name="connsiteY2" fmla="*/ -2981 h 109699"/>
                <a:gd name="connsiteX3" fmla="*/ 159662 w 165096"/>
                <a:gd name="connsiteY3" fmla="*/ 19697 h 109699"/>
                <a:gd name="connsiteX4" fmla="*/ 160180 w 165096"/>
                <a:gd name="connsiteY4" fmla="*/ 82714 h 109699"/>
                <a:gd name="connsiteX5" fmla="*/ 137496 w 165096"/>
                <a:gd name="connsiteY5" fmla="*/ 105757 h 109699"/>
                <a:gd name="connsiteX6" fmla="*/ 18639 w 165096"/>
                <a:gd name="connsiteY6" fmla="*/ 106717 h 109699"/>
                <a:gd name="connsiteX7" fmla="*/ -4404 w 165096"/>
                <a:gd name="connsiteY7" fmla="*/ 84040 h 109699"/>
                <a:gd name="connsiteX8" fmla="*/ -4915 w 165096"/>
                <a:gd name="connsiteY8" fmla="*/ 21022 h 1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096" h="109699">
                  <a:moveTo>
                    <a:pt x="-4915" y="21022"/>
                  </a:moveTo>
                  <a:cubicBezTo>
                    <a:pt x="-5014" y="8449"/>
                    <a:pt x="5197" y="-1921"/>
                    <a:pt x="17763" y="-2020"/>
                  </a:cubicBezTo>
                  <a:lnTo>
                    <a:pt x="136627" y="-2981"/>
                  </a:lnTo>
                  <a:cubicBezTo>
                    <a:pt x="149193" y="-3080"/>
                    <a:pt x="159563" y="7124"/>
                    <a:pt x="159662" y="19697"/>
                  </a:cubicBezTo>
                  <a:lnTo>
                    <a:pt x="160180" y="82714"/>
                  </a:lnTo>
                  <a:cubicBezTo>
                    <a:pt x="160272" y="95287"/>
                    <a:pt x="150069" y="105658"/>
                    <a:pt x="137496" y="105757"/>
                  </a:cubicBezTo>
                  <a:lnTo>
                    <a:pt x="18639" y="106717"/>
                  </a:lnTo>
                  <a:cubicBezTo>
                    <a:pt x="6066" y="106824"/>
                    <a:pt x="-4297" y="96613"/>
                    <a:pt x="-4404" y="84040"/>
                  </a:cubicBezTo>
                  <a:lnTo>
                    <a:pt x="-4915" y="21022"/>
                  </a:lnTo>
                </a:path>
              </a:pathLst>
            </a:custGeom>
            <a:solidFill>
              <a:srgbClr val="98969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79672C04-4F7F-B195-5FE9-13907A993655}"/>
                </a:ext>
              </a:extLst>
            </p:cNvPr>
            <p:cNvSpPr/>
            <p:nvPr/>
          </p:nvSpPr>
          <p:spPr>
            <a:xfrm flipV="1">
              <a:off x="4420844" y="5281564"/>
              <a:ext cx="460414" cy="273408"/>
            </a:xfrm>
            <a:custGeom>
              <a:avLst/>
              <a:gdLst>
                <a:gd name="connsiteX0" fmla="*/ 488716 w 691192"/>
                <a:gd name="connsiteY0" fmla="*/ -2015 h 410451"/>
                <a:gd name="connsiteX1" fmla="*/ 367969 w 691192"/>
                <a:gd name="connsiteY1" fmla="*/ -1047 h 410451"/>
                <a:gd name="connsiteX2" fmla="*/ 369508 w 691192"/>
                <a:gd name="connsiteY2" fmla="*/ -689 h 410451"/>
                <a:gd name="connsiteX3" fmla="*/ 415061 w 691192"/>
                <a:gd name="connsiteY3" fmla="*/ 79283 h 410451"/>
                <a:gd name="connsiteX4" fmla="*/ 418787 w 691192"/>
                <a:gd name="connsiteY4" fmla="*/ 79253 h 410451"/>
                <a:gd name="connsiteX5" fmla="*/ 418970 w 691192"/>
                <a:gd name="connsiteY5" fmla="*/ 79253 h 410451"/>
                <a:gd name="connsiteX6" fmla="*/ 441837 w 691192"/>
                <a:gd name="connsiteY6" fmla="*/ 101930 h 410451"/>
                <a:gd name="connsiteX7" fmla="*/ 441982 w 691192"/>
                <a:gd name="connsiteY7" fmla="*/ 119959 h 410451"/>
                <a:gd name="connsiteX8" fmla="*/ 525436 w 691192"/>
                <a:gd name="connsiteY8" fmla="*/ 221640 h 410451"/>
                <a:gd name="connsiteX9" fmla="*/ 633701 w 691192"/>
                <a:gd name="connsiteY9" fmla="*/ 220764 h 410451"/>
                <a:gd name="connsiteX10" fmla="*/ 633892 w 691192"/>
                <a:gd name="connsiteY10" fmla="*/ 220764 h 410451"/>
                <a:gd name="connsiteX11" fmla="*/ 656752 w 691192"/>
                <a:gd name="connsiteY11" fmla="*/ 243441 h 410451"/>
                <a:gd name="connsiteX12" fmla="*/ 657209 w 691192"/>
                <a:gd name="connsiteY12" fmla="*/ 300743 h 410451"/>
                <a:gd name="connsiteX13" fmla="*/ 675604 w 691192"/>
                <a:gd name="connsiteY13" fmla="*/ 286814 h 410451"/>
                <a:gd name="connsiteX14" fmla="*/ 669439 w 691192"/>
                <a:gd name="connsiteY14" fmla="*/ 212747 h 410451"/>
                <a:gd name="connsiteX15" fmla="*/ 639363 w 691192"/>
                <a:gd name="connsiteY15" fmla="*/ 186222 h 410451"/>
                <a:gd name="connsiteX16" fmla="*/ 517633 w 691192"/>
                <a:gd name="connsiteY16" fmla="*/ 187198 h 410451"/>
                <a:gd name="connsiteX17" fmla="*/ 517443 w 691192"/>
                <a:gd name="connsiteY17" fmla="*/ 187205 h 410451"/>
                <a:gd name="connsiteX18" fmla="*/ 494583 w 691192"/>
                <a:gd name="connsiteY18" fmla="*/ 164528 h 410451"/>
                <a:gd name="connsiteX19" fmla="*/ 494080 w 691192"/>
                <a:gd name="connsiteY19" fmla="*/ 101511 h 410451"/>
                <a:gd name="connsiteX20" fmla="*/ 516750 w 691192"/>
                <a:gd name="connsiteY20" fmla="*/ 78468 h 410451"/>
                <a:gd name="connsiteX21" fmla="*/ 541507 w 691192"/>
                <a:gd name="connsiteY21" fmla="*/ 78262 h 410451"/>
                <a:gd name="connsiteX22" fmla="*/ 488716 w 691192"/>
                <a:gd name="connsiteY22" fmla="*/ -2015 h 410451"/>
                <a:gd name="connsiteX23" fmla="*/ 363054 w 691192"/>
                <a:gd name="connsiteY23" fmla="*/ -1009 h 410451"/>
                <a:gd name="connsiteX24" fmla="*/ -3171 w 691192"/>
                <a:gd name="connsiteY24" fmla="*/ 1940 h 410451"/>
                <a:gd name="connsiteX25" fmla="*/ 35143 w 691192"/>
                <a:gd name="connsiteY25" fmla="*/ 94104 h 410451"/>
                <a:gd name="connsiteX26" fmla="*/ 79811 w 691192"/>
                <a:gd name="connsiteY26" fmla="*/ 225427 h 410451"/>
                <a:gd name="connsiteX27" fmla="*/ 82836 w 691192"/>
                <a:gd name="connsiteY27" fmla="*/ 225199 h 410451"/>
                <a:gd name="connsiteX28" fmla="*/ 190857 w 691192"/>
                <a:gd name="connsiteY28" fmla="*/ 224330 h 410451"/>
                <a:gd name="connsiteX29" fmla="*/ 172234 w 691192"/>
                <a:gd name="connsiteY29" fmla="*/ 199252 h 410451"/>
                <a:gd name="connsiteX30" fmla="*/ 166839 w 691192"/>
                <a:gd name="connsiteY30" fmla="*/ 190032 h 410451"/>
                <a:gd name="connsiteX31" fmla="*/ 86319 w 691192"/>
                <a:gd name="connsiteY31" fmla="*/ 190680 h 410451"/>
                <a:gd name="connsiteX32" fmla="*/ 86136 w 691192"/>
                <a:gd name="connsiteY32" fmla="*/ 190680 h 410451"/>
                <a:gd name="connsiteX33" fmla="*/ 63276 w 691192"/>
                <a:gd name="connsiteY33" fmla="*/ 168003 h 410451"/>
                <a:gd name="connsiteX34" fmla="*/ 62765 w 691192"/>
                <a:gd name="connsiteY34" fmla="*/ 104978 h 410451"/>
                <a:gd name="connsiteX35" fmla="*/ 85442 w 691192"/>
                <a:gd name="connsiteY35" fmla="*/ 81943 h 410451"/>
                <a:gd name="connsiteX36" fmla="*/ 204307 w 691192"/>
                <a:gd name="connsiteY36" fmla="*/ 80983 h 410451"/>
                <a:gd name="connsiteX37" fmla="*/ 204497 w 691192"/>
                <a:gd name="connsiteY37" fmla="*/ 80983 h 410451"/>
                <a:gd name="connsiteX38" fmla="*/ 227342 w 691192"/>
                <a:gd name="connsiteY38" fmla="*/ 103660 h 410451"/>
                <a:gd name="connsiteX39" fmla="*/ 227852 w 691192"/>
                <a:gd name="connsiteY39" fmla="*/ 166677 h 410451"/>
                <a:gd name="connsiteX40" fmla="*/ 205175 w 691192"/>
                <a:gd name="connsiteY40" fmla="*/ 189720 h 410451"/>
                <a:gd name="connsiteX41" fmla="*/ 194652 w 691192"/>
                <a:gd name="connsiteY41" fmla="*/ 189804 h 410451"/>
                <a:gd name="connsiteX42" fmla="*/ 268437 w 691192"/>
                <a:gd name="connsiteY42" fmla="*/ 291493 h 410451"/>
                <a:gd name="connsiteX43" fmla="*/ 224827 w 691192"/>
                <a:gd name="connsiteY43" fmla="*/ 257622 h 410451"/>
                <a:gd name="connsiteX44" fmla="*/ 225300 w 691192"/>
                <a:gd name="connsiteY44" fmla="*/ 317370 h 410451"/>
                <a:gd name="connsiteX45" fmla="*/ 202630 w 691192"/>
                <a:gd name="connsiteY45" fmla="*/ 340413 h 410451"/>
                <a:gd name="connsiteX46" fmla="*/ 178505 w 691192"/>
                <a:gd name="connsiteY46" fmla="*/ 340611 h 410451"/>
                <a:gd name="connsiteX47" fmla="*/ 220774 w 691192"/>
                <a:gd name="connsiteY47" fmla="*/ 372303 h 410451"/>
                <a:gd name="connsiteX48" fmla="*/ 247680 w 691192"/>
                <a:gd name="connsiteY48" fmla="*/ 380845 h 410451"/>
                <a:gd name="connsiteX49" fmla="*/ 285925 w 691192"/>
                <a:gd name="connsiteY49" fmla="*/ 361109 h 410451"/>
                <a:gd name="connsiteX50" fmla="*/ 294207 w 691192"/>
                <a:gd name="connsiteY50" fmla="*/ 338988 h 410451"/>
                <a:gd name="connsiteX51" fmla="*/ 276735 w 691192"/>
                <a:gd name="connsiteY51" fmla="*/ 316959 h 410451"/>
                <a:gd name="connsiteX52" fmla="*/ 276163 w 691192"/>
                <a:gd name="connsiteY52" fmla="*/ 246504 h 410451"/>
                <a:gd name="connsiteX53" fmla="*/ 298840 w 691192"/>
                <a:gd name="connsiteY53" fmla="*/ 223461 h 410451"/>
                <a:gd name="connsiteX54" fmla="*/ 347113 w 691192"/>
                <a:gd name="connsiteY54" fmla="*/ 223073 h 410451"/>
                <a:gd name="connsiteX55" fmla="*/ 319773 w 691192"/>
                <a:gd name="connsiteY55" fmla="*/ 188798 h 410451"/>
                <a:gd name="connsiteX56" fmla="*/ 301888 w 691192"/>
                <a:gd name="connsiteY56" fmla="*/ 188935 h 410451"/>
                <a:gd name="connsiteX57" fmla="*/ 301698 w 691192"/>
                <a:gd name="connsiteY57" fmla="*/ 188943 h 410451"/>
                <a:gd name="connsiteX58" fmla="*/ 278853 w 691192"/>
                <a:gd name="connsiteY58" fmla="*/ 166265 h 410451"/>
                <a:gd name="connsiteX59" fmla="*/ 278525 w 691192"/>
                <a:gd name="connsiteY59" fmla="*/ 126139 h 410451"/>
                <a:gd name="connsiteX60" fmla="*/ 239420 w 691192"/>
                <a:gd name="connsiteY60" fmla="*/ 50761 h 410451"/>
                <a:gd name="connsiteX61" fmla="*/ 247634 w 691192"/>
                <a:gd name="connsiteY61" fmla="*/ 45755 h 410451"/>
                <a:gd name="connsiteX62" fmla="*/ 255490 w 691192"/>
                <a:gd name="connsiteY62" fmla="*/ 48788 h 410451"/>
                <a:gd name="connsiteX63" fmla="*/ 280202 w 691192"/>
                <a:gd name="connsiteY63" fmla="*/ 94058 h 410451"/>
                <a:gd name="connsiteX64" fmla="*/ 301020 w 691192"/>
                <a:gd name="connsiteY64" fmla="*/ 80198 h 410451"/>
                <a:gd name="connsiteX65" fmla="*/ 394197 w 691192"/>
                <a:gd name="connsiteY65" fmla="*/ 79451 h 410451"/>
                <a:gd name="connsiteX66" fmla="*/ 352058 w 691192"/>
                <a:gd name="connsiteY66" fmla="*/ 6626 h 410451"/>
                <a:gd name="connsiteX67" fmla="*/ 363054 w 691192"/>
                <a:gd name="connsiteY67" fmla="*/ -1009 h 410451"/>
                <a:gd name="connsiteX68" fmla="*/ 442203 w 691192"/>
                <a:gd name="connsiteY68" fmla="*/ 147764 h 410451"/>
                <a:gd name="connsiteX69" fmla="*/ 442340 w 691192"/>
                <a:gd name="connsiteY69" fmla="*/ 164947 h 410451"/>
                <a:gd name="connsiteX70" fmla="*/ 419663 w 691192"/>
                <a:gd name="connsiteY70" fmla="*/ 187990 h 410451"/>
                <a:gd name="connsiteX71" fmla="*/ 341352 w 691192"/>
                <a:gd name="connsiteY71" fmla="*/ 188623 h 410451"/>
                <a:gd name="connsiteX72" fmla="*/ 367565 w 691192"/>
                <a:gd name="connsiteY72" fmla="*/ 222905 h 410451"/>
                <a:gd name="connsiteX73" fmla="*/ 417705 w 691192"/>
                <a:gd name="connsiteY73" fmla="*/ 222501 h 410451"/>
                <a:gd name="connsiteX74" fmla="*/ 417888 w 691192"/>
                <a:gd name="connsiteY74" fmla="*/ 222501 h 410451"/>
                <a:gd name="connsiteX75" fmla="*/ 440740 w 691192"/>
                <a:gd name="connsiteY75" fmla="*/ 245178 h 410451"/>
                <a:gd name="connsiteX76" fmla="*/ 441312 w 691192"/>
                <a:gd name="connsiteY76" fmla="*/ 315633 h 410451"/>
                <a:gd name="connsiteX77" fmla="*/ 418634 w 691192"/>
                <a:gd name="connsiteY77" fmla="*/ 338676 h 410451"/>
                <a:gd name="connsiteX78" fmla="*/ 314941 w 691192"/>
                <a:gd name="connsiteY78" fmla="*/ 339506 h 410451"/>
                <a:gd name="connsiteX79" fmla="*/ 359046 w 691192"/>
                <a:gd name="connsiteY79" fmla="*/ 375229 h 410451"/>
                <a:gd name="connsiteX80" fmla="*/ 417705 w 691192"/>
                <a:gd name="connsiteY80" fmla="*/ 374756 h 410451"/>
                <a:gd name="connsiteX81" fmla="*/ 417888 w 691192"/>
                <a:gd name="connsiteY81" fmla="*/ 374756 h 410451"/>
                <a:gd name="connsiteX82" fmla="*/ 440740 w 691192"/>
                <a:gd name="connsiteY82" fmla="*/ 397426 h 410451"/>
                <a:gd name="connsiteX83" fmla="*/ 440831 w 691192"/>
                <a:gd name="connsiteY83" fmla="*/ 408437 h 410451"/>
                <a:gd name="connsiteX84" fmla="*/ 478474 w 691192"/>
                <a:gd name="connsiteY84" fmla="*/ 379321 h 410451"/>
                <a:gd name="connsiteX85" fmla="*/ 480379 w 691192"/>
                <a:gd name="connsiteY85" fmla="*/ 338935 h 410451"/>
                <a:gd name="connsiteX86" fmla="*/ 524796 w 691192"/>
                <a:gd name="connsiteY86" fmla="*/ 373895 h 410451"/>
                <a:gd name="connsiteX87" fmla="*/ 607671 w 691192"/>
                <a:gd name="connsiteY87" fmla="*/ 373225 h 410451"/>
                <a:gd name="connsiteX88" fmla="*/ 616183 w 691192"/>
                <a:gd name="connsiteY88" fmla="*/ 337083 h 410451"/>
                <a:gd name="connsiteX89" fmla="*/ 515789 w 691192"/>
                <a:gd name="connsiteY89" fmla="*/ 337891 h 410451"/>
                <a:gd name="connsiteX90" fmla="*/ 515599 w 691192"/>
                <a:gd name="connsiteY90" fmla="*/ 337891 h 410451"/>
                <a:gd name="connsiteX91" fmla="*/ 492739 w 691192"/>
                <a:gd name="connsiteY91" fmla="*/ 315221 h 410451"/>
                <a:gd name="connsiteX92" fmla="*/ 492175 w 691192"/>
                <a:gd name="connsiteY92" fmla="*/ 244767 h 410451"/>
                <a:gd name="connsiteX93" fmla="*/ 508611 w 691192"/>
                <a:gd name="connsiteY93" fmla="*/ 222646 h 410451"/>
                <a:gd name="connsiteX94" fmla="*/ 442203 w 691192"/>
                <a:gd name="connsiteY94" fmla="*/ 147764 h 410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691192" h="410451">
                  <a:moveTo>
                    <a:pt x="488716" y="-2015"/>
                  </a:moveTo>
                  <a:lnTo>
                    <a:pt x="367969" y="-1047"/>
                  </a:lnTo>
                  <a:cubicBezTo>
                    <a:pt x="368480" y="-955"/>
                    <a:pt x="368990" y="-841"/>
                    <a:pt x="369508" y="-689"/>
                  </a:cubicBezTo>
                  <a:cubicBezTo>
                    <a:pt x="383895" y="26819"/>
                    <a:pt x="398853" y="53375"/>
                    <a:pt x="415061" y="79283"/>
                  </a:cubicBezTo>
                  <a:lnTo>
                    <a:pt x="418787" y="79253"/>
                  </a:lnTo>
                  <a:cubicBezTo>
                    <a:pt x="418848" y="79253"/>
                    <a:pt x="418909" y="79253"/>
                    <a:pt x="418970" y="79253"/>
                  </a:cubicBezTo>
                  <a:cubicBezTo>
                    <a:pt x="431467" y="79253"/>
                    <a:pt x="441731" y="89418"/>
                    <a:pt x="441837" y="101930"/>
                  </a:cubicBezTo>
                  <a:lnTo>
                    <a:pt x="441982" y="119959"/>
                  </a:lnTo>
                  <a:cubicBezTo>
                    <a:pt x="466221" y="154561"/>
                    <a:pt x="493463" y="188203"/>
                    <a:pt x="525436" y="221640"/>
                  </a:cubicBezTo>
                  <a:lnTo>
                    <a:pt x="633701" y="220764"/>
                  </a:lnTo>
                  <a:cubicBezTo>
                    <a:pt x="633770" y="220764"/>
                    <a:pt x="633831" y="220764"/>
                    <a:pt x="633892" y="220764"/>
                  </a:cubicBezTo>
                  <a:cubicBezTo>
                    <a:pt x="646389" y="220764"/>
                    <a:pt x="656645" y="230929"/>
                    <a:pt x="656752" y="243441"/>
                  </a:cubicBezTo>
                  <a:lnTo>
                    <a:pt x="657209" y="300743"/>
                  </a:lnTo>
                  <a:cubicBezTo>
                    <a:pt x="664090" y="297627"/>
                    <a:pt x="670399" y="292963"/>
                    <a:pt x="675604" y="286814"/>
                  </a:cubicBezTo>
                  <a:cubicBezTo>
                    <a:pt x="694349" y="264632"/>
                    <a:pt x="691537" y="231485"/>
                    <a:pt x="669439" y="212747"/>
                  </a:cubicBezTo>
                  <a:cubicBezTo>
                    <a:pt x="658954" y="203878"/>
                    <a:pt x="648941" y="195039"/>
                    <a:pt x="639363" y="186222"/>
                  </a:cubicBezTo>
                  <a:lnTo>
                    <a:pt x="517633" y="187198"/>
                  </a:lnTo>
                  <a:cubicBezTo>
                    <a:pt x="517573" y="187205"/>
                    <a:pt x="517504" y="187205"/>
                    <a:pt x="517443" y="187205"/>
                  </a:cubicBezTo>
                  <a:cubicBezTo>
                    <a:pt x="504954" y="187205"/>
                    <a:pt x="494690" y="177040"/>
                    <a:pt x="494583" y="164528"/>
                  </a:cubicBezTo>
                  <a:lnTo>
                    <a:pt x="494080" y="101511"/>
                  </a:lnTo>
                  <a:cubicBezTo>
                    <a:pt x="493973" y="88938"/>
                    <a:pt x="504184" y="78567"/>
                    <a:pt x="516750" y="78468"/>
                  </a:cubicBezTo>
                  <a:lnTo>
                    <a:pt x="541507" y="78262"/>
                  </a:lnTo>
                  <a:cubicBezTo>
                    <a:pt x="522160" y="52339"/>
                    <a:pt x="504900" y="25760"/>
                    <a:pt x="488716" y="-2015"/>
                  </a:cubicBezTo>
                  <a:moveTo>
                    <a:pt x="363054" y="-1009"/>
                  </a:moveTo>
                  <a:lnTo>
                    <a:pt x="-3171" y="1940"/>
                  </a:lnTo>
                  <a:lnTo>
                    <a:pt x="35143" y="94104"/>
                  </a:lnTo>
                  <a:cubicBezTo>
                    <a:pt x="45780" y="139794"/>
                    <a:pt x="58208" y="183624"/>
                    <a:pt x="79811" y="225427"/>
                  </a:cubicBezTo>
                  <a:cubicBezTo>
                    <a:pt x="80802" y="225282"/>
                    <a:pt x="81815" y="225206"/>
                    <a:pt x="82836" y="225199"/>
                  </a:cubicBezTo>
                  <a:lnTo>
                    <a:pt x="190857" y="224330"/>
                  </a:lnTo>
                  <a:cubicBezTo>
                    <a:pt x="183824" y="216222"/>
                    <a:pt x="177507" y="207848"/>
                    <a:pt x="172234" y="199252"/>
                  </a:cubicBezTo>
                  <a:cubicBezTo>
                    <a:pt x="170367" y="196212"/>
                    <a:pt x="168569" y="193134"/>
                    <a:pt x="166839" y="190032"/>
                  </a:cubicBezTo>
                  <a:lnTo>
                    <a:pt x="86319" y="190680"/>
                  </a:lnTo>
                  <a:cubicBezTo>
                    <a:pt x="86258" y="190680"/>
                    <a:pt x="86197" y="190680"/>
                    <a:pt x="86136" y="190680"/>
                  </a:cubicBezTo>
                  <a:cubicBezTo>
                    <a:pt x="73647" y="190680"/>
                    <a:pt x="63375" y="180515"/>
                    <a:pt x="63276" y="168003"/>
                  </a:cubicBezTo>
                  <a:lnTo>
                    <a:pt x="62765" y="104978"/>
                  </a:lnTo>
                  <a:cubicBezTo>
                    <a:pt x="62666" y="92405"/>
                    <a:pt x="72877" y="82042"/>
                    <a:pt x="85442" y="81943"/>
                  </a:cubicBezTo>
                  <a:lnTo>
                    <a:pt x="204307" y="80983"/>
                  </a:lnTo>
                  <a:cubicBezTo>
                    <a:pt x="204368" y="80983"/>
                    <a:pt x="204436" y="80983"/>
                    <a:pt x="204497" y="80983"/>
                  </a:cubicBezTo>
                  <a:cubicBezTo>
                    <a:pt x="216979" y="80983"/>
                    <a:pt x="227243" y="91147"/>
                    <a:pt x="227342" y="103660"/>
                  </a:cubicBezTo>
                  <a:lnTo>
                    <a:pt x="227852" y="166677"/>
                  </a:lnTo>
                  <a:cubicBezTo>
                    <a:pt x="227952" y="179242"/>
                    <a:pt x="217748" y="189613"/>
                    <a:pt x="205175" y="189720"/>
                  </a:cubicBezTo>
                  <a:lnTo>
                    <a:pt x="194652" y="189804"/>
                  </a:lnTo>
                  <a:cubicBezTo>
                    <a:pt x="216202" y="224970"/>
                    <a:pt x="240974" y="259770"/>
                    <a:pt x="268437" y="291493"/>
                  </a:cubicBezTo>
                  <a:cubicBezTo>
                    <a:pt x="254324" y="281373"/>
                    <a:pt x="239229" y="269997"/>
                    <a:pt x="224827" y="257622"/>
                  </a:cubicBezTo>
                  <a:lnTo>
                    <a:pt x="225300" y="317370"/>
                  </a:lnTo>
                  <a:cubicBezTo>
                    <a:pt x="225406" y="329943"/>
                    <a:pt x="215196" y="340314"/>
                    <a:pt x="202630" y="340413"/>
                  </a:cubicBezTo>
                  <a:lnTo>
                    <a:pt x="178505" y="340611"/>
                  </a:lnTo>
                  <a:cubicBezTo>
                    <a:pt x="192976" y="352270"/>
                    <a:pt x="207393" y="362839"/>
                    <a:pt x="220774" y="372303"/>
                  </a:cubicBezTo>
                  <a:cubicBezTo>
                    <a:pt x="228965" y="378079"/>
                    <a:pt x="238368" y="380845"/>
                    <a:pt x="247680" y="380845"/>
                  </a:cubicBezTo>
                  <a:cubicBezTo>
                    <a:pt x="262348" y="380845"/>
                    <a:pt x="276788" y="373972"/>
                    <a:pt x="285925" y="361109"/>
                  </a:cubicBezTo>
                  <a:cubicBezTo>
                    <a:pt x="290702" y="354320"/>
                    <a:pt x="293423" y="346700"/>
                    <a:pt x="294207" y="338988"/>
                  </a:cubicBezTo>
                  <a:cubicBezTo>
                    <a:pt x="284279" y="336572"/>
                    <a:pt x="276819" y="327611"/>
                    <a:pt x="276735" y="316959"/>
                  </a:cubicBezTo>
                  <a:lnTo>
                    <a:pt x="276163" y="246504"/>
                  </a:lnTo>
                  <a:cubicBezTo>
                    <a:pt x="276064" y="233931"/>
                    <a:pt x="286275" y="223560"/>
                    <a:pt x="298840" y="223461"/>
                  </a:cubicBezTo>
                  <a:lnTo>
                    <a:pt x="347113" y="223073"/>
                  </a:lnTo>
                  <a:cubicBezTo>
                    <a:pt x="337619" y="212085"/>
                    <a:pt x="328490" y="200586"/>
                    <a:pt x="319773" y="188798"/>
                  </a:cubicBezTo>
                  <a:lnTo>
                    <a:pt x="301888" y="188935"/>
                  </a:lnTo>
                  <a:cubicBezTo>
                    <a:pt x="301827" y="188943"/>
                    <a:pt x="301766" y="188943"/>
                    <a:pt x="301698" y="188943"/>
                  </a:cubicBezTo>
                  <a:cubicBezTo>
                    <a:pt x="289216" y="188943"/>
                    <a:pt x="278952" y="178770"/>
                    <a:pt x="278853" y="166265"/>
                  </a:cubicBezTo>
                  <a:lnTo>
                    <a:pt x="278525" y="126139"/>
                  </a:lnTo>
                  <a:cubicBezTo>
                    <a:pt x="263324" y="100299"/>
                    <a:pt x="250187" y="74574"/>
                    <a:pt x="239420" y="50761"/>
                  </a:cubicBezTo>
                  <a:cubicBezTo>
                    <a:pt x="240784" y="48125"/>
                    <a:pt x="243748" y="45755"/>
                    <a:pt x="247634" y="45755"/>
                  </a:cubicBezTo>
                  <a:cubicBezTo>
                    <a:pt x="249966" y="45755"/>
                    <a:pt x="252640" y="46616"/>
                    <a:pt x="255490" y="48788"/>
                  </a:cubicBezTo>
                  <a:cubicBezTo>
                    <a:pt x="263522" y="64272"/>
                    <a:pt x="271751" y="79359"/>
                    <a:pt x="280202" y="94058"/>
                  </a:cubicBezTo>
                  <a:cubicBezTo>
                    <a:pt x="283692" y="85989"/>
                    <a:pt x="291700" y="80274"/>
                    <a:pt x="301020" y="80198"/>
                  </a:cubicBezTo>
                  <a:lnTo>
                    <a:pt x="394197" y="79451"/>
                  </a:lnTo>
                  <a:cubicBezTo>
                    <a:pt x="379536" y="56400"/>
                    <a:pt x="365508" y="32138"/>
                    <a:pt x="352058" y="6626"/>
                  </a:cubicBezTo>
                  <a:cubicBezTo>
                    <a:pt x="355305" y="2519"/>
                    <a:pt x="358985" y="-201"/>
                    <a:pt x="363054" y="-1009"/>
                  </a:cubicBezTo>
                  <a:moveTo>
                    <a:pt x="442203" y="147764"/>
                  </a:moveTo>
                  <a:lnTo>
                    <a:pt x="442340" y="164947"/>
                  </a:lnTo>
                  <a:cubicBezTo>
                    <a:pt x="442447" y="177520"/>
                    <a:pt x="432244" y="187891"/>
                    <a:pt x="419663" y="187990"/>
                  </a:cubicBezTo>
                  <a:lnTo>
                    <a:pt x="341352" y="188623"/>
                  </a:lnTo>
                  <a:cubicBezTo>
                    <a:pt x="349910" y="200357"/>
                    <a:pt x="358642" y="211787"/>
                    <a:pt x="367565" y="222905"/>
                  </a:cubicBezTo>
                  <a:lnTo>
                    <a:pt x="417705" y="222501"/>
                  </a:lnTo>
                  <a:cubicBezTo>
                    <a:pt x="417766" y="222501"/>
                    <a:pt x="417827" y="222501"/>
                    <a:pt x="417888" y="222501"/>
                  </a:cubicBezTo>
                  <a:cubicBezTo>
                    <a:pt x="430369" y="222501"/>
                    <a:pt x="440641" y="232666"/>
                    <a:pt x="440740" y="245178"/>
                  </a:cubicBezTo>
                  <a:lnTo>
                    <a:pt x="441312" y="315633"/>
                  </a:lnTo>
                  <a:cubicBezTo>
                    <a:pt x="441411" y="328206"/>
                    <a:pt x="431207" y="338577"/>
                    <a:pt x="418634" y="338676"/>
                  </a:cubicBezTo>
                  <a:lnTo>
                    <a:pt x="314941" y="339506"/>
                  </a:lnTo>
                  <a:cubicBezTo>
                    <a:pt x="329138" y="352521"/>
                    <a:pt x="343859" y="364523"/>
                    <a:pt x="359046" y="375229"/>
                  </a:cubicBezTo>
                  <a:lnTo>
                    <a:pt x="417705" y="374756"/>
                  </a:lnTo>
                  <a:cubicBezTo>
                    <a:pt x="417766" y="374756"/>
                    <a:pt x="417827" y="374756"/>
                    <a:pt x="417888" y="374756"/>
                  </a:cubicBezTo>
                  <a:cubicBezTo>
                    <a:pt x="430369" y="374749"/>
                    <a:pt x="440641" y="384914"/>
                    <a:pt x="440740" y="397426"/>
                  </a:cubicBezTo>
                  <a:lnTo>
                    <a:pt x="440831" y="408437"/>
                  </a:lnTo>
                  <a:cubicBezTo>
                    <a:pt x="456734" y="405389"/>
                    <a:pt x="471014" y="395064"/>
                    <a:pt x="478474" y="379321"/>
                  </a:cubicBezTo>
                  <a:cubicBezTo>
                    <a:pt x="484723" y="366131"/>
                    <a:pt x="484959" y="351660"/>
                    <a:pt x="480379" y="338935"/>
                  </a:cubicBezTo>
                  <a:cubicBezTo>
                    <a:pt x="494857" y="351142"/>
                    <a:pt x="509617" y="362800"/>
                    <a:pt x="524796" y="373895"/>
                  </a:cubicBezTo>
                  <a:lnTo>
                    <a:pt x="607671" y="373225"/>
                  </a:lnTo>
                  <a:cubicBezTo>
                    <a:pt x="613402" y="362633"/>
                    <a:pt x="616427" y="349641"/>
                    <a:pt x="616183" y="337083"/>
                  </a:cubicBezTo>
                  <a:lnTo>
                    <a:pt x="515789" y="337891"/>
                  </a:lnTo>
                  <a:cubicBezTo>
                    <a:pt x="515728" y="337891"/>
                    <a:pt x="515660" y="337891"/>
                    <a:pt x="515599" y="337891"/>
                  </a:cubicBezTo>
                  <a:cubicBezTo>
                    <a:pt x="503110" y="337891"/>
                    <a:pt x="492846" y="327733"/>
                    <a:pt x="492739" y="315221"/>
                  </a:cubicBezTo>
                  <a:lnTo>
                    <a:pt x="492175" y="244767"/>
                  </a:lnTo>
                  <a:cubicBezTo>
                    <a:pt x="492091" y="234350"/>
                    <a:pt x="499071" y="225450"/>
                    <a:pt x="508611" y="222646"/>
                  </a:cubicBezTo>
                  <a:cubicBezTo>
                    <a:pt x="485325" y="199710"/>
                    <a:pt x="463211" y="174769"/>
                    <a:pt x="442203" y="147764"/>
                  </a:cubicBezTo>
                </a:path>
              </a:pathLst>
            </a:custGeom>
            <a:solidFill>
              <a:srgbClr val="28282E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0FBA22DE-09D9-DF8D-FCC7-BC76F47AE260}"/>
                </a:ext>
              </a:extLst>
            </p:cNvPr>
            <p:cNvSpPr/>
            <p:nvPr/>
          </p:nvSpPr>
          <p:spPr>
            <a:xfrm flipV="1">
              <a:off x="4750802" y="5328556"/>
              <a:ext cx="109932" cy="78020"/>
            </a:xfrm>
            <a:custGeom>
              <a:avLst/>
              <a:gdLst>
                <a:gd name="connsiteX0" fmla="*/ 138283 w 165034"/>
                <a:gd name="connsiteY0" fmla="*/ -2128 h 117126"/>
                <a:gd name="connsiteX1" fmla="*/ 138092 w 165034"/>
                <a:gd name="connsiteY1" fmla="*/ -2128 h 117126"/>
                <a:gd name="connsiteX2" fmla="*/ 29827 w 165034"/>
                <a:gd name="connsiteY2" fmla="*/ -1252 h 117126"/>
                <a:gd name="connsiteX3" fmla="*/ 105928 w 165034"/>
                <a:gd name="connsiteY3" fmla="*/ 70095 h 117126"/>
                <a:gd name="connsiteX4" fmla="*/ 139868 w 165034"/>
                <a:gd name="connsiteY4" fmla="*/ 82530 h 117126"/>
                <a:gd name="connsiteX5" fmla="*/ 161600 w 165034"/>
                <a:gd name="connsiteY5" fmla="*/ 77852 h 117126"/>
                <a:gd name="connsiteX6" fmla="*/ 161143 w 165034"/>
                <a:gd name="connsiteY6" fmla="*/ 20549 h 117126"/>
                <a:gd name="connsiteX7" fmla="*/ 138283 w 165034"/>
                <a:gd name="connsiteY7" fmla="*/ -2128 h 117126"/>
                <a:gd name="connsiteX8" fmla="*/ 13002 w 165034"/>
                <a:gd name="connsiteY8" fmla="*/ -246 h 117126"/>
                <a:gd name="connsiteX9" fmla="*/ -3434 w 165034"/>
                <a:gd name="connsiteY9" fmla="*/ 21875 h 117126"/>
                <a:gd name="connsiteX10" fmla="*/ -2870 w 165034"/>
                <a:gd name="connsiteY10" fmla="*/ 92330 h 117126"/>
                <a:gd name="connsiteX11" fmla="*/ 19990 w 165034"/>
                <a:gd name="connsiteY11" fmla="*/ 114999 h 117126"/>
                <a:gd name="connsiteX12" fmla="*/ 20180 w 165034"/>
                <a:gd name="connsiteY12" fmla="*/ 114999 h 117126"/>
                <a:gd name="connsiteX13" fmla="*/ 120574 w 165034"/>
                <a:gd name="connsiteY13" fmla="*/ 114191 h 117126"/>
                <a:gd name="connsiteX14" fmla="*/ 102118 w 165034"/>
                <a:gd name="connsiteY14" fmla="*/ 73905 h 117126"/>
                <a:gd name="connsiteX15" fmla="*/ 13002 w 165034"/>
                <a:gd name="connsiteY15" fmla="*/ -246 h 11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5034" h="117126">
                  <a:moveTo>
                    <a:pt x="138283" y="-2128"/>
                  </a:moveTo>
                  <a:cubicBezTo>
                    <a:pt x="138222" y="-2128"/>
                    <a:pt x="138161" y="-2128"/>
                    <a:pt x="138092" y="-2128"/>
                  </a:cubicBezTo>
                  <a:lnTo>
                    <a:pt x="29827" y="-1252"/>
                  </a:lnTo>
                  <a:cubicBezTo>
                    <a:pt x="52588" y="22546"/>
                    <a:pt x="77749" y="46244"/>
                    <a:pt x="105928" y="70095"/>
                  </a:cubicBezTo>
                  <a:cubicBezTo>
                    <a:pt x="115811" y="78446"/>
                    <a:pt x="127874" y="82530"/>
                    <a:pt x="139868" y="82530"/>
                  </a:cubicBezTo>
                  <a:cubicBezTo>
                    <a:pt x="147320" y="82530"/>
                    <a:pt x="154742" y="80953"/>
                    <a:pt x="161600" y="77852"/>
                  </a:cubicBezTo>
                  <a:lnTo>
                    <a:pt x="161143" y="20549"/>
                  </a:lnTo>
                  <a:cubicBezTo>
                    <a:pt x="161036" y="8037"/>
                    <a:pt x="150779" y="-2128"/>
                    <a:pt x="138283" y="-2128"/>
                  </a:cubicBezTo>
                  <a:moveTo>
                    <a:pt x="13002" y="-246"/>
                  </a:moveTo>
                  <a:cubicBezTo>
                    <a:pt x="3462" y="2558"/>
                    <a:pt x="-3518" y="11459"/>
                    <a:pt x="-3434" y="21875"/>
                  </a:cubicBezTo>
                  <a:lnTo>
                    <a:pt x="-2870" y="92330"/>
                  </a:lnTo>
                  <a:cubicBezTo>
                    <a:pt x="-2764" y="104842"/>
                    <a:pt x="7501" y="114999"/>
                    <a:pt x="19990" y="114999"/>
                  </a:cubicBezTo>
                  <a:cubicBezTo>
                    <a:pt x="20051" y="114999"/>
                    <a:pt x="20119" y="114999"/>
                    <a:pt x="20180" y="114999"/>
                  </a:cubicBezTo>
                  <a:lnTo>
                    <a:pt x="120574" y="114191"/>
                  </a:lnTo>
                  <a:cubicBezTo>
                    <a:pt x="120254" y="98014"/>
                    <a:pt x="114508" y="82553"/>
                    <a:pt x="102118" y="73905"/>
                  </a:cubicBezTo>
                  <a:cubicBezTo>
                    <a:pt x="70663" y="52005"/>
                    <a:pt x="40991" y="27331"/>
                    <a:pt x="13002" y="-246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EE1E54D2-E710-F88D-F03F-6180933E632E}"/>
                </a:ext>
              </a:extLst>
            </p:cNvPr>
            <p:cNvSpPr/>
            <p:nvPr/>
          </p:nvSpPr>
          <p:spPr>
            <a:xfrm flipV="1">
              <a:off x="4606913" y="5327479"/>
              <a:ext cx="110008" cy="77939"/>
            </a:xfrm>
            <a:custGeom>
              <a:avLst/>
              <a:gdLst>
                <a:gd name="connsiteX0" fmla="*/ 138536 w 165149"/>
                <a:gd name="connsiteY0" fmla="*/ -2130 h 117005"/>
                <a:gd name="connsiteX1" fmla="*/ 138353 w 165149"/>
                <a:gd name="connsiteY1" fmla="*/ -2130 h 117005"/>
                <a:gd name="connsiteX2" fmla="*/ 88213 w 165149"/>
                <a:gd name="connsiteY2" fmla="*/ -1726 h 117005"/>
                <a:gd name="connsiteX3" fmla="*/ 160199 w 165149"/>
                <a:gd name="connsiteY3" fmla="*/ 77468 h 117005"/>
                <a:gd name="connsiteX4" fmla="*/ 67761 w 165149"/>
                <a:gd name="connsiteY4" fmla="*/ -1559 h 117005"/>
                <a:gd name="connsiteX5" fmla="*/ 19489 w 165149"/>
                <a:gd name="connsiteY5" fmla="*/ -1170 h 117005"/>
                <a:gd name="connsiteX6" fmla="*/ -3189 w 165149"/>
                <a:gd name="connsiteY6" fmla="*/ 21873 h 117005"/>
                <a:gd name="connsiteX7" fmla="*/ -2617 w 165149"/>
                <a:gd name="connsiteY7" fmla="*/ 92327 h 117005"/>
                <a:gd name="connsiteX8" fmla="*/ 14856 w 165149"/>
                <a:gd name="connsiteY8" fmla="*/ 114356 h 117005"/>
                <a:gd name="connsiteX9" fmla="*/ 11373 w 165149"/>
                <a:gd name="connsiteY9" fmla="*/ 91215 h 117005"/>
                <a:gd name="connsiteX10" fmla="*/ 35590 w 165149"/>
                <a:gd name="connsiteY10" fmla="*/ 114875 h 117005"/>
                <a:gd name="connsiteX11" fmla="*/ 139283 w 165149"/>
                <a:gd name="connsiteY11" fmla="*/ 114044 h 117005"/>
                <a:gd name="connsiteX12" fmla="*/ 161960 w 165149"/>
                <a:gd name="connsiteY12" fmla="*/ 91001 h 117005"/>
                <a:gd name="connsiteX13" fmla="*/ 161388 w 165149"/>
                <a:gd name="connsiteY13" fmla="*/ 20547 h 117005"/>
                <a:gd name="connsiteX14" fmla="*/ 138536 w 165149"/>
                <a:gd name="connsiteY14" fmla="*/ -2130 h 117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5149" h="117005">
                  <a:moveTo>
                    <a:pt x="138536" y="-2130"/>
                  </a:moveTo>
                  <a:cubicBezTo>
                    <a:pt x="138475" y="-2130"/>
                    <a:pt x="138414" y="-2130"/>
                    <a:pt x="138353" y="-2130"/>
                  </a:cubicBezTo>
                  <a:lnTo>
                    <a:pt x="88213" y="-1726"/>
                  </a:lnTo>
                  <a:cubicBezTo>
                    <a:pt x="110990" y="26666"/>
                    <a:pt x="134970" y="53046"/>
                    <a:pt x="160199" y="77468"/>
                  </a:cubicBezTo>
                  <a:cubicBezTo>
                    <a:pt x="126763" y="58700"/>
                    <a:pt x="95658" y="30727"/>
                    <a:pt x="67761" y="-1559"/>
                  </a:cubicBezTo>
                  <a:lnTo>
                    <a:pt x="19489" y="-1170"/>
                  </a:lnTo>
                  <a:cubicBezTo>
                    <a:pt x="6923" y="-1071"/>
                    <a:pt x="-3288" y="9300"/>
                    <a:pt x="-3189" y="21873"/>
                  </a:cubicBezTo>
                  <a:lnTo>
                    <a:pt x="-2617" y="92327"/>
                  </a:lnTo>
                  <a:cubicBezTo>
                    <a:pt x="-2533" y="102980"/>
                    <a:pt x="4927" y="111941"/>
                    <a:pt x="14856" y="114356"/>
                  </a:cubicBezTo>
                  <a:cubicBezTo>
                    <a:pt x="15663" y="106470"/>
                    <a:pt x="14452" y="98492"/>
                    <a:pt x="11373" y="91215"/>
                  </a:cubicBezTo>
                  <a:cubicBezTo>
                    <a:pt x="19260" y="99406"/>
                    <a:pt x="27337" y="107316"/>
                    <a:pt x="35590" y="114875"/>
                  </a:cubicBezTo>
                  <a:lnTo>
                    <a:pt x="139283" y="114044"/>
                  </a:lnTo>
                  <a:cubicBezTo>
                    <a:pt x="151856" y="113945"/>
                    <a:pt x="162059" y="103574"/>
                    <a:pt x="161960" y="91001"/>
                  </a:cubicBezTo>
                  <a:lnTo>
                    <a:pt x="161388" y="20547"/>
                  </a:lnTo>
                  <a:cubicBezTo>
                    <a:pt x="161289" y="8035"/>
                    <a:pt x="151017" y="-2130"/>
                    <a:pt x="138536" y="-2130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A50D2E05-C5B5-B86B-A5D8-AC8AE11D92B5}"/>
                </a:ext>
              </a:extLst>
            </p:cNvPr>
            <p:cNvSpPr/>
            <p:nvPr/>
          </p:nvSpPr>
          <p:spPr>
            <a:xfrm flipV="1">
              <a:off x="4476120" y="5326743"/>
              <a:ext cx="96913" cy="77457"/>
            </a:xfrm>
            <a:custGeom>
              <a:avLst/>
              <a:gdLst>
                <a:gd name="connsiteX0" fmla="*/ 108092 w 145489"/>
                <a:gd name="connsiteY0" fmla="*/ -2133 h 116281"/>
                <a:gd name="connsiteX1" fmla="*/ 70 w 145489"/>
                <a:gd name="connsiteY1" fmla="*/ -1264 h 116281"/>
                <a:gd name="connsiteX2" fmla="*/ -2955 w 145489"/>
                <a:gd name="connsiteY2" fmla="*/ -1035 h 116281"/>
                <a:gd name="connsiteX3" fmla="*/ 9831 w 145489"/>
                <a:gd name="connsiteY3" fmla="*/ 21642 h 116281"/>
                <a:gd name="connsiteX4" fmla="*/ 95740 w 145489"/>
                <a:gd name="connsiteY4" fmla="*/ 114149 h 116281"/>
                <a:gd name="connsiteX5" fmla="*/ 119864 w 145489"/>
                <a:gd name="connsiteY5" fmla="*/ 113951 h 116281"/>
                <a:gd name="connsiteX6" fmla="*/ 142534 w 145489"/>
                <a:gd name="connsiteY6" fmla="*/ 90908 h 116281"/>
                <a:gd name="connsiteX7" fmla="*/ 142061 w 145489"/>
                <a:gd name="connsiteY7" fmla="*/ 31159 h 116281"/>
                <a:gd name="connsiteX8" fmla="*/ 108092 w 145489"/>
                <a:gd name="connsiteY8" fmla="*/ -2133 h 11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489" h="116281">
                  <a:moveTo>
                    <a:pt x="108092" y="-2133"/>
                  </a:moveTo>
                  <a:lnTo>
                    <a:pt x="70" y="-1264"/>
                  </a:lnTo>
                  <a:cubicBezTo>
                    <a:pt x="-951" y="-1256"/>
                    <a:pt x="-1964" y="-1180"/>
                    <a:pt x="-2955" y="-1035"/>
                  </a:cubicBezTo>
                  <a:cubicBezTo>
                    <a:pt x="992" y="6592"/>
                    <a:pt x="5237" y="14151"/>
                    <a:pt x="9831" y="21642"/>
                  </a:cubicBezTo>
                  <a:cubicBezTo>
                    <a:pt x="31922" y="57707"/>
                    <a:pt x="63979" y="88561"/>
                    <a:pt x="95740" y="114149"/>
                  </a:cubicBezTo>
                  <a:lnTo>
                    <a:pt x="119864" y="113951"/>
                  </a:lnTo>
                  <a:cubicBezTo>
                    <a:pt x="132430" y="113851"/>
                    <a:pt x="142640" y="103481"/>
                    <a:pt x="142534" y="90908"/>
                  </a:cubicBezTo>
                  <a:lnTo>
                    <a:pt x="142061" y="31159"/>
                  </a:lnTo>
                  <a:cubicBezTo>
                    <a:pt x="129915" y="20727"/>
                    <a:pt x="118256" y="9579"/>
                    <a:pt x="108092" y="-2133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32750B06-23ED-296A-EAAD-CEA011E778A8}"/>
                </a:ext>
              </a:extLst>
            </p:cNvPr>
            <p:cNvSpPr/>
            <p:nvPr/>
          </p:nvSpPr>
          <p:spPr>
            <a:xfrm flipV="1">
              <a:off x="4772532" y="5289761"/>
              <a:ext cx="55204" cy="15257"/>
            </a:xfrm>
            <a:custGeom>
              <a:avLst/>
              <a:gdLst>
                <a:gd name="connsiteX0" fmla="*/ 79450 w 82875"/>
                <a:gd name="connsiteY0" fmla="*/ -2285 h 22905"/>
                <a:gd name="connsiteX1" fmla="*/ -3425 w 82875"/>
                <a:gd name="connsiteY1" fmla="*/ -1614 h 22905"/>
                <a:gd name="connsiteX2" fmla="*/ 9391 w 82875"/>
                <a:gd name="connsiteY2" fmla="*/ 7538 h 22905"/>
                <a:gd name="connsiteX3" fmla="*/ 44908 w 82875"/>
                <a:gd name="connsiteY3" fmla="*/ 20621 h 22905"/>
                <a:gd name="connsiteX4" fmla="*/ 75983 w 82875"/>
                <a:gd name="connsiteY4" fmla="*/ 3354 h 22905"/>
                <a:gd name="connsiteX5" fmla="*/ 79450 w 82875"/>
                <a:gd name="connsiteY5" fmla="*/ -2285 h 22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875" h="22905">
                  <a:moveTo>
                    <a:pt x="79450" y="-2285"/>
                  </a:moveTo>
                  <a:lnTo>
                    <a:pt x="-3425" y="-1614"/>
                  </a:lnTo>
                  <a:cubicBezTo>
                    <a:pt x="811" y="1480"/>
                    <a:pt x="5086" y="4535"/>
                    <a:pt x="9391" y="7538"/>
                  </a:cubicBezTo>
                  <a:cubicBezTo>
                    <a:pt x="21149" y="15729"/>
                    <a:pt x="33455" y="20621"/>
                    <a:pt x="44908" y="20621"/>
                  </a:cubicBezTo>
                  <a:cubicBezTo>
                    <a:pt x="56689" y="20621"/>
                    <a:pt x="67563" y="15447"/>
                    <a:pt x="75983" y="3354"/>
                  </a:cubicBezTo>
                  <a:cubicBezTo>
                    <a:pt x="77232" y="1571"/>
                    <a:pt x="78391" y="-319"/>
                    <a:pt x="79450" y="-2285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C34828E8-13D7-6FE1-1574-FB2208A591F1}"/>
                </a:ext>
              </a:extLst>
            </p:cNvPr>
            <p:cNvSpPr/>
            <p:nvPr/>
          </p:nvSpPr>
          <p:spPr>
            <a:xfrm flipV="1">
              <a:off x="4662123" y="5280935"/>
              <a:ext cx="54478" cy="23064"/>
            </a:xfrm>
            <a:custGeom>
              <a:avLst/>
              <a:gdLst>
                <a:gd name="connsiteX0" fmla="*/ 55606 w 81785"/>
                <a:gd name="connsiteY0" fmla="*/ -2296 h 34625"/>
                <a:gd name="connsiteX1" fmla="*/ 55423 w 81785"/>
                <a:gd name="connsiteY1" fmla="*/ -2296 h 34625"/>
                <a:gd name="connsiteX2" fmla="*/ -3236 w 81785"/>
                <a:gd name="connsiteY2" fmla="*/ -1823 h 34625"/>
                <a:gd name="connsiteX3" fmla="*/ 46172 w 81785"/>
                <a:gd name="connsiteY3" fmla="*/ 27262 h 34625"/>
                <a:gd name="connsiteX4" fmla="*/ 68651 w 81785"/>
                <a:gd name="connsiteY4" fmla="*/ 32330 h 34625"/>
                <a:gd name="connsiteX5" fmla="*/ 78549 w 81785"/>
                <a:gd name="connsiteY5" fmla="*/ 31385 h 34625"/>
                <a:gd name="connsiteX6" fmla="*/ 78458 w 81785"/>
                <a:gd name="connsiteY6" fmla="*/ 20374 h 34625"/>
                <a:gd name="connsiteX7" fmla="*/ 55606 w 81785"/>
                <a:gd name="connsiteY7" fmla="*/ -2296 h 3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85" h="34625">
                  <a:moveTo>
                    <a:pt x="55606" y="-2296"/>
                  </a:moveTo>
                  <a:cubicBezTo>
                    <a:pt x="55544" y="-2296"/>
                    <a:pt x="55484" y="-2296"/>
                    <a:pt x="55423" y="-2296"/>
                  </a:cubicBezTo>
                  <a:lnTo>
                    <a:pt x="-3236" y="-1823"/>
                  </a:lnTo>
                  <a:cubicBezTo>
                    <a:pt x="12735" y="9424"/>
                    <a:pt x="29217" y="19223"/>
                    <a:pt x="46172" y="27262"/>
                  </a:cubicBezTo>
                  <a:cubicBezTo>
                    <a:pt x="53449" y="30699"/>
                    <a:pt x="61115" y="32330"/>
                    <a:pt x="68651" y="32330"/>
                  </a:cubicBezTo>
                  <a:cubicBezTo>
                    <a:pt x="71989" y="32330"/>
                    <a:pt x="75303" y="32010"/>
                    <a:pt x="78549" y="31385"/>
                  </a:cubicBezTo>
                  <a:lnTo>
                    <a:pt x="78458" y="20374"/>
                  </a:lnTo>
                  <a:cubicBezTo>
                    <a:pt x="78359" y="7862"/>
                    <a:pt x="68087" y="-2303"/>
                    <a:pt x="55606" y="-2296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0F9E603E-FFE8-94DA-F584-939A71FFDA22}"/>
                </a:ext>
              </a:extLst>
            </p:cNvPr>
            <p:cNvSpPr/>
            <p:nvPr/>
          </p:nvSpPr>
          <p:spPr>
            <a:xfrm flipV="1">
              <a:off x="4752071" y="5428930"/>
              <a:ext cx="96775" cy="72569"/>
            </a:xfrm>
            <a:custGeom>
              <a:avLst/>
              <a:gdLst>
                <a:gd name="connsiteX0" fmla="*/ 44002 w 145283"/>
                <a:gd name="connsiteY0" fmla="*/ -1910 h 108943"/>
                <a:gd name="connsiteX1" fmla="*/ 19245 w 145283"/>
                <a:gd name="connsiteY1" fmla="*/ -1704 h 108943"/>
                <a:gd name="connsiteX2" fmla="*/ -3425 w 145283"/>
                <a:gd name="connsiteY2" fmla="*/ 21339 h 108943"/>
                <a:gd name="connsiteX3" fmla="*/ -2922 w 145283"/>
                <a:gd name="connsiteY3" fmla="*/ 84356 h 108943"/>
                <a:gd name="connsiteX4" fmla="*/ 19938 w 145283"/>
                <a:gd name="connsiteY4" fmla="*/ 107033 h 108943"/>
                <a:gd name="connsiteX5" fmla="*/ 20128 w 145283"/>
                <a:gd name="connsiteY5" fmla="*/ 107026 h 108943"/>
                <a:gd name="connsiteX6" fmla="*/ 141858 w 145283"/>
                <a:gd name="connsiteY6" fmla="*/ 106050 h 108943"/>
                <a:gd name="connsiteX7" fmla="*/ 44002 w 145283"/>
                <a:gd name="connsiteY7" fmla="*/ -1910 h 108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83" h="108943">
                  <a:moveTo>
                    <a:pt x="44002" y="-1910"/>
                  </a:moveTo>
                  <a:lnTo>
                    <a:pt x="19245" y="-1704"/>
                  </a:lnTo>
                  <a:cubicBezTo>
                    <a:pt x="6679" y="-1605"/>
                    <a:pt x="-3532" y="8766"/>
                    <a:pt x="-3425" y="21339"/>
                  </a:cubicBezTo>
                  <a:lnTo>
                    <a:pt x="-2922" y="84356"/>
                  </a:lnTo>
                  <a:cubicBezTo>
                    <a:pt x="-2815" y="96868"/>
                    <a:pt x="7449" y="107033"/>
                    <a:pt x="19938" y="107033"/>
                  </a:cubicBezTo>
                  <a:cubicBezTo>
                    <a:pt x="19999" y="107033"/>
                    <a:pt x="20068" y="107033"/>
                    <a:pt x="20128" y="107026"/>
                  </a:cubicBezTo>
                  <a:lnTo>
                    <a:pt x="141858" y="106050"/>
                  </a:lnTo>
                  <a:cubicBezTo>
                    <a:pt x="103148" y="70396"/>
                    <a:pt x="71487" y="34918"/>
                    <a:pt x="44002" y="-1910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AE5A8A10-1610-D44D-4A76-263986DD40AF}"/>
                </a:ext>
              </a:extLst>
            </p:cNvPr>
            <p:cNvSpPr/>
            <p:nvPr/>
          </p:nvSpPr>
          <p:spPr>
            <a:xfrm flipV="1">
              <a:off x="4608486" y="5427773"/>
              <a:ext cx="109120" cy="73066"/>
            </a:xfrm>
            <a:custGeom>
              <a:avLst/>
              <a:gdLst>
                <a:gd name="connsiteX0" fmla="*/ 137253 w 163815"/>
                <a:gd name="connsiteY0" fmla="*/ -1912 h 109689"/>
                <a:gd name="connsiteX1" fmla="*/ 137070 w 163815"/>
                <a:gd name="connsiteY1" fmla="*/ -1912 h 109689"/>
                <a:gd name="connsiteX2" fmla="*/ 133344 w 163815"/>
                <a:gd name="connsiteY2" fmla="*/ -1881 h 109689"/>
                <a:gd name="connsiteX3" fmla="*/ 160265 w 163815"/>
                <a:gd name="connsiteY3" fmla="*/ 38794 h 109689"/>
                <a:gd name="connsiteX4" fmla="*/ 160121 w 163815"/>
                <a:gd name="connsiteY4" fmla="*/ 20765 h 109689"/>
                <a:gd name="connsiteX5" fmla="*/ 137253 w 163815"/>
                <a:gd name="connsiteY5" fmla="*/ -1912 h 109689"/>
                <a:gd name="connsiteX6" fmla="*/ 112480 w 163815"/>
                <a:gd name="connsiteY6" fmla="*/ -1714 h 109689"/>
                <a:gd name="connsiteX7" fmla="*/ 19303 w 163815"/>
                <a:gd name="connsiteY7" fmla="*/ -967 h 109689"/>
                <a:gd name="connsiteX8" fmla="*/ -1515 w 163815"/>
                <a:gd name="connsiteY8" fmla="*/ 12894 h 109689"/>
                <a:gd name="connsiteX9" fmla="*/ 59636 w 163815"/>
                <a:gd name="connsiteY9" fmla="*/ 107458 h 109689"/>
                <a:gd name="connsiteX10" fmla="*/ 137947 w 163815"/>
                <a:gd name="connsiteY10" fmla="*/ 106825 h 109689"/>
                <a:gd name="connsiteX11" fmla="*/ 160624 w 163815"/>
                <a:gd name="connsiteY11" fmla="*/ 83783 h 109689"/>
                <a:gd name="connsiteX12" fmla="*/ 160486 w 163815"/>
                <a:gd name="connsiteY12" fmla="*/ 66599 h 109689"/>
                <a:gd name="connsiteX13" fmla="*/ 112480 w 163815"/>
                <a:gd name="connsiteY13" fmla="*/ -1714 h 109689"/>
                <a:gd name="connsiteX14" fmla="*/ -3191 w 163815"/>
                <a:gd name="connsiteY14" fmla="*/ 44974 h 109689"/>
                <a:gd name="connsiteX15" fmla="*/ -2863 w 163815"/>
                <a:gd name="connsiteY15" fmla="*/ 85101 h 109689"/>
                <a:gd name="connsiteX16" fmla="*/ 19981 w 163815"/>
                <a:gd name="connsiteY16" fmla="*/ 107778 h 109689"/>
                <a:gd name="connsiteX17" fmla="*/ 20172 w 163815"/>
                <a:gd name="connsiteY17" fmla="*/ 107770 h 109689"/>
                <a:gd name="connsiteX18" fmla="*/ 38056 w 163815"/>
                <a:gd name="connsiteY18" fmla="*/ 107633 h 109689"/>
                <a:gd name="connsiteX19" fmla="*/ -3191 w 163815"/>
                <a:gd name="connsiteY19" fmla="*/ 44974 h 10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3815" h="109689">
                  <a:moveTo>
                    <a:pt x="137253" y="-1912"/>
                  </a:moveTo>
                  <a:cubicBezTo>
                    <a:pt x="137192" y="-1912"/>
                    <a:pt x="137131" y="-1912"/>
                    <a:pt x="137070" y="-1912"/>
                  </a:cubicBezTo>
                  <a:lnTo>
                    <a:pt x="133344" y="-1881"/>
                  </a:lnTo>
                  <a:cubicBezTo>
                    <a:pt x="141932" y="11842"/>
                    <a:pt x="150870" y="25398"/>
                    <a:pt x="160265" y="38794"/>
                  </a:cubicBezTo>
                  <a:lnTo>
                    <a:pt x="160121" y="20765"/>
                  </a:lnTo>
                  <a:cubicBezTo>
                    <a:pt x="160014" y="8253"/>
                    <a:pt x="149750" y="-1912"/>
                    <a:pt x="137253" y="-1912"/>
                  </a:cubicBezTo>
                  <a:moveTo>
                    <a:pt x="112480" y="-1714"/>
                  </a:moveTo>
                  <a:lnTo>
                    <a:pt x="19303" y="-967"/>
                  </a:lnTo>
                  <a:cubicBezTo>
                    <a:pt x="9984" y="-891"/>
                    <a:pt x="1975" y="4824"/>
                    <a:pt x="-1515" y="12894"/>
                  </a:cubicBezTo>
                  <a:cubicBezTo>
                    <a:pt x="17756" y="46429"/>
                    <a:pt x="38125" y="77931"/>
                    <a:pt x="59636" y="107458"/>
                  </a:cubicBezTo>
                  <a:lnTo>
                    <a:pt x="137947" y="106825"/>
                  </a:lnTo>
                  <a:cubicBezTo>
                    <a:pt x="150527" y="106727"/>
                    <a:pt x="160730" y="96356"/>
                    <a:pt x="160624" y="83783"/>
                  </a:cubicBezTo>
                  <a:lnTo>
                    <a:pt x="160486" y="66599"/>
                  </a:lnTo>
                  <a:cubicBezTo>
                    <a:pt x="143791" y="45149"/>
                    <a:pt x="127797" y="22373"/>
                    <a:pt x="112480" y="-1714"/>
                  </a:cubicBezTo>
                  <a:moveTo>
                    <a:pt x="-3191" y="44974"/>
                  </a:moveTo>
                  <a:lnTo>
                    <a:pt x="-2863" y="85101"/>
                  </a:lnTo>
                  <a:cubicBezTo>
                    <a:pt x="-2764" y="97605"/>
                    <a:pt x="7500" y="107778"/>
                    <a:pt x="19981" y="107778"/>
                  </a:cubicBezTo>
                  <a:cubicBezTo>
                    <a:pt x="20050" y="107778"/>
                    <a:pt x="20111" y="107778"/>
                    <a:pt x="20172" y="107770"/>
                  </a:cubicBezTo>
                  <a:lnTo>
                    <a:pt x="38056" y="107633"/>
                  </a:lnTo>
                  <a:cubicBezTo>
                    <a:pt x="23045" y="87326"/>
                    <a:pt x="9237" y="66112"/>
                    <a:pt x="-3191" y="44974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C3853195-32D5-DF6F-C37B-2234D97FF550}"/>
                </a:ext>
              </a:extLst>
            </p:cNvPr>
            <p:cNvSpPr/>
            <p:nvPr/>
          </p:nvSpPr>
          <p:spPr>
            <a:xfrm flipV="1">
              <a:off x="4464764" y="5426615"/>
              <a:ext cx="109968" cy="73071"/>
            </a:xfrm>
            <a:custGeom>
              <a:avLst/>
              <a:gdLst>
                <a:gd name="connsiteX0" fmla="*/ 138786 w 165088"/>
                <a:gd name="connsiteY0" fmla="*/ -1914 h 109697"/>
                <a:gd name="connsiteX1" fmla="*/ 138596 w 165088"/>
                <a:gd name="connsiteY1" fmla="*/ -1914 h 109697"/>
                <a:gd name="connsiteX2" fmla="*/ 19731 w 165088"/>
                <a:gd name="connsiteY2" fmla="*/ -954 h 109697"/>
                <a:gd name="connsiteX3" fmla="*/ -2946 w 165088"/>
                <a:gd name="connsiteY3" fmla="*/ 22081 h 109697"/>
                <a:gd name="connsiteX4" fmla="*/ -2435 w 165088"/>
                <a:gd name="connsiteY4" fmla="*/ 85106 h 109697"/>
                <a:gd name="connsiteX5" fmla="*/ 20425 w 165088"/>
                <a:gd name="connsiteY5" fmla="*/ 107783 h 109697"/>
                <a:gd name="connsiteX6" fmla="*/ 20608 w 165088"/>
                <a:gd name="connsiteY6" fmla="*/ 107783 h 109697"/>
                <a:gd name="connsiteX7" fmla="*/ 101128 w 165088"/>
                <a:gd name="connsiteY7" fmla="*/ 107135 h 109697"/>
                <a:gd name="connsiteX8" fmla="*/ 68248 w 165088"/>
                <a:gd name="connsiteY8" fmla="*/ 21182 h 109697"/>
                <a:gd name="connsiteX9" fmla="*/ 74481 w 165088"/>
                <a:gd name="connsiteY9" fmla="*/ 14369 h 109697"/>
                <a:gd name="connsiteX10" fmla="*/ 81354 w 165088"/>
                <a:gd name="connsiteY10" fmla="*/ 18210 h 109697"/>
                <a:gd name="connsiteX11" fmla="*/ 128941 w 165088"/>
                <a:gd name="connsiteY11" fmla="*/ 106907 h 109697"/>
                <a:gd name="connsiteX12" fmla="*/ 139465 w 165088"/>
                <a:gd name="connsiteY12" fmla="*/ 106823 h 109697"/>
                <a:gd name="connsiteX13" fmla="*/ 162141 w 165088"/>
                <a:gd name="connsiteY13" fmla="*/ 83780 h 109697"/>
                <a:gd name="connsiteX14" fmla="*/ 161631 w 165088"/>
                <a:gd name="connsiteY14" fmla="*/ 20763 h 109697"/>
                <a:gd name="connsiteX15" fmla="*/ 138786 w 165088"/>
                <a:gd name="connsiteY15" fmla="*/ -1914 h 109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5088" h="109697">
                  <a:moveTo>
                    <a:pt x="138786" y="-1914"/>
                  </a:moveTo>
                  <a:cubicBezTo>
                    <a:pt x="138725" y="-1914"/>
                    <a:pt x="138657" y="-1914"/>
                    <a:pt x="138596" y="-1914"/>
                  </a:cubicBezTo>
                  <a:lnTo>
                    <a:pt x="19731" y="-954"/>
                  </a:lnTo>
                  <a:cubicBezTo>
                    <a:pt x="7166" y="-855"/>
                    <a:pt x="-3045" y="9508"/>
                    <a:pt x="-2946" y="22081"/>
                  </a:cubicBezTo>
                  <a:lnTo>
                    <a:pt x="-2435" y="85106"/>
                  </a:lnTo>
                  <a:cubicBezTo>
                    <a:pt x="-2336" y="97618"/>
                    <a:pt x="7936" y="107783"/>
                    <a:pt x="20425" y="107783"/>
                  </a:cubicBezTo>
                  <a:cubicBezTo>
                    <a:pt x="20486" y="107783"/>
                    <a:pt x="20547" y="107783"/>
                    <a:pt x="20608" y="107783"/>
                  </a:cubicBezTo>
                  <a:lnTo>
                    <a:pt x="101128" y="107135"/>
                  </a:lnTo>
                  <a:cubicBezTo>
                    <a:pt x="86528" y="80907"/>
                    <a:pt x="76600" y="52279"/>
                    <a:pt x="68248" y="21182"/>
                  </a:cubicBezTo>
                  <a:cubicBezTo>
                    <a:pt x="69284" y="17875"/>
                    <a:pt x="71174" y="14369"/>
                    <a:pt x="74481" y="14369"/>
                  </a:cubicBezTo>
                  <a:cubicBezTo>
                    <a:pt x="76310" y="14369"/>
                    <a:pt x="78565" y="15436"/>
                    <a:pt x="81354" y="18210"/>
                  </a:cubicBezTo>
                  <a:cubicBezTo>
                    <a:pt x="94666" y="46930"/>
                    <a:pt x="110638" y="77044"/>
                    <a:pt x="128941" y="106907"/>
                  </a:cubicBezTo>
                  <a:lnTo>
                    <a:pt x="139465" y="106823"/>
                  </a:lnTo>
                  <a:cubicBezTo>
                    <a:pt x="152038" y="106716"/>
                    <a:pt x="162241" y="96345"/>
                    <a:pt x="162141" y="83780"/>
                  </a:cubicBezTo>
                  <a:lnTo>
                    <a:pt x="161631" y="20763"/>
                  </a:lnTo>
                  <a:cubicBezTo>
                    <a:pt x="161532" y="8251"/>
                    <a:pt x="151268" y="-1914"/>
                    <a:pt x="138786" y="-1914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3C47D407-ECED-FFCB-754B-CDB0D8641173}"/>
                </a:ext>
              </a:extLst>
            </p:cNvPr>
            <p:cNvSpPr/>
            <p:nvPr/>
          </p:nvSpPr>
          <p:spPr>
            <a:xfrm flipV="1">
              <a:off x="4047808" y="5403256"/>
              <a:ext cx="677833" cy="762052"/>
            </a:xfrm>
            <a:custGeom>
              <a:avLst/>
              <a:gdLst>
                <a:gd name="connsiteX0" fmla="*/ 935135 w 1017589"/>
                <a:gd name="connsiteY0" fmla="*/ 764018 h 1144022"/>
                <a:gd name="connsiteX1" fmla="*/ 986326 w 1017589"/>
                <a:gd name="connsiteY1" fmla="*/ 876284 h 1144022"/>
                <a:gd name="connsiteX2" fmla="*/ 969882 w 1017589"/>
                <a:gd name="connsiteY2" fmla="*/ 942555 h 1144022"/>
                <a:gd name="connsiteX3" fmla="*/ 1014871 w 1017589"/>
                <a:gd name="connsiteY3" fmla="*/ 1005504 h 1144022"/>
                <a:gd name="connsiteX4" fmla="*/ 929458 w 1017589"/>
                <a:gd name="connsiteY4" fmla="*/ 1008948 h 1144022"/>
                <a:gd name="connsiteX5" fmla="*/ 891343 w 1017589"/>
                <a:gd name="connsiteY5" fmla="*/ 1025811 h 1144022"/>
                <a:gd name="connsiteX6" fmla="*/ 868064 w 1017589"/>
                <a:gd name="connsiteY6" fmla="*/ 1073375 h 1144022"/>
                <a:gd name="connsiteX7" fmla="*/ 792618 w 1017589"/>
                <a:gd name="connsiteY7" fmla="*/ 1061404 h 1144022"/>
                <a:gd name="connsiteX8" fmla="*/ 765247 w 1017589"/>
                <a:gd name="connsiteY8" fmla="*/ 1061404 h 1144022"/>
                <a:gd name="connsiteX9" fmla="*/ 752606 w 1017589"/>
                <a:gd name="connsiteY9" fmla="*/ 1066494 h 1144022"/>
                <a:gd name="connsiteX10" fmla="*/ 725402 w 1017589"/>
                <a:gd name="connsiteY10" fmla="*/ 1111284 h 1144022"/>
                <a:gd name="connsiteX11" fmla="*/ 655778 w 1017589"/>
                <a:gd name="connsiteY11" fmla="*/ 1106362 h 1144022"/>
                <a:gd name="connsiteX12" fmla="*/ 637536 w 1017589"/>
                <a:gd name="connsiteY12" fmla="*/ 1113860 h 1144022"/>
                <a:gd name="connsiteX13" fmla="*/ 611994 w 1017589"/>
                <a:gd name="connsiteY13" fmla="*/ 1102659 h 1144022"/>
                <a:gd name="connsiteX14" fmla="*/ 603452 w 1017589"/>
                <a:gd name="connsiteY14" fmla="*/ 1133703 h 1144022"/>
                <a:gd name="connsiteX15" fmla="*/ 579906 w 1017589"/>
                <a:gd name="connsiteY15" fmla="*/ 1142389 h 1144022"/>
                <a:gd name="connsiteX16" fmla="*/ 551361 w 1017589"/>
                <a:gd name="connsiteY16" fmla="*/ 1138366 h 1144022"/>
                <a:gd name="connsiteX17" fmla="*/ 540419 w 1017589"/>
                <a:gd name="connsiteY17" fmla="*/ 1132278 h 1144022"/>
                <a:gd name="connsiteX18" fmla="*/ 536540 w 1017589"/>
                <a:gd name="connsiteY18" fmla="*/ 1129916 h 1144022"/>
                <a:gd name="connsiteX19" fmla="*/ 361776 w 1017589"/>
                <a:gd name="connsiteY19" fmla="*/ 784531 h 1144022"/>
                <a:gd name="connsiteX20" fmla="*/ 361989 w 1017589"/>
                <a:gd name="connsiteY20" fmla="*/ 639264 h 1144022"/>
                <a:gd name="connsiteX21" fmla="*/ 251583 w 1017589"/>
                <a:gd name="connsiteY21" fmla="*/ 460133 h 1144022"/>
                <a:gd name="connsiteX22" fmla="*/ 190166 w 1017589"/>
                <a:gd name="connsiteY22" fmla="*/ 410618 h 1144022"/>
                <a:gd name="connsiteX23" fmla="*/ -2719 w 1017589"/>
                <a:gd name="connsiteY23" fmla="*/ 53903 h 1144022"/>
                <a:gd name="connsiteX24" fmla="*/ 232579 w 1017589"/>
                <a:gd name="connsiteY24" fmla="*/ -1197 h 1144022"/>
                <a:gd name="connsiteX25" fmla="*/ 543993 w 1017589"/>
                <a:gd name="connsiteY25" fmla="*/ 235823 h 1144022"/>
                <a:gd name="connsiteX26" fmla="*/ 596502 w 1017589"/>
                <a:gd name="connsiteY26" fmla="*/ 348728 h 1144022"/>
                <a:gd name="connsiteX27" fmla="*/ 689984 w 1017589"/>
                <a:gd name="connsiteY27" fmla="*/ 493485 h 1144022"/>
                <a:gd name="connsiteX28" fmla="*/ 799461 w 1017589"/>
                <a:gd name="connsiteY28" fmla="*/ 516315 h 1144022"/>
                <a:gd name="connsiteX29" fmla="*/ 1006755 w 1017589"/>
                <a:gd name="connsiteY29" fmla="*/ 644628 h 1144022"/>
                <a:gd name="connsiteX30" fmla="*/ 935135 w 1017589"/>
                <a:gd name="connsiteY30" fmla="*/ 764018 h 114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17589" h="1144022">
                  <a:moveTo>
                    <a:pt x="935135" y="764018"/>
                  </a:moveTo>
                  <a:lnTo>
                    <a:pt x="986326" y="876284"/>
                  </a:lnTo>
                  <a:lnTo>
                    <a:pt x="969882" y="942555"/>
                  </a:lnTo>
                  <a:lnTo>
                    <a:pt x="1014871" y="1005504"/>
                  </a:lnTo>
                  <a:lnTo>
                    <a:pt x="929458" y="1008948"/>
                  </a:lnTo>
                  <a:cubicBezTo>
                    <a:pt x="912923" y="998646"/>
                    <a:pt x="899451" y="1008491"/>
                    <a:pt x="891343" y="1025811"/>
                  </a:cubicBezTo>
                  <a:cubicBezTo>
                    <a:pt x="885506" y="1040449"/>
                    <a:pt x="885780" y="1063202"/>
                    <a:pt x="868064" y="1073375"/>
                  </a:cubicBezTo>
                  <a:cubicBezTo>
                    <a:pt x="833012" y="1092585"/>
                    <a:pt x="822550" y="1084089"/>
                    <a:pt x="792618" y="1061404"/>
                  </a:cubicBezTo>
                  <a:cubicBezTo>
                    <a:pt x="775519" y="1040563"/>
                    <a:pt x="759974" y="1056535"/>
                    <a:pt x="765247" y="1061404"/>
                  </a:cubicBezTo>
                  <a:cubicBezTo>
                    <a:pt x="765125" y="1063972"/>
                    <a:pt x="753528" y="1063545"/>
                    <a:pt x="752606" y="1066494"/>
                  </a:cubicBezTo>
                  <a:cubicBezTo>
                    <a:pt x="748110" y="1082992"/>
                    <a:pt x="743888" y="1100746"/>
                    <a:pt x="725402" y="1111284"/>
                  </a:cubicBezTo>
                  <a:cubicBezTo>
                    <a:pt x="694785" y="1128910"/>
                    <a:pt x="681915" y="1126166"/>
                    <a:pt x="655778" y="1106362"/>
                  </a:cubicBezTo>
                  <a:cubicBezTo>
                    <a:pt x="640096" y="1092318"/>
                    <a:pt x="637536" y="1113860"/>
                    <a:pt x="637536" y="1113860"/>
                  </a:cubicBezTo>
                  <a:cubicBezTo>
                    <a:pt x="637536" y="1113860"/>
                    <a:pt x="615423" y="1098140"/>
                    <a:pt x="611994" y="1102659"/>
                  </a:cubicBezTo>
                  <a:cubicBezTo>
                    <a:pt x="607696" y="1110210"/>
                    <a:pt x="612413" y="1128140"/>
                    <a:pt x="603452" y="1133703"/>
                  </a:cubicBezTo>
                  <a:cubicBezTo>
                    <a:pt x="594010" y="1138107"/>
                    <a:pt x="586207" y="1141033"/>
                    <a:pt x="579906" y="1142389"/>
                  </a:cubicBezTo>
                  <a:cubicBezTo>
                    <a:pt x="570205" y="1143609"/>
                    <a:pt x="560711" y="1142268"/>
                    <a:pt x="551361" y="1138366"/>
                  </a:cubicBezTo>
                  <a:cubicBezTo>
                    <a:pt x="547803" y="1137132"/>
                    <a:pt x="544160" y="1135082"/>
                    <a:pt x="540419" y="1132278"/>
                  </a:cubicBezTo>
                  <a:cubicBezTo>
                    <a:pt x="536540" y="1129916"/>
                    <a:pt x="541455" y="1133550"/>
                    <a:pt x="536540" y="1129916"/>
                  </a:cubicBezTo>
                  <a:lnTo>
                    <a:pt x="361776" y="784531"/>
                  </a:lnTo>
                  <a:cubicBezTo>
                    <a:pt x="338260" y="720005"/>
                    <a:pt x="343320" y="683201"/>
                    <a:pt x="361989" y="639264"/>
                  </a:cubicBezTo>
                  <a:cubicBezTo>
                    <a:pt x="323340" y="579226"/>
                    <a:pt x="292540" y="519492"/>
                    <a:pt x="251583" y="460133"/>
                  </a:cubicBezTo>
                  <a:cubicBezTo>
                    <a:pt x="238995" y="441868"/>
                    <a:pt x="203188" y="428837"/>
                    <a:pt x="190166" y="410618"/>
                  </a:cubicBezTo>
                  <a:cubicBezTo>
                    <a:pt x="112030" y="299427"/>
                    <a:pt x="83318" y="162648"/>
                    <a:pt x="-2719" y="53903"/>
                  </a:cubicBezTo>
                  <a:lnTo>
                    <a:pt x="232579" y="-1197"/>
                  </a:lnTo>
                  <a:lnTo>
                    <a:pt x="543993" y="235823"/>
                  </a:lnTo>
                  <a:lnTo>
                    <a:pt x="596502" y="348728"/>
                  </a:lnTo>
                  <a:lnTo>
                    <a:pt x="689984" y="493485"/>
                  </a:lnTo>
                  <a:cubicBezTo>
                    <a:pt x="710665" y="485896"/>
                    <a:pt x="763068" y="496800"/>
                    <a:pt x="799461" y="516315"/>
                  </a:cubicBezTo>
                  <a:lnTo>
                    <a:pt x="1006755" y="644628"/>
                  </a:lnTo>
                  <a:lnTo>
                    <a:pt x="935135" y="764018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4EE362CF-CCD5-947B-E720-9BF95DB0E2B8}"/>
                </a:ext>
              </a:extLst>
            </p:cNvPr>
            <p:cNvSpPr/>
            <p:nvPr/>
          </p:nvSpPr>
          <p:spPr>
            <a:xfrm flipV="1">
              <a:off x="4654824" y="5328738"/>
              <a:ext cx="220345" cy="259231"/>
            </a:xfrm>
            <a:custGeom>
              <a:avLst/>
              <a:gdLst>
                <a:gd name="connsiteX0" fmla="*/ 327426 w 330791"/>
                <a:gd name="connsiteY0" fmla="*/ 387244 h 389168"/>
                <a:gd name="connsiteX1" fmla="*/ -3365 w 330791"/>
                <a:gd name="connsiteY1" fmla="*/ -1925 h 38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0791" h="389168">
                  <a:moveTo>
                    <a:pt x="327426" y="387244"/>
                  </a:moveTo>
                  <a:cubicBezTo>
                    <a:pt x="157882" y="269423"/>
                    <a:pt x="86612" y="159131"/>
                    <a:pt x="-3365" y="-1925"/>
                  </a:cubicBezTo>
                </a:path>
              </a:pathLst>
            </a:custGeom>
            <a:noFill/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E11015AF-BBB9-4396-359B-70FBFB7D1B1E}"/>
                </a:ext>
              </a:extLst>
            </p:cNvPr>
            <p:cNvSpPr/>
            <p:nvPr/>
          </p:nvSpPr>
          <p:spPr>
            <a:xfrm flipV="1">
              <a:off x="4490532" y="5260641"/>
              <a:ext cx="206979" cy="284316"/>
            </a:xfrm>
            <a:custGeom>
              <a:avLst/>
              <a:gdLst>
                <a:gd name="connsiteX0" fmla="*/ 307652 w 310725"/>
                <a:gd name="connsiteY0" fmla="*/ 424777 h 426826"/>
                <a:gd name="connsiteX1" fmla="*/ 3622 w 310725"/>
                <a:gd name="connsiteY1" fmla="*/ -2049 h 426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0725" h="426826">
                  <a:moveTo>
                    <a:pt x="307652" y="424777"/>
                  </a:moveTo>
                  <a:cubicBezTo>
                    <a:pt x="107627" y="329527"/>
                    <a:pt x="-36375" y="34313"/>
                    <a:pt x="3622" y="-2049"/>
                  </a:cubicBezTo>
                </a:path>
              </a:pathLst>
            </a:custGeom>
            <a:noFill/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EB10F2E4-3671-BBEC-11F2-13090BD195D0}"/>
                </a:ext>
              </a:extLst>
            </p:cNvPr>
            <p:cNvSpPr/>
            <p:nvPr/>
          </p:nvSpPr>
          <p:spPr>
            <a:xfrm flipV="1">
              <a:off x="4406546" y="5275498"/>
              <a:ext cx="153918" cy="254897"/>
            </a:xfrm>
            <a:custGeom>
              <a:avLst/>
              <a:gdLst>
                <a:gd name="connsiteX0" fmla="*/ 228184 w 231068"/>
                <a:gd name="connsiteY0" fmla="*/ 380612 h 382661"/>
                <a:gd name="connsiteX1" fmla="*/ 98370 w 231068"/>
                <a:gd name="connsiteY1" fmla="*/ 271997 h 382661"/>
                <a:gd name="connsiteX2" fmla="*/ -2885 w 231068"/>
                <a:gd name="connsiteY2" fmla="*/ -2049 h 38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1068" h="382661">
                  <a:moveTo>
                    <a:pt x="228184" y="380612"/>
                  </a:moveTo>
                  <a:cubicBezTo>
                    <a:pt x="181725" y="353630"/>
                    <a:pt x="131608" y="316505"/>
                    <a:pt x="98370" y="271997"/>
                  </a:cubicBezTo>
                  <a:cubicBezTo>
                    <a:pt x="40176" y="194067"/>
                    <a:pt x="33577" y="102825"/>
                    <a:pt x="-2885" y="-2049"/>
                  </a:cubicBezTo>
                </a:path>
              </a:pathLst>
            </a:custGeom>
            <a:noFill/>
            <a:ln w="101401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F69F049B-18CC-EE69-C97E-C449047AAFC2}"/>
                </a:ext>
              </a:extLst>
            </p:cNvPr>
            <p:cNvSpPr/>
            <p:nvPr/>
          </p:nvSpPr>
          <p:spPr>
            <a:xfrm flipV="1">
              <a:off x="4567901" y="5270793"/>
              <a:ext cx="246354" cy="281555"/>
            </a:xfrm>
            <a:custGeom>
              <a:avLst/>
              <a:gdLst>
                <a:gd name="connsiteX0" fmla="*/ 366598 w 369836"/>
                <a:gd name="connsiteY0" fmla="*/ 420652 h 422681"/>
                <a:gd name="connsiteX1" fmla="*/ -3239 w 369836"/>
                <a:gd name="connsiteY1" fmla="*/ -2030 h 422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9836" h="422681">
                  <a:moveTo>
                    <a:pt x="366598" y="420652"/>
                  </a:moveTo>
                  <a:cubicBezTo>
                    <a:pt x="197159" y="323657"/>
                    <a:pt x="85374" y="177376"/>
                    <a:pt x="-3239" y="-2030"/>
                  </a:cubicBezTo>
                </a:path>
              </a:pathLst>
            </a:custGeom>
            <a:solidFill>
              <a:srgbClr val="E8E4E2">
                <a:lumMod val="75000"/>
              </a:srgbClr>
            </a:solidFill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DB6D7BCF-4598-C9B8-3682-A5B0B93A5969}"/>
                </a:ext>
              </a:extLst>
            </p:cNvPr>
            <p:cNvSpPr/>
            <p:nvPr/>
          </p:nvSpPr>
          <p:spPr>
            <a:xfrm flipV="1">
              <a:off x="4646865" y="5550825"/>
              <a:ext cx="210047" cy="174080"/>
            </a:xfrm>
            <a:custGeom>
              <a:avLst/>
              <a:gdLst>
                <a:gd name="connsiteX0" fmla="*/ -3343 w 315330"/>
                <a:gd name="connsiteY0" fmla="*/ -1524 h 261335"/>
                <a:gd name="connsiteX1" fmla="*/ 220068 w 315330"/>
                <a:gd name="connsiteY1" fmla="*/ 114315 h 261335"/>
                <a:gd name="connsiteX2" fmla="*/ 311988 w 315330"/>
                <a:gd name="connsiteY2" fmla="*/ 259811 h 261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5330" h="261335">
                  <a:moveTo>
                    <a:pt x="-3343" y="-1524"/>
                  </a:moveTo>
                  <a:lnTo>
                    <a:pt x="220068" y="114315"/>
                  </a:lnTo>
                  <a:lnTo>
                    <a:pt x="311988" y="259811"/>
                  </a:lnTo>
                </a:path>
              </a:pathLst>
            </a:custGeom>
            <a:noFill/>
            <a:ln w="140559" cap="rnd">
              <a:solidFill>
                <a:srgbClr val="BFBFB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5476F202-A984-45CF-4618-2730EF989429}"/>
                </a:ext>
              </a:extLst>
            </p:cNvPr>
            <p:cNvSpPr/>
            <p:nvPr/>
          </p:nvSpPr>
          <p:spPr>
            <a:xfrm flipV="1">
              <a:off x="4210235" y="5798677"/>
              <a:ext cx="253789" cy="182728"/>
            </a:xfrm>
            <a:custGeom>
              <a:avLst/>
              <a:gdLst>
                <a:gd name="connsiteX0" fmla="*/ 309785 w 380999"/>
                <a:gd name="connsiteY0" fmla="*/ -961 h 274319"/>
                <a:gd name="connsiteX1" fmla="*/ -2635 w 380999"/>
                <a:gd name="connsiteY1" fmla="*/ 159059 h 274319"/>
                <a:gd name="connsiteX2" fmla="*/ 64536 w 380999"/>
                <a:gd name="connsiteY2" fmla="*/ 273359 h 274319"/>
                <a:gd name="connsiteX3" fmla="*/ 378365 w 380999"/>
                <a:gd name="connsiteY3" fmla="*/ 113339 h 274319"/>
                <a:gd name="connsiteX4" fmla="*/ 309785 w 380999"/>
                <a:gd name="connsiteY4" fmla="*/ -961 h 27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999" h="274319">
                  <a:moveTo>
                    <a:pt x="309785" y="-961"/>
                  </a:moveTo>
                  <a:lnTo>
                    <a:pt x="-2635" y="159059"/>
                  </a:lnTo>
                  <a:lnTo>
                    <a:pt x="64536" y="273359"/>
                  </a:lnTo>
                  <a:lnTo>
                    <a:pt x="378365" y="113339"/>
                  </a:lnTo>
                  <a:lnTo>
                    <a:pt x="309785" y="-961"/>
                  </a:ln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BD149CB8-A704-5BFB-6C72-229E2B7C56AA}"/>
                </a:ext>
              </a:extLst>
            </p:cNvPr>
            <p:cNvSpPr/>
            <p:nvPr/>
          </p:nvSpPr>
          <p:spPr>
            <a:xfrm flipV="1">
              <a:off x="3861714" y="5807219"/>
              <a:ext cx="666631" cy="832123"/>
            </a:xfrm>
            <a:custGeom>
              <a:avLst/>
              <a:gdLst>
                <a:gd name="connsiteX0" fmla="*/ -2392 w 1000772"/>
                <a:gd name="connsiteY0" fmla="*/ 250559 h 1249215"/>
                <a:gd name="connsiteX1" fmla="*/ 410703 w 1000772"/>
                <a:gd name="connsiteY1" fmla="*/ 41771 h 1249215"/>
                <a:gd name="connsiteX2" fmla="*/ 493708 w 1000772"/>
                <a:gd name="connsiteY2" fmla="*/ -217 h 1249215"/>
                <a:gd name="connsiteX3" fmla="*/ 998381 w 1000772"/>
                <a:gd name="connsiteY3" fmla="*/ 998232 h 1249215"/>
                <a:gd name="connsiteX4" fmla="*/ 915460 w 1000772"/>
                <a:gd name="connsiteY4" fmla="*/ 1040203 h 1249215"/>
                <a:gd name="connsiteX5" fmla="*/ 502364 w 1000772"/>
                <a:gd name="connsiteY5" fmla="*/ 1248999 h 1249215"/>
                <a:gd name="connsiteX6" fmla="*/ -2392 w 1000772"/>
                <a:gd name="connsiteY6" fmla="*/ 250559 h 1249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772" h="1249215">
                  <a:moveTo>
                    <a:pt x="-2392" y="250559"/>
                  </a:moveTo>
                  <a:lnTo>
                    <a:pt x="410703" y="41771"/>
                  </a:lnTo>
                  <a:lnTo>
                    <a:pt x="493708" y="-217"/>
                  </a:lnTo>
                  <a:lnTo>
                    <a:pt x="998381" y="998232"/>
                  </a:lnTo>
                  <a:lnTo>
                    <a:pt x="915460" y="1040203"/>
                  </a:lnTo>
                  <a:lnTo>
                    <a:pt x="502364" y="1248999"/>
                  </a:lnTo>
                  <a:lnTo>
                    <a:pt x="-2392" y="250559"/>
                  </a:lnTo>
                </a:path>
              </a:pathLst>
            </a:custGeom>
            <a:solidFill>
              <a:srgbClr val="4DA5C3">
                <a:lumMod val="20000"/>
                <a:lumOff val="80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81984319-8FF6-6DDC-0357-8FB5F9CAD0D0}"/>
                </a:ext>
              </a:extLst>
            </p:cNvPr>
            <p:cNvSpPr/>
            <p:nvPr/>
          </p:nvSpPr>
          <p:spPr>
            <a:xfrm flipV="1">
              <a:off x="3861714" y="5800626"/>
              <a:ext cx="611396" cy="810748"/>
            </a:xfrm>
            <a:custGeom>
              <a:avLst/>
              <a:gdLst>
                <a:gd name="connsiteX0" fmla="*/ -2345 w 917851"/>
                <a:gd name="connsiteY0" fmla="*/ 208532 h 1217126"/>
                <a:gd name="connsiteX1" fmla="*/ 410751 w 917851"/>
                <a:gd name="connsiteY1" fmla="*/ -256 h 1217126"/>
                <a:gd name="connsiteX2" fmla="*/ 915507 w 917851"/>
                <a:gd name="connsiteY2" fmla="*/ 998177 h 1217126"/>
                <a:gd name="connsiteX3" fmla="*/ 482821 w 917851"/>
                <a:gd name="connsiteY3" fmla="*/ 1216871 h 1217126"/>
                <a:gd name="connsiteX4" fmla="*/ -2345 w 917851"/>
                <a:gd name="connsiteY4" fmla="*/ 208532 h 121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7851" h="1217126">
                  <a:moveTo>
                    <a:pt x="-2345" y="208532"/>
                  </a:moveTo>
                  <a:lnTo>
                    <a:pt x="410751" y="-256"/>
                  </a:lnTo>
                  <a:lnTo>
                    <a:pt x="915507" y="998177"/>
                  </a:lnTo>
                  <a:lnTo>
                    <a:pt x="482821" y="1216871"/>
                  </a:lnTo>
                  <a:lnTo>
                    <a:pt x="-2345" y="208532"/>
                  </a:ln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85CB249F-DD25-1525-0E29-BF3A8835B363}"/>
                </a:ext>
              </a:extLst>
            </p:cNvPr>
            <p:cNvSpPr/>
            <p:nvPr/>
          </p:nvSpPr>
          <p:spPr>
            <a:xfrm flipV="1">
              <a:off x="3641145" y="5920359"/>
              <a:ext cx="839483" cy="937654"/>
            </a:xfrm>
            <a:custGeom>
              <a:avLst/>
              <a:gdLst>
                <a:gd name="connsiteX0" fmla="*/ 1258101 w 1260264"/>
                <a:gd name="connsiteY0" fmla="*/ 1139564 h 1407642"/>
                <a:gd name="connsiteX1" fmla="*/ 673960 w 1260264"/>
                <a:gd name="connsiteY1" fmla="*/ 153 h 1407642"/>
                <a:gd name="connsiteX2" fmla="*/ -2163 w 1260264"/>
                <a:gd name="connsiteY2" fmla="*/ 153 h 1407642"/>
                <a:gd name="connsiteX3" fmla="*/ 727528 w 1260264"/>
                <a:gd name="connsiteY3" fmla="*/ 1407796 h 1407642"/>
                <a:gd name="connsiteX4" fmla="*/ 848610 w 1260264"/>
                <a:gd name="connsiteY4" fmla="*/ 1346523 h 1407642"/>
                <a:gd name="connsiteX5" fmla="*/ 1119036 w 1260264"/>
                <a:gd name="connsiteY5" fmla="*/ 1209828 h 1407642"/>
                <a:gd name="connsiteX6" fmla="*/ 1258101 w 1260264"/>
                <a:gd name="connsiteY6" fmla="*/ 1139564 h 140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0264" h="1407642">
                  <a:moveTo>
                    <a:pt x="1258101" y="1139564"/>
                  </a:moveTo>
                  <a:lnTo>
                    <a:pt x="673960" y="153"/>
                  </a:lnTo>
                  <a:lnTo>
                    <a:pt x="-2163" y="153"/>
                  </a:lnTo>
                  <a:lnTo>
                    <a:pt x="727528" y="1407796"/>
                  </a:lnTo>
                  <a:lnTo>
                    <a:pt x="848610" y="1346523"/>
                  </a:lnTo>
                  <a:lnTo>
                    <a:pt x="1119036" y="1209828"/>
                  </a:lnTo>
                  <a:lnTo>
                    <a:pt x="1258101" y="1139564"/>
                  </a:lnTo>
                </a:path>
              </a:pathLst>
            </a:custGeom>
            <a:solidFill>
              <a:srgbClr val="0E5578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7C03B4BC-5D9E-DB53-F45E-0A538CC5622F}"/>
                </a:ext>
              </a:extLst>
            </p:cNvPr>
            <p:cNvSpPr/>
            <p:nvPr/>
          </p:nvSpPr>
          <p:spPr>
            <a:xfrm flipV="1">
              <a:off x="3642210" y="5920359"/>
              <a:ext cx="745783" cy="937654"/>
            </a:xfrm>
            <a:custGeom>
              <a:avLst/>
              <a:gdLst>
                <a:gd name="connsiteX0" fmla="*/ 1117514 w 1119598"/>
                <a:gd name="connsiteY0" fmla="*/ 1209828 h 1407642"/>
                <a:gd name="connsiteX1" fmla="*/ 488712 w 1119598"/>
                <a:gd name="connsiteY1" fmla="*/ 153 h 1407642"/>
                <a:gd name="connsiteX2" fmla="*/ -2085 w 1119598"/>
                <a:gd name="connsiteY2" fmla="*/ 153 h 1407642"/>
                <a:gd name="connsiteX3" fmla="*/ 726006 w 1119598"/>
                <a:gd name="connsiteY3" fmla="*/ 1407796 h 1407642"/>
                <a:gd name="connsiteX4" fmla="*/ 847088 w 1119598"/>
                <a:gd name="connsiteY4" fmla="*/ 1346523 h 1407642"/>
                <a:gd name="connsiteX5" fmla="*/ 1117514 w 1119598"/>
                <a:gd name="connsiteY5" fmla="*/ 1209828 h 140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19598" h="1407642">
                  <a:moveTo>
                    <a:pt x="1117514" y="1209828"/>
                  </a:moveTo>
                  <a:lnTo>
                    <a:pt x="488712" y="153"/>
                  </a:lnTo>
                  <a:lnTo>
                    <a:pt x="-2085" y="153"/>
                  </a:lnTo>
                  <a:lnTo>
                    <a:pt x="726006" y="1407796"/>
                  </a:lnTo>
                  <a:lnTo>
                    <a:pt x="847088" y="1346523"/>
                  </a:lnTo>
                  <a:lnTo>
                    <a:pt x="1117514" y="1209828"/>
                  </a:lnTo>
                </a:path>
              </a:pathLst>
            </a:custGeom>
            <a:solidFill>
              <a:srgbClr val="74B6D6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0BE1FF91-3B48-C6BB-D701-D55AED8BEAED}"/>
                </a:ext>
              </a:extLst>
            </p:cNvPr>
            <p:cNvSpPr/>
            <p:nvPr/>
          </p:nvSpPr>
          <p:spPr>
            <a:xfrm flipV="1">
              <a:off x="6332253" y="5086175"/>
              <a:ext cx="374350" cy="212849"/>
            </a:xfrm>
            <a:custGeom>
              <a:avLst/>
              <a:gdLst>
                <a:gd name="connsiteX0" fmla="*/ 17876 w 561988"/>
                <a:gd name="connsiteY0" fmla="*/ 317019 h 319537"/>
                <a:gd name="connsiteX1" fmla="*/ 31844 w 561988"/>
                <a:gd name="connsiteY1" fmla="*/ 262048 h 319537"/>
                <a:gd name="connsiteX2" fmla="*/ 506478 w 561988"/>
                <a:gd name="connsiteY2" fmla="*/ 39803 h 319537"/>
                <a:gd name="connsiteX3" fmla="*/ 555627 w 561988"/>
                <a:gd name="connsiteY3" fmla="*/ 65223 h 319537"/>
                <a:gd name="connsiteX4" fmla="*/ 536135 w 561988"/>
                <a:gd name="connsiteY4" fmla="*/ 25919 h 319537"/>
                <a:gd name="connsiteX5" fmla="*/ 531411 w 561988"/>
                <a:gd name="connsiteY5" fmla="*/ 18269 h 319537"/>
                <a:gd name="connsiteX6" fmla="*/ 535373 w 561988"/>
                <a:gd name="connsiteY6" fmla="*/ 26270 h 319537"/>
                <a:gd name="connsiteX7" fmla="*/ 485859 w 561988"/>
                <a:gd name="connsiteY7" fmla="*/ 126 h 319537"/>
                <a:gd name="connsiteX8" fmla="*/ 11239 w 561988"/>
                <a:gd name="connsiteY8" fmla="*/ 222371 h 319537"/>
                <a:gd name="connsiteX9" fmla="*/ -3452 w 561988"/>
                <a:gd name="connsiteY9" fmla="*/ 240003 h 319537"/>
                <a:gd name="connsiteX10" fmla="*/ -5189 w 561988"/>
                <a:gd name="connsiteY10" fmla="*/ 268624 h 319537"/>
                <a:gd name="connsiteX11" fmla="*/ -3056 w 561988"/>
                <a:gd name="connsiteY11" fmla="*/ 274804 h 319537"/>
                <a:gd name="connsiteX12" fmla="*/ 17876 w 561988"/>
                <a:gd name="connsiteY12" fmla="*/ 317019 h 319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1988" h="319537">
                  <a:moveTo>
                    <a:pt x="17876" y="317019"/>
                  </a:moveTo>
                  <a:cubicBezTo>
                    <a:pt x="10180" y="288931"/>
                    <a:pt x="14851" y="270605"/>
                    <a:pt x="31844" y="262048"/>
                  </a:cubicBezTo>
                  <a:lnTo>
                    <a:pt x="506478" y="39803"/>
                  </a:lnTo>
                  <a:cubicBezTo>
                    <a:pt x="524462" y="31977"/>
                    <a:pt x="540845" y="40451"/>
                    <a:pt x="555627" y="65223"/>
                  </a:cubicBezTo>
                  <a:lnTo>
                    <a:pt x="536135" y="25919"/>
                  </a:lnTo>
                  <a:cubicBezTo>
                    <a:pt x="534939" y="23489"/>
                    <a:pt x="533347" y="20928"/>
                    <a:pt x="531411" y="18269"/>
                  </a:cubicBezTo>
                  <a:lnTo>
                    <a:pt x="535373" y="26270"/>
                  </a:lnTo>
                  <a:cubicBezTo>
                    <a:pt x="521101" y="1269"/>
                    <a:pt x="504596" y="-7456"/>
                    <a:pt x="485859" y="126"/>
                  </a:cubicBezTo>
                  <a:lnTo>
                    <a:pt x="11239" y="222371"/>
                  </a:lnTo>
                  <a:cubicBezTo>
                    <a:pt x="3871" y="226417"/>
                    <a:pt x="-1029" y="232300"/>
                    <a:pt x="-3452" y="240003"/>
                  </a:cubicBezTo>
                  <a:cubicBezTo>
                    <a:pt x="-6622" y="247479"/>
                    <a:pt x="-7201" y="257011"/>
                    <a:pt x="-5189" y="268624"/>
                  </a:cubicBezTo>
                  <a:cubicBezTo>
                    <a:pt x="-4222" y="270567"/>
                    <a:pt x="-3521" y="272625"/>
                    <a:pt x="-3056" y="274804"/>
                  </a:cubicBezTo>
                  <a:lnTo>
                    <a:pt x="17876" y="317019"/>
                  </a:ln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EA6222B7-6D56-A63D-7BF5-641CB1E18378}"/>
                </a:ext>
              </a:extLst>
            </p:cNvPr>
            <p:cNvSpPr/>
            <p:nvPr/>
          </p:nvSpPr>
          <p:spPr>
            <a:xfrm flipV="1">
              <a:off x="6511810" y="5126456"/>
              <a:ext cx="56866" cy="50444"/>
            </a:xfrm>
            <a:custGeom>
              <a:avLst/>
              <a:gdLst>
                <a:gd name="connsiteX0" fmla="*/ 47825 w 85369"/>
                <a:gd name="connsiteY0" fmla="*/ 70466 h 75728"/>
                <a:gd name="connsiteX1" fmla="*/ 49349 w 85369"/>
                <a:gd name="connsiteY1" fmla="*/ 69749 h 75728"/>
                <a:gd name="connsiteX2" fmla="*/ 53143 w 85369"/>
                <a:gd name="connsiteY2" fmla="*/ 67966 h 75728"/>
                <a:gd name="connsiteX3" fmla="*/ 75074 w 85369"/>
                <a:gd name="connsiteY3" fmla="*/ 46036 h 75728"/>
                <a:gd name="connsiteX4" fmla="*/ 75699 w 85369"/>
                <a:gd name="connsiteY4" fmla="*/ 17049 h 75728"/>
                <a:gd name="connsiteX5" fmla="*/ 51612 w 85369"/>
                <a:gd name="connsiteY5" fmla="*/ -1277 h 75728"/>
                <a:gd name="connsiteX6" fmla="*/ 20301 w 85369"/>
                <a:gd name="connsiteY6" fmla="*/ 1741 h 75728"/>
                <a:gd name="connsiteX7" fmla="*/ 16499 w 85369"/>
                <a:gd name="connsiteY7" fmla="*/ 3516 h 75728"/>
                <a:gd name="connsiteX8" fmla="*/ 14975 w 85369"/>
                <a:gd name="connsiteY8" fmla="*/ 4233 h 75728"/>
                <a:gd name="connsiteX9" fmla="*/ -3161 w 85369"/>
                <a:gd name="connsiteY9" fmla="*/ 24365 h 75728"/>
                <a:gd name="connsiteX10" fmla="*/ -2650 w 85369"/>
                <a:gd name="connsiteY10" fmla="*/ 53732 h 75728"/>
                <a:gd name="connsiteX11" fmla="*/ 13573 w 85369"/>
                <a:gd name="connsiteY11" fmla="*/ 69460 h 75728"/>
                <a:gd name="connsiteX12" fmla="*/ 20301 w 85369"/>
                <a:gd name="connsiteY12" fmla="*/ 71685 h 75728"/>
                <a:gd name="connsiteX13" fmla="*/ 47825 w 85369"/>
                <a:gd name="connsiteY13" fmla="*/ 70466 h 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5369" h="75728">
                  <a:moveTo>
                    <a:pt x="47825" y="70466"/>
                  </a:moveTo>
                  <a:lnTo>
                    <a:pt x="49349" y="69749"/>
                  </a:lnTo>
                  <a:lnTo>
                    <a:pt x="53143" y="67966"/>
                  </a:lnTo>
                  <a:cubicBezTo>
                    <a:pt x="63553" y="62503"/>
                    <a:pt x="70860" y="55180"/>
                    <a:pt x="75074" y="46036"/>
                  </a:cubicBezTo>
                  <a:cubicBezTo>
                    <a:pt x="80057" y="35924"/>
                    <a:pt x="80263" y="26262"/>
                    <a:pt x="75699" y="17049"/>
                  </a:cubicBezTo>
                  <a:cubicBezTo>
                    <a:pt x="70883" y="7342"/>
                    <a:pt x="62851" y="1230"/>
                    <a:pt x="51612" y="-1277"/>
                  </a:cubicBezTo>
                  <a:cubicBezTo>
                    <a:pt x="41630" y="-3768"/>
                    <a:pt x="31190" y="-2770"/>
                    <a:pt x="20301" y="1741"/>
                  </a:cubicBezTo>
                  <a:lnTo>
                    <a:pt x="16499" y="3516"/>
                  </a:lnTo>
                  <a:lnTo>
                    <a:pt x="14975" y="4233"/>
                  </a:lnTo>
                  <a:cubicBezTo>
                    <a:pt x="6829" y="9239"/>
                    <a:pt x="786" y="15952"/>
                    <a:pt x="-3161" y="24365"/>
                  </a:cubicBezTo>
                  <a:cubicBezTo>
                    <a:pt x="-7641" y="34240"/>
                    <a:pt x="-7466" y="44024"/>
                    <a:pt x="-2650" y="53732"/>
                  </a:cubicBezTo>
                  <a:cubicBezTo>
                    <a:pt x="954" y="61009"/>
                    <a:pt x="6364" y="66252"/>
                    <a:pt x="13573" y="69460"/>
                  </a:cubicBezTo>
                  <a:cubicBezTo>
                    <a:pt x="15310" y="70428"/>
                    <a:pt x="17558" y="71174"/>
                    <a:pt x="20301" y="71685"/>
                  </a:cubicBezTo>
                  <a:cubicBezTo>
                    <a:pt x="29544" y="73940"/>
                    <a:pt x="38711" y="73536"/>
                    <a:pt x="47825" y="70466"/>
                  </a:cubicBezTo>
                </a:path>
              </a:pathLst>
            </a:custGeom>
            <a:solidFill>
              <a:srgbClr val="918C8C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66AE8F1C-E062-D577-C237-C5596F09BD3C}"/>
                </a:ext>
              </a:extLst>
            </p:cNvPr>
            <p:cNvSpPr/>
            <p:nvPr/>
          </p:nvSpPr>
          <p:spPr>
            <a:xfrm flipV="1">
              <a:off x="6420053" y="4588777"/>
              <a:ext cx="510804" cy="579931"/>
            </a:xfrm>
            <a:custGeom>
              <a:avLst/>
              <a:gdLst>
                <a:gd name="connsiteX0" fmla="*/ 335031 w 766838"/>
                <a:gd name="connsiteY0" fmla="*/ 867396 h 870615"/>
                <a:gd name="connsiteX1" fmla="*/ 760212 w 766838"/>
                <a:gd name="connsiteY1" fmla="*/ 668308 h 870615"/>
                <a:gd name="connsiteX2" fmla="*/ 418561 w 766838"/>
                <a:gd name="connsiteY2" fmla="*/ -3219 h 870615"/>
                <a:gd name="connsiteX3" fmla="*/ -6627 w 766838"/>
                <a:gd name="connsiteY3" fmla="*/ 195868 h 870615"/>
                <a:gd name="connsiteX4" fmla="*/ 335031 w 766838"/>
                <a:gd name="connsiteY4" fmla="*/ 867396 h 87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6838" h="870615">
                  <a:moveTo>
                    <a:pt x="335031" y="867396"/>
                  </a:moveTo>
                  <a:lnTo>
                    <a:pt x="760212" y="668308"/>
                  </a:lnTo>
                  <a:lnTo>
                    <a:pt x="418561" y="-3219"/>
                  </a:lnTo>
                  <a:lnTo>
                    <a:pt x="-6627" y="195868"/>
                  </a:lnTo>
                  <a:lnTo>
                    <a:pt x="335031" y="867396"/>
                  </a:lnTo>
                </a:path>
              </a:pathLst>
            </a:custGeom>
            <a:solidFill>
              <a:srgbClr val="4DA5C3">
                <a:lumMod val="40000"/>
                <a:lumOff val="60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470EE2FB-1450-4AA2-7DF0-4CDB160E4A54}"/>
                </a:ext>
              </a:extLst>
            </p:cNvPr>
            <p:cNvSpPr/>
            <p:nvPr/>
          </p:nvSpPr>
          <p:spPr>
            <a:xfrm flipV="1">
              <a:off x="6793998" y="4618094"/>
              <a:ext cx="97423" cy="54188"/>
            </a:xfrm>
            <a:custGeom>
              <a:avLst/>
              <a:gdLst>
                <a:gd name="connsiteX0" fmla="*/ 91567 w 146255"/>
                <a:gd name="connsiteY0" fmla="*/ 8296 h 81349"/>
                <a:gd name="connsiteX1" fmla="*/ 113635 w 146255"/>
                <a:gd name="connsiteY1" fmla="*/ -2037 h 81349"/>
                <a:gd name="connsiteX2" fmla="*/ 137638 w 146255"/>
                <a:gd name="connsiteY2" fmla="*/ 6665 h 81349"/>
                <a:gd name="connsiteX3" fmla="*/ 128936 w 146255"/>
                <a:gd name="connsiteY3" fmla="*/ 30675 h 81349"/>
                <a:gd name="connsiteX4" fmla="*/ 106876 w 146255"/>
                <a:gd name="connsiteY4" fmla="*/ 41001 h 81349"/>
                <a:gd name="connsiteX5" fmla="*/ 82865 w 146255"/>
                <a:gd name="connsiteY5" fmla="*/ 32306 h 81349"/>
                <a:gd name="connsiteX6" fmla="*/ 91567 w 146255"/>
                <a:gd name="connsiteY6" fmla="*/ 8296 h 81349"/>
                <a:gd name="connsiteX7" fmla="*/ 14156 w 146255"/>
                <a:gd name="connsiteY7" fmla="*/ 59098 h 81349"/>
                <a:gd name="connsiteX8" fmla="*/ 1065 w 146255"/>
                <a:gd name="connsiteY8" fmla="*/ 46655 h 81349"/>
                <a:gd name="connsiteX9" fmla="*/ 4303 w 146255"/>
                <a:gd name="connsiteY9" fmla="*/ 43416 h 81349"/>
                <a:gd name="connsiteX10" fmla="*/ 6124 w 146255"/>
                <a:gd name="connsiteY10" fmla="*/ 41816 h 81349"/>
                <a:gd name="connsiteX11" fmla="*/ 9912 w 146255"/>
                <a:gd name="connsiteY11" fmla="*/ 39362 h 81349"/>
                <a:gd name="connsiteX12" fmla="*/ 17996 w 146255"/>
                <a:gd name="connsiteY12" fmla="*/ 55509 h 81349"/>
                <a:gd name="connsiteX13" fmla="*/ 25677 w 146255"/>
                <a:gd name="connsiteY13" fmla="*/ 71846 h 81349"/>
                <a:gd name="connsiteX14" fmla="*/ 18812 w 146255"/>
                <a:gd name="connsiteY14" fmla="*/ 75070 h 81349"/>
                <a:gd name="connsiteX15" fmla="*/ 11146 w 146255"/>
                <a:gd name="connsiteY15" fmla="*/ 58724 h 81349"/>
                <a:gd name="connsiteX16" fmla="*/ 27399 w 146255"/>
                <a:gd name="connsiteY16" fmla="*/ 50868 h 81349"/>
                <a:gd name="connsiteX17" fmla="*/ 12464 w 146255"/>
                <a:gd name="connsiteY17" fmla="*/ 58085 h 81349"/>
                <a:gd name="connsiteX18" fmla="*/ 21220 w 146255"/>
                <a:gd name="connsiteY18" fmla="*/ 44018 h 81349"/>
                <a:gd name="connsiteX19" fmla="*/ 27399 w 146255"/>
                <a:gd name="connsiteY19" fmla="*/ 50868 h 81349"/>
                <a:gd name="connsiteX20" fmla="*/ 12464 w 146255"/>
                <a:gd name="connsiteY20" fmla="*/ 58085 h 81349"/>
                <a:gd name="connsiteX21" fmla="*/ 21220 w 146255"/>
                <a:gd name="connsiteY21" fmla="*/ 44018 h 81349"/>
                <a:gd name="connsiteX22" fmla="*/ 12487 w 146255"/>
                <a:gd name="connsiteY22" fmla="*/ 58054 h 81349"/>
                <a:gd name="connsiteX23" fmla="*/ 12487 w 146255"/>
                <a:gd name="connsiteY23" fmla="*/ 41503 h 81349"/>
                <a:gd name="connsiteX24" fmla="*/ 21220 w 146255"/>
                <a:gd name="connsiteY24" fmla="*/ 44018 h 81349"/>
                <a:gd name="connsiteX25" fmla="*/ 12487 w 146255"/>
                <a:gd name="connsiteY25" fmla="*/ 58054 h 81349"/>
                <a:gd name="connsiteX26" fmla="*/ 12487 w 146255"/>
                <a:gd name="connsiteY26" fmla="*/ 41503 h 81349"/>
                <a:gd name="connsiteX27" fmla="*/ 12487 w 146255"/>
                <a:gd name="connsiteY27" fmla="*/ 55562 h 81349"/>
                <a:gd name="connsiteX28" fmla="*/ 6444 w 146255"/>
                <a:gd name="connsiteY28" fmla="*/ 42768 h 81349"/>
                <a:gd name="connsiteX29" fmla="*/ 12487 w 146255"/>
                <a:gd name="connsiteY29" fmla="*/ 41503 h 81349"/>
                <a:gd name="connsiteX30" fmla="*/ 12487 w 146255"/>
                <a:gd name="connsiteY30" fmla="*/ 55562 h 81349"/>
                <a:gd name="connsiteX31" fmla="*/ 6444 w 146255"/>
                <a:gd name="connsiteY31" fmla="*/ 42768 h 81349"/>
                <a:gd name="connsiteX32" fmla="*/ 14156 w 146255"/>
                <a:gd name="connsiteY32" fmla="*/ 59098 h 81349"/>
                <a:gd name="connsiteX33" fmla="*/ 1065 w 146255"/>
                <a:gd name="connsiteY33" fmla="*/ 46655 h 81349"/>
                <a:gd name="connsiteX34" fmla="*/ 14156 w 146255"/>
                <a:gd name="connsiteY34" fmla="*/ 59098 h 81349"/>
                <a:gd name="connsiteX35" fmla="*/ 21860 w 146255"/>
                <a:gd name="connsiteY35" fmla="*/ 75427 h 81349"/>
                <a:gd name="connsiteX36" fmla="*/ 12487 w 146255"/>
                <a:gd name="connsiteY36" fmla="*/ 77607 h 81349"/>
                <a:gd name="connsiteX37" fmla="*/ 2139 w 146255"/>
                <a:gd name="connsiteY37" fmla="*/ 74673 h 81349"/>
                <a:gd name="connsiteX38" fmla="*/ -5115 w 146255"/>
                <a:gd name="connsiteY38" fmla="*/ 66581 h 81349"/>
                <a:gd name="connsiteX39" fmla="*/ -5869 w 146255"/>
                <a:gd name="connsiteY39" fmla="*/ 52682 h 81349"/>
                <a:gd name="connsiteX40" fmla="*/ 3473 w 146255"/>
                <a:gd name="connsiteY40" fmla="*/ 42372 h 81349"/>
                <a:gd name="connsiteX41" fmla="*/ 10300 w 146255"/>
                <a:gd name="connsiteY41" fmla="*/ 39172 h 81349"/>
                <a:gd name="connsiteX42" fmla="*/ 34235 w 146255"/>
                <a:gd name="connsiteY42" fmla="*/ 47622 h 81349"/>
                <a:gd name="connsiteX43" fmla="*/ 26066 w 146255"/>
                <a:gd name="connsiteY43" fmla="*/ 71663 h 81349"/>
                <a:gd name="connsiteX44" fmla="*/ 19391 w 146255"/>
                <a:gd name="connsiteY44" fmla="*/ 58321 h 81349"/>
                <a:gd name="connsiteX45" fmla="*/ 28763 w 146255"/>
                <a:gd name="connsiteY45" fmla="*/ 69957 h 81349"/>
                <a:gd name="connsiteX46" fmla="*/ 26066 w 146255"/>
                <a:gd name="connsiteY46" fmla="*/ 71663 h 81349"/>
                <a:gd name="connsiteX47" fmla="*/ 19391 w 146255"/>
                <a:gd name="connsiteY47" fmla="*/ 58321 h 81349"/>
                <a:gd name="connsiteX48" fmla="*/ 28763 w 146255"/>
                <a:gd name="connsiteY48" fmla="*/ 69957 h 81349"/>
                <a:gd name="connsiteX49" fmla="*/ 25533 w 146255"/>
                <a:gd name="connsiteY49" fmla="*/ 65948 h 81349"/>
                <a:gd name="connsiteX50" fmla="*/ 29000 w 146255"/>
                <a:gd name="connsiteY50" fmla="*/ 69758 h 81349"/>
                <a:gd name="connsiteX51" fmla="*/ 28763 w 146255"/>
                <a:gd name="connsiteY51" fmla="*/ 69957 h 81349"/>
                <a:gd name="connsiteX52" fmla="*/ 25533 w 146255"/>
                <a:gd name="connsiteY52" fmla="*/ 65948 h 81349"/>
                <a:gd name="connsiteX53" fmla="*/ 29000 w 146255"/>
                <a:gd name="connsiteY53" fmla="*/ 69758 h 81349"/>
                <a:gd name="connsiteX54" fmla="*/ 27232 w 146255"/>
                <a:gd name="connsiteY54" fmla="*/ 71542 h 81349"/>
                <a:gd name="connsiteX55" fmla="*/ 21860 w 146255"/>
                <a:gd name="connsiteY55" fmla="*/ 75427 h 81349"/>
                <a:gd name="connsiteX56" fmla="*/ 14156 w 146255"/>
                <a:gd name="connsiteY56" fmla="*/ 59098 h 8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46255" h="81349">
                  <a:moveTo>
                    <a:pt x="91567" y="8296"/>
                  </a:moveTo>
                  <a:lnTo>
                    <a:pt x="113635" y="-2037"/>
                  </a:lnTo>
                  <a:cubicBezTo>
                    <a:pt x="122657" y="-6259"/>
                    <a:pt x="133409" y="-2365"/>
                    <a:pt x="137638" y="6665"/>
                  </a:cubicBezTo>
                  <a:cubicBezTo>
                    <a:pt x="141859" y="15695"/>
                    <a:pt x="137973" y="26446"/>
                    <a:pt x="128936" y="30675"/>
                  </a:cubicBezTo>
                  <a:lnTo>
                    <a:pt x="106876" y="41001"/>
                  </a:lnTo>
                  <a:cubicBezTo>
                    <a:pt x="97846" y="45229"/>
                    <a:pt x="87095" y="41336"/>
                    <a:pt x="82865" y="32306"/>
                  </a:cubicBezTo>
                  <a:cubicBezTo>
                    <a:pt x="78644" y="23276"/>
                    <a:pt x="82530" y="12525"/>
                    <a:pt x="91567" y="8296"/>
                  </a:cubicBezTo>
                  <a:moveTo>
                    <a:pt x="14156" y="59098"/>
                  </a:moveTo>
                  <a:lnTo>
                    <a:pt x="1065" y="46655"/>
                  </a:lnTo>
                  <a:cubicBezTo>
                    <a:pt x="2223" y="45435"/>
                    <a:pt x="3236" y="44414"/>
                    <a:pt x="4303" y="43416"/>
                  </a:cubicBezTo>
                  <a:cubicBezTo>
                    <a:pt x="4837" y="42913"/>
                    <a:pt x="5385" y="42418"/>
                    <a:pt x="6124" y="41816"/>
                  </a:cubicBezTo>
                  <a:cubicBezTo>
                    <a:pt x="6932" y="41214"/>
                    <a:pt x="7671" y="40528"/>
                    <a:pt x="9912" y="39362"/>
                  </a:cubicBezTo>
                  <a:lnTo>
                    <a:pt x="17996" y="55509"/>
                  </a:lnTo>
                  <a:lnTo>
                    <a:pt x="25677" y="71846"/>
                  </a:lnTo>
                  <a:cubicBezTo>
                    <a:pt x="23109" y="73058"/>
                    <a:pt x="20831" y="74124"/>
                    <a:pt x="18812" y="75070"/>
                  </a:cubicBezTo>
                  <a:lnTo>
                    <a:pt x="11146" y="58724"/>
                  </a:lnTo>
                  <a:lnTo>
                    <a:pt x="27399" y="50868"/>
                  </a:lnTo>
                  <a:lnTo>
                    <a:pt x="12464" y="58085"/>
                  </a:lnTo>
                  <a:lnTo>
                    <a:pt x="21220" y="44018"/>
                  </a:lnTo>
                  <a:cubicBezTo>
                    <a:pt x="24268" y="45885"/>
                    <a:pt x="26394" y="48697"/>
                    <a:pt x="27399" y="50868"/>
                  </a:cubicBezTo>
                  <a:lnTo>
                    <a:pt x="12464" y="58085"/>
                  </a:lnTo>
                  <a:lnTo>
                    <a:pt x="21220" y="44018"/>
                  </a:lnTo>
                  <a:lnTo>
                    <a:pt x="12487" y="58054"/>
                  </a:lnTo>
                  <a:lnTo>
                    <a:pt x="12487" y="41503"/>
                  </a:lnTo>
                  <a:cubicBezTo>
                    <a:pt x="14811" y="41465"/>
                    <a:pt x="18210" y="42113"/>
                    <a:pt x="21220" y="44018"/>
                  </a:cubicBezTo>
                  <a:lnTo>
                    <a:pt x="12487" y="58054"/>
                  </a:lnTo>
                  <a:lnTo>
                    <a:pt x="12487" y="41503"/>
                  </a:lnTo>
                  <a:lnTo>
                    <a:pt x="12487" y="55562"/>
                  </a:lnTo>
                  <a:lnTo>
                    <a:pt x="6444" y="42768"/>
                  </a:lnTo>
                  <a:cubicBezTo>
                    <a:pt x="7313" y="42395"/>
                    <a:pt x="9058" y="41549"/>
                    <a:pt x="12487" y="41503"/>
                  </a:cubicBezTo>
                  <a:lnTo>
                    <a:pt x="12487" y="55562"/>
                  </a:lnTo>
                  <a:lnTo>
                    <a:pt x="6444" y="42768"/>
                  </a:lnTo>
                  <a:lnTo>
                    <a:pt x="14156" y="59098"/>
                  </a:lnTo>
                  <a:lnTo>
                    <a:pt x="1065" y="46655"/>
                  </a:lnTo>
                  <a:lnTo>
                    <a:pt x="14156" y="59098"/>
                  </a:lnTo>
                  <a:lnTo>
                    <a:pt x="21860" y="75427"/>
                  </a:lnTo>
                  <a:cubicBezTo>
                    <a:pt x="19658" y="76426"/>
                    <a:pt x="16815" y="77561"/>
                    <a:pt x="12487" y="77607"/>
                  </a:cubicBezTo>
                  <a:cubicBezTo>
                    <a:pt x="9531" y="77645"/>
                    <a:pt x="5599" y="76860"/>
                    <a:pt x="2139" y="74673"/>
                  </a:cubicBezTo>
                  <a:cubicBezTo>
                    <a:pt x="-1351" y="72532"/>
                    <a:pt x="-3843" y="69301"/>
                    <a:pt x="-5115" y="66581"/>
                  </a:cubicBezTo>
                  <a:cubicBezTo>
                    <a:pt x="-7218" y="62238"/>
                    <a:pt x="-7485" y="57231"/>
                    <a:pt x="-5869" y="52682"/>
                  </a:cubicBezTo>
                  <a:cubicBezTo>
                    <a:pt x="-4262" y="48141"/>
                    <a:pt x="-894" y="44422"/>
                    <a:pt x="3473" y="42372"/>
                  </a:cubicBezTo>
                  <a:cubicBezTo>
                    <a:pt x="5522" y="41419"/>
                    <a:pt x="7793" y="40353"/>
                    <a:pt x="10300" y="39172"/>
                  </a:cubicBezTo>
                  <a:cubicBezTo>
                    <a:pt x="19269" y="34950"/>
                    <a:pt x="29899" y="38707"/>
                    <a:pt x="34235" y="47622"/>
                  </a:cubicBezTo>
                  <a:cubicBezTo>
                    <a:pt x="38563" y="56545"/>
                    <a:pt x="34936" y="67229"/>
                    <a:pt x="26066" y="71663"/>
                  </a:cubicBezTo>
                  <a:lnTo>
                    <a:pt x="19391" y="58321"/>
                  </a:lnTo>
                  <a:lnTo>
                    <a:pt x="28763" y="69957"/>
                  </a:lnTo>
                  <a:cubicBezTo>
                    <a:pt x="28413" y="70200"/>
                    <a:pt x="28032" y="70634"/>
                    <a:pt x="26066" y="71663"/>
                  </a:cubicBezTo>
                  <a:lnTo>
                    <a:pt x="19391" y="58321"/>
                  </a:lnTo>
                  <a:lnTo>
                    <a:pt x="28763" y="69957"/>
                  </a:lnTo>
                  <a:lnTo>
                    <a:pt x="25533" y="65948"/>
                  </a:lnTo>
                  <a:lnTo>
                    <a:pt x="29000" y="69758"/>
                  </a:lnTo>
                  <a:lnTo>
                    <a:pt x="28763" y="69957"/>
                  </a:lnTo>
                  <a:lnTo>
                    <a:pt x="25533" y="65948"/>
                  </a:lnTo>
                  <a:lnTo>
                    <a:pt x="29000" y="69758"/>
                  </a:lnTo>
                  <a:cubicBezTo>
                    <a:pt x="28893" y="69850"/>
                    <a:pt x="28185" y="70528"/>
                    <a:pt x="27232" y="71542"/>
                  </a:cubicBezTo>
                  <a:cubicBezTo>
                    <a:pt x="25670" y="73195"/>
                    <a:pt x="23909" y="74460"/>
                    <a:pt x="21860" y="75427"/>
                  </a:cubicBezTo>
                  <a:lnTo>
                    <a:pt x="14156" y="59098"/>
                  </a:ln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27DD8856-0CE6-6199-5A27-63CC4D629CFF}"/>
                </a:ext>
              </a:extLst>
            </p:cNvPr>
            <p:cNvSpPr/>
            <p:nvPr/>
          </p:nvSpPr>
          <p:spPr>
            <a:xfrm flipV="1">
              <a:off x="6736646" y="4587015"/>
              <a:ext cx="125897" cy="71745"/>
            </a:xfrm>
            <a:custGeom>
              <a:avLst/>
              <a:gdLst>
                <a:gd name="connsiteX0" fmla="*/ 171759 w 189001"/>
                <a:gd name="connsiteY0" fmla="*/ 30626 h 107706"/>
                <a:gd name="connsiteX1" fmla="*/ 18872 w 189001"/>
                <a:gd name="connsiteY1" fmla="*/ 102208 h 107706"/>
                <a:gd name="connsiteX2" fmla="*/ -5131 w 189001"/>
                <a:gd name="connsiteY2" fmla="*/ 93514 h 107706"/>
                <a:gd name="connsiteX3" fmla="*/ 3571 w 189001"/>
                <a:gd name="connsiteY3" fmla="*/ 69503 h 107706"/>
                <a:gd name="connsiteX4" fmla="*/ 156451 w 189001"/>
                <a:gd name="connsiteY4" fmla="*/ -2087 h 107706"/>
                <a:gd name="connsiteX5" fmla="*/ 180454 w 189001"/>
                <a:gd name="connsiteY5" fmla="*/ 6615 h 107706"/>
                <a:gd name="connsiteX6" fmla="*/ 171759 w 189001"/>
                <a:gd name="connsiteY6" fmla="*/ 30626 h 107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001" h="107706">
                  <a:moveTo>
                    <a:pt x="171759" y="30626"/>
                  </a:moveTo>
                  <a:lnTo>
                    <a:pt x="18872" y="102208"/>
                  </a:lnTo>
                  <a:cubicBezTo>
                    <a:pt x="9850" y="106437"/>
                    <a:pt x="-902" y="102543"/>
                    <a:pt x="-5131" y="93514"/>
                  </a:cubicBezTo>
                  <a:cubicBezTo>
                    <a:pt x="-9360" y="84484"/>
                    <a:pt x="-5466" y="73732"/>
                    <a:pt x="3571" y="69503"/>
                  </a:cubicBezTo>
                  <a:lnTo>
                    <a:pt x="156451" y="-2087"/>
                  </a:lnTo>
                  <a:cubicBezTo>
                    <a:pt x="165481" y="-6308"/>
                    <a:pt x="176232" y="-2415"/>
                    <a:pt x="180454" y="6615"/>
                  </a:cubicBezTo>
                  <a:cubicBezTo>
                    <a:pt x="184683" y="15645"/>
                    <a:pt x="180789" y="26397"/>
                    <a:pt x="171759" y="30626"/>
                  </a:cubicBezTo>
                </a:path>
              </a:pathLst>
            </a:custGeom>
            <a:solidFill>
              <a:srgbClr val="2C2A2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B570A66C-EA65-345A-37EB-F5CD6668CAD8}"/>
                </a:ext>
              </a:extLst>
            </p:cNvPr>
            <p:cNvSpPr/>
            <p:nvPr/>
          </p:nvSpPr>
          <p:spPr>
            <a:xfrm flipV="1">
              <a:off x="6346004" y="4524781"/>
              <a:ext cx="640620" cy="747929"/>
            </a:xfrm>
            <a:custGeom>
              <a:avLst/>
              <a:gdLst>
                <a:gd name="connsiteX0" fmla="*/ 296516 w 961724"/>
                <a:gd name="connsiteY0" fmla="*/ 213735 h 1122820"/>
                <a:gd name="connsiteX1" fmla="*/ 269001 w 961724"/>
                <a:gd name="connsiteY1" fmla="*/ 214954 h 1122820"/>
                <a:gd name="connsiteX2" fmla="*/ 262265 w 961724"/>
                <a:gd name="connsiteY2" fmla="*/ 212729 h 1122820"/>
                <a:gd name="connsiteX3" fmla="*/ 246049 w 961724"/>
                <a:gd name="connsiteY3" fmla="*/ 197001 h 1122820"/>
                <a:gd name="connsiteX4" fmla="*/ 245539 w 961724"/>
                <a:gd name="connsiteY4" fmla="*/ 167634 h 1122820"/>
                <a:gd name="connsiteX5" fmla="*/ 263674 w 961724"/>
                <a:gd name="connsiteY5" fmla="*/ 147502 h 1122820"/>
                <a:gd name="connsiteX6" fmla="*/ 265198 w 961724"/>
                <a:gd name="connsiteY6" fmla="*/ 146786 h 1122820"/>
                <a:gd name="connsiteX7" fmla="*/ 269001 w 961724"/>
                <a:gd name="connsiteY7" fmla="*/ 145010 h 1122820"/>
                <a:gd name="connsiteX8" fmla="*/ 300311 w 961724"/>
                <a:gd name="connsiteY8" fmla="*/ 141993 h 1122820"/>
                <a:gd name="connsiteX9" fmla="*/ 324398 w 961724"/>
                <a:gd name="connsiteY9" fmla="*/ 160319 h 1122820"/>
                <a:gd name="connsiteX10" fmla="*/ 323773 w 961724"/>
                <a:gd name="connsiteY10" fmla="*/ 189305 h 1122820"/>
                <a:gd name="connsiteX11" fmla="*/ 301843 w 961724"/>
                <a:gd name="connsiteY11" fmla="*/ 211236 h 1122820"/>
                <a:gd name="connsiteX12" fmla="*/ 298048 w 961724"/>
                <a:gd name="connsiteY12" fmla="*/ 213019 h 1122820"/>
                <a:gd name="connsiteX13" fmla="*/ 296516 w 961724"/>
                <a:gd name="connsiteY13" fmla="*/ 213735 h 1122820"/>
                <a:gd name="connsiteX14" fmla="*/ 750783 w 961724"/>
                <a:gd name="connsiteY14" fmla="*/ 936576 h 1122820"/>
                <a:gd name="connsiteX15" fmla="*/ 597895 w 961724"/>
                <a:gd name="connsiteY15" fmla="*/ 1008158 h 1122820"/>
                <a:gd name="connsiteX16" fmla="*/ 750783 w 961724"/>
                <a:gd name="connsiteY16" fmla="*/ 936576 h 1122820"/>
                <a:gd name="connsiteX17" fmla="*/ 446211 w 961724"/>
                <a:gd name="connsiteY17" fmla="*/ 1023573 h 1122820"/>
                <a:gd name="connsiteX18" fmla="*/ 104553 w 961724"/>
                <a:gd name="connsiteY18" fmla="*/ 352045 h 1122820"/>
                <a:gd name="connsiteX19" fmla="*/ 529742 w 961724"/>
                <a:gd name="connsiteY19" fmla="*/ 152958 h 1122820"/>
                <a:gd name="connsiteX20" fmla="*/ 871392 w 961724"/>
                <a:gd name="connsiteY20" fmla="*/ 824486 h 1122820"/>
                <a:gd name="connsiteX21" fmla="*/ 446211 w 961724"/>
                <a:gd name="connsiteY21" fmla="*/ 1023573 h 1122820"/>
                <a:gd name="connsiteX22" fmla="*/ 772073 w 961724"/>
                <a:gd name="connsiteY22" fmla="*/ 926601 h 1122820"/>
                <a:gd name="connsiteX23" fmla="*/ 794133 w 961724"/>
                <a:gd name="connsiteY23" fmla="*/ 916269 h 1122820"/>
                <a:gd name="connsiteX24" fmla="*/ 772073 w 961724"/>
                <a:gd name="connsiteY24" fmla="*/ 926601 h 1122820"/>
                <a:gd name="connsiteX25" fmla="*/ 687003 w 961724"/>
                <a:gd name="connsiteY25" fmla="*/ 961051 h 1122820"/>
                <a:gd name="connsiteX26" fmla="*/ 690844 w 961724"/>
                <a:gd name="connsiteY26" fmla="*/ 957462 h 1122820"/>
                <a:gd name="connsiteX27" fmla="*/ 683993 w 961724"/>
                <a:gd name="connsiteY27" fmla="*/ 960678 h 1122820"/>
                <a:gd name="connsiteX28" fmla="*/ 687003 w 961724"/>
                <a:gd name="connsiteY28" fmla="*/ 961051 h 1122820"/>
                <a:gd name="connsiteX29" fmla="*/ 683993 w 961724"/>
                <a:gd name="connsiteY29" fmla="*/ 960678 h 1122820"/>
                <a:gd name="connsiteX30" fmla="*/ 690844 w 961724"/>
                <a:gd name="connsiteY30" fmla="*/ 957462 h 1122820"/>
                <a:gd name="connsiteX31" fmla="*/ 687003 w 961724"/>
                <a:gd name="connsiteY31" fmla="*/ 961051 h 1122820"/>
                <a:gd name="connsiteX32" fmla="*/ 534733 w 961724"/>
                <a:gd name="connsiteY32" fmla="*/ 25064 h 1122820"/>
                <a:gd name="connsiteX33" fmla="*/ 485584 w 961724"/>
                <a:gd name="connsiteY33" fmla="*/ -357 h 1122820"/>
                <a:gd name="connsiteX34" fmla="*/ 10949 w 961724"/>
                <a:gd name="connsiteY34" fmla="*/ 221888 h 1122820"/>
                <a:gd name="connsiteX35" fmla="*/ -3018 w 961724"/>
                <a:gd name="connsiteY35" fmla="*/ 276859 h 1122820"/>
                <a:gd name="connsiteX36" fmla="*/ 400712 w 961724"/>
                <a:gd name="connsiteY36" fmla="*/ 1073576 h 1122820"/>
                <a:gd name="connsiteX37" fmla="*/ 402160 w 961724"/>
                <a:gd name="connsiteY37" fmla="*/ 1076487 h 1122820"/>
                <a:gd name="connsiteX38" fmla="*/ 408294 w 961724"/>
                <a:gd name="connsiteY38" fmla="*/ 1088862 h 1122820"/>
                <a:gd name="connsiteX39" fmla="*/ 481865 w 961724"/>
                <a:gd name="connsiteY39" fmla="*/ 1112712 h 1122820"/>
                <a:gd name="connsiteX40" fmla="*/ 928931 w 961724"/>
                <a:gd name="connsiteY40" fmla="*/ 903376 h 1122820"/>
                <a:gd name="connsiteX41" fmla="*/ 945321 w 961724"/>
                <a:gd name="connsiteY41" fmla="*/ 835603 h 1122820"/>
                <a:gd name="connsiteX42" fmla="*/ 937747 w 961724"/>
                <a:gd name="connsiteY42" fmla="*/ 820325 h 1122820"/>
                <a:gd name="connsiteX43" fmla="*/ 935941 w 961724"/>
                <a:gd name="connsiteY43" fmla="*/ 816690 h 1122820"/>
                <a:gd name="connsiteX44" fmla="*/ 534733 w 961724"/>
                <a:gd name="connsiteY44" fmla="*/ 25064 h 1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961724" h="1122820">
                  <a:moveTo>
                    <a:pt x="296516" y="213735"/>
                  </a:moveTo>
                  <a:cubicBezTo>
                    <a:pt x="287411" y="216806"/>
                    <a:pt x="278244" y="217210"/>
                    <a:pt x="269001" y="214954"/>
                  </a:cubicBezTo>
                  <a:cubicBezTo>
                    <a:pt x="266257" y="214444"/>
                    <a:pt x="264010" y="213697"/>
                    <a:pt x="262265" y="212729"/>
                  </a:cubicBezTo>
                  <a:cubicBezTo>
                    <a:pt x="255064" y="209521"/>
                    <a:pt x="249653" y="204279"/>
                    <a:pt x="246049" y="197001"/>
                  </a:cubicBezTo>
                  <a:cubicBezTo>
                    <a:pt x="241233" y="187294"/>
                    <a:pt x="241058" y="177510"/>
                    <a:pt x="245539" y="167634"/>
                  </a:cubicBezTo>
                  <a:cubicBezTo>
                    <a:pt x="249486" y="159222"/>
                    <a:pt x="255528" y="152508"/>
                    <a:pt x="263674" y="147502"/>
                  </a:cubicBezTo>
                  <a:lnTo>
                    <a:pt x="265198" y="146786"/>
                  </a:lnTo>
                  <a:lnTo>
                    <a:pt x="269001" y="145010"/>
                  </a:lnTo>
                  <a:cubicBezTo>
                    <a:pt x="279890" y="140499"/>
                    <a:pt x="290329" y="139501"/>
                    <a:pt x="300311" y="141993"/>
                  </a:cubicBezTo>
                  <a:cubicBezTo>
                    <a:pt x="311551" y="144500"/>
                    <a:pt x="319582" y="150611"/>
                    <a:pt x="324398" y="160319"/>
                  </a:cubicBezTo>
                  <a:cubicBezTo>
                    <a:pt x="328962" y="169531"/>
                    <a:pt x="328757" y="179194"/>
                    <a:pt x="323773" y="189305"/>
                  </a:cubicBezTo>
                  <a:cubicBezTo>
                    <a:pt x="319559" y="198449"/>
                    <a:pt x="312252" y="205772"/>
                    <a:pt x="301843" y="211236"/>
                  </a:cubicBezTo>
                  <a:lnTo>
                    <a:pt x="298048" y="213019"/>
                  </a:lnTo>
                  <a:lnTo>
                    <a:pt x="296516" y="213735"/>
                  </a:lnTo>
                  <a:moveTo>
                    <a:pt x="750783" y="936576"/>
                  </a:moveTo>
                  <a:lnTo>
                    <a:pt x="597895" y="1008158"/>
                  </a:lnTo>
                  <a:lnTo>
                    <a:pt x="750783" y="936576"/>
                  </a:lnTo>
                  <a:moveTo>
                    <a:pt x="446211" y="1023573"/>
                  </a:moveTo>
                  <a:lnTo>
                    <a:pt x="104553" y="352045"/>
                  </a:lnTo>
                  <a:lnTo>
                    <a:pt x="529742" y="152958"/>
                  </a:lnTo>
                  <a:lnTo>
                    <a:pt x="871392" y="824486"/>
                  </a:lnTo>
                  <a:lnTo>
                    <a:pt x="446211" y="1023573"/>
                  </a:lnTo>
                  <a:moveTo>
                    <a:pt x="772073" y="926601"/>
                  </a:moveTo>
                  <a:lnTo>
                    <a:pt x="794133" y="916269"/>
                  </a:lnTo>
                  <a:lnTo>
                    <a:pt x="772073" y="926601"/>
                  </a:lnTo>
                  <a:moveTo>
                    <a:pt x="687003" y="961051"/>
                  </a:moveTo>
                  <a:cubicBezTo>
                    <a:pt x="689015" y="958925"/>
                    <a:pt x="690295" y="957737"/>
                    <a:pt x="690844" y="957462"/>
                  </a:cubicBezTo>
                  <a:cubicBezTo>
                    <a:pt x="688306" y="958659"/>
                    <a:pt x="686028" y="959725"/>
                    <a:pt x="683993" y="960678"/>
                  </a:cubicBezTo>
                  <a:cubicBezTo>
                    <a:pt x="684474" y="961638"/>
                    <a:pt x="685479" y="961760"/>
                    <a:pt x="687003" y="961051"/>
                  </a:cubicBezTo>
                  <a:cubicBezTo>
                    <a:pt x="685479" y="961760"/>
                    <a:pt x="684474" y="961638"/>
                    <a:pt x="683993" y="960678"/>
                  </a:cubicBezTo>
                  <a:cubicBezTo>
                    <a:pt x="686028" y="959725"/>
                    <a:pt x="688306" y="958659"/>
                    <a:pt x="690844" y="957462"/>
                  </a:cubicBezTo>
                  <a:cubicBezTo>
                    <a:pt x="690295" y="957737"/>
                    <a:pt x="689015" y="958925"/>
                    <a:pt x="687003" y="961051"/>
                  </a:cubicBezTo>
                  <a:moveTo>
                    <a:pt x="534733" y="25064"/>
                  </a:moveTo>
                  <a:cubicBezTo>
                    <a:pt x="519950" y="291"/>
                    <a:pt x="503567" y="-8182"/>
                    <a:pt x="485584" y="-357"/>
                  </a:cubicBezTo>
                  <a:lnTo>
                    <a:pt x="10949" y="221888"/>
                  </a:lnTo>
                  <a:cubicBezTo>
                    <a:pt x="-6043" y="230446"/>
                    <a:pt x="-10714" y="248772"/>
                    <a:pt x="-3018" y="276859"/>
                  </a:cubicBezTo>
                  <a:lnTo>
                    <a:pt x="400712" y="1073576"/>
                  </a:lnTo>
                  <a:cubicBezTo>
                    <a:pt x="401200" y="1074544"/>
                    <a:pt x="401672" y="1075519"/>
                    <a:pt x="402160" y="1076487"/>
                  </a:cubicBezTo>
                  <a:lnTo>
                    <a:pt x="408294" y="1088862"/>
                  </a:lnTo>
                  <a:cubicBezTo>
                    <a:pt x="420113" y="1111440"/>
                    <a:pt x="444245" y="1130330"/>
                    <a:pt x="481865" y="1112712"/>
                  </a:cubicBezTo>
                  <a:lnTo>
                    <a:pt x="928931" y="903376"/>
                  </a:lnTo>
                  <a:cubicBezTo>
                    <a:pt x="965309" y="886345"/>
                    <a:pt x="956591" y="860833"/>
                    <a:pt x="945321" y="835603"/>
                  </a:cubicBezTo>
                  <a:lnTo>
                    <a:pt x="937747" y="820325"/>
                  </a:lnTo>
                  <a:cubicBezTo>
                    <a:pt x="937503" y="819845"/>
                    <a:pt x="936901" y="818626"/>
                    <a:pt x="935941" y="816690"/>
                  </a:cubicBezTo>
                  <a:lnTo>
                    <a:pt x="534733" y="25064"/>
                  </a:ln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538E9C50-6E0D-7832-93FB-DFE699FDA701}"/>
                </a:ext>
              </a:extLst>
            </p:cNvPr>
            <p:cNvSpPr/>
            <p:nvPr/>
          </p:nvSpPr>
          <p:spPr>
            <a:xfrm flipV="1">
              <a:off x="6342799" y="5099744"/>
              <a:ext cx="3349" cy="6557"/>
            </a:xfrm>
            <a:custGeom>
              <a:avLst/>
              <a:gdLst>
                <a:gd name="connsiteX0" fmla="*/ -6062 w 5028"/>
                <a:gd name="connsiteY0" fmla="*/ -2719 h 9844"/>
                <a:gd name="connsiteX1" fmla="*/ -1178 w 5028"/>
                <a:gd name="connsiteY1" fmla="*/ 7126 h 9844"/>
                <a:gd name="connsiteX2" fmla="*/ -1246 w 5028"/>
                <a:gd name="connsiteY2" fmla="*/ 4025 h 9844"/>
                <a:gd name="connsiteX3" fmla="*/ -1033 w 5028"/>
                <a:gd name="connsiteY3" fmla="*/ -776 h 9844"/>
                <a:gd name="connsiteX4" fmla="*/ -6062 w 5028"/>
                <a:gd name="connsiteY4" fmla="*/ -2719 h 9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28" h="9844">
                  <a:moveTo>
                    <a:pt x="-6062" y="-2719"/>
                  </a:moveTo>
                  <a:lnTo>
                    <a:pt x="-1178" y="7126"/>
                  </a:lnTo>
                  <a:cubicBezTo>
                    <a:pt x="-1224" y="6075"/>
                    <a:pt x="-1254" y="5039"/>
                    <a:pt x="-1246" y="4025"/>
                  </a:cubicBezTo>
                  <a:cubicBezTo>
                    <a:pt x="-1246" y="2372"/>
                    <a:pt x="-1178" y="771"/>
                    <a:pt x="-1033" y="-776"/>
                  </a:cubicBezTo>
                  <a:lnTo>
                    <a:pt x="-6062" y="-2719"/>
                  </a:lnTo>
                </a:path>
              </a:pathLst>
            </a:custGeom>
            <a:solidFill>
              <a:srgbClr val="506B83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81CE171E-EB39-836B-494D-E18A1A994D09}"/>
                </a:ext>
              </a:extLst>
            </p:cNvPr>
            <p:cNvSpPr/>
            <p:nvPr/>
          </p:nvSpPr>
          <p:spPr>
            <a:xfrm flipV="1">
              <a:off x="6420053" y="4834669"/>
              <a:ext cx="453173" cy="223493"/>
            </a:xfrm>
            <a:custGeom>
              <a:avLst/>
              <a:gdLst>
                <a:gd name="connsiteX0" fmla="*/ 64181 w 680321"/>
                <a:gd name="connsiteY0" fmla="*/ -3068 h 335516"/>
                <a:gd name="connsiteX1" fmla="*/ -6578 w 680321"/>
                <a:gd name="connsiteY1" fmla="*/ 30064 h 335516"/>
                <a:gd name="connsiteX2" fmla="*/ 13409 w 680321"/>
                <a:gd name="connsiteY2" fmla="*/ 69360 h 335516"/>
                <a:gd name="connsiteX3" fmla="*/ 673743 w 680321"/>
                <a:gd name="connsiteY3" fmla="*/ 332448 h 335516"/>
                <a:gd name="connsiteX4" fmla="*/ 610650 w 680321"/>
                <a:gd name="connsiteY4" fmla="*/ 208433 h 335516"/>
                <a:gd name="connsiteX5" fmla="*/ 64181 w 680321"/>
                <a:gd name="connsiteY5" fmla="*/ -3068 h 33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0321" h="335516">
                  <a:moveTo>
                    <a:pt x="64181" y="-3068"/>
                  </a:moveTo>
                  <a:lnTo>
                    <a:pt x="-6578" y="30064"/>
                  </a:lnTo>
                  <a:lnTo>
                    <a:pt x="13409" y="69360"/>
                  </a:lnTo>
                  <a:lnTo>
                    <a:pt x="673743" y="332448"/>
                  </a:lnTo>
                  <a:lnTo>
                    <a:pt x="610650" y="208433"/>
                  </a:lnTo>
                  <a:lnTo>
                    <a:pt x="64181" y="-3068"/>
                  </a:lnTo>
                </a:path>
              </a:pathLst>
            </a:custGeom>
            <a:solidFill>
              <a:srgbClr val="4DA5C3">
                <a:lumMod val="20000"/>
                <a:lumOff val="80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5747E811-4520-2E3D-7462-DD9590882AA8}"/>
                </a:ext>
              </a:extLst>
            </p:cNvPr>
            <p:cNvSpPr/>
            <p:nvPr/>
          </p:nvSpPr>
          <p:spPr>
            <a:xfrm flipV="1">
              <a:off x="6888433" y="4851810"/>
              <a:ext cx="21958" cy="43316"/>
            </a:xfrm>
            <a:custGeom>
              <a:avLst/>
              <a:gdLst>
                <a:gd name="connsiteX0" fmla="*/ -7010 w 32964"/>
                <a:gd name="connsiteY0" fmla="*/ -3231 h 65028"/>
                <a:gd name="connsiteX1" fmla="*/ 25955 w 32964"/>
                <a:gd name="connsiteY1" fmla="*/ 61798 h 65028"/>
                <a:gd name="connsiteX2" fmla="*/ -6126 w 32964"/>
                <a:gd name="connsiteY2" fmla="*/ -2888 h 65028"/>
                <a:gd name="connsiteX3" fmla="*/ -7010 w 32964"/>
                <a:gd name="connsiteY3" fmla="*/ -3231 h 6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964" h="65028">
                  <a:moveTo>
                    <a:pt x="-7010" y="-3231"/>
                  </a:moveTo>
                  <a:lnTo>
                    <a:pt x="25955" y="61798"/>
                  </a:lnTo>
                  <a:lnTo>
                    <a:pt x="-6126" y="-2888"/>
                  </a:lnTo>
                  <a:lnTo>
                    <a:pt x="-7010" y="-3231"/>
                  </a:lnTo>
                </a:path>
              </a:pathLst>
            </a:custGeom>
            <a:solidFill>
              <a:srgbClr val="8090AD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E340DAD2-0252-953D-4536-1D4589FE40D5}"/>
                </a:ext>
              </a:extLst>
            </p:cNvPr>
            <p:cNvSpPr/>
            <p:nvPr/>
          </p:nvSpPr>
          <p:spPr>
            <a:xfrm flipV="1">
              <a:off x="6346006" y="4811996"/>
              <a:ext cx="584124" cy="293011"/>
            </a:xfrm>
            <a:custGeom>
              <a:avLst/>
              <a:gdLst>
                <a:gd name="connsiteX0" fmla="*/ -6349 w 876910"/>
                <a:gd name="connsiteY0" fmla="*/ -3041 h 439879"/>
                <a:gd name="connsiteX1" fmla="*/ -6562 w 876910"/>
                <a:gd name="connsiteY1" fmla="*/ 1759 h 439879"/>
                <a:gd name="connsiteX2" fmla="*/ -6494 w 876910"/>
                <a:gd name="connsiteY2" fmla="*/ 4861 h 439879"/>
                <a:gd name="connsiteX3" fmla="*/ 44568 w 876910"/>
                <a:gd name="connsiteY3" fmla="*/ 107830 h 439879"/>
                <a:gd name="connsiteX4" fmla="*/ 124586 w 876910"/>
                <a:gd name="connsiteY4" fmla="*/ 139712 h 439879"/>
                <a:gd name="connsiteX5" fmla="*/ 104598 w 876910"/>
                <a:gd name="connsiteY5" fmla="*/ 100416 h 439879"/>
                <a:gd name="connsiteX6" fmla="*/ 175357 w 876910"/>
                <a:gd name="connsiteY6" fmla="*/ 67284 h 439879"/>
                <a:gd name="connsiteX7" fmla="*/ -6349 w 876910"/>
                <a:gd name="connsiteY7" fmla="*/ -3041 h 439879"/>
                <a:gd name="connsiteX8" fmla="*/ 721826 w 876910"/>
                <a:gd name="connsiteY8" fmla="*/ 278785 h 439879"/>
                <a:gd name="connsiteX9" fmla="*/ 784920 w 876910"/>
                <a:gd name="connsiteY9" fmla="*/ 402800 h 439879"/>
                <a:gd name="connsiteX10" fmla="*/ 870347 w 876910"/>
                <a:gd name="connsiteY10" fmla="*/ 436839 h 439879"/>
                <a:gd name="connsiteX11" fmla="*/ 840713 w 876910"/>
                <a:gd name="connsiteY11" fmla="*/ 377067 h 439879"/>
                <a:gd name="connsiteX12" fmla="*/ 807749 w 876910"/>
                <a:gd name="connsiteY12" fmla="*/ 312038 h 439879"/>
                <a:gd name="connsiteX13" fmla="*/ 721826 w 876910"/>
                <a:gd name="connsiteY13" fmla="*/ 278785 h 43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6910" h="439879">
                  <a:moveTo>
                    <a:pt x="-6349" y="-3041"/>
                  </a:moveTo>
                  <a:cubicBezTo>
                    <a:pt x="-6494" y="-1494"/>
                    <a:pt x="-6562" y="106"/>
                    <a:pt x="-6562" y="1759"/>
                  </a:cubicBezTo>
                  <a:cubicBezTo>
                    <a:pt x="-6570" y="2773"/>
                    <a:pt x="-6539" y="3809"/>
                    <a:pt x="-6494" y="4861"/>
                  </a:cubicBezTo>
                  <a:lnTo>
                    <a:pt x="44568" y="107830"/>
                  </a:lnTo>
                  <a:lnTo>
                    <a:pt x="124586" y="139712"/>
                  </a:lnTo>
                  <a:lnTo>
                    <a:pt x="104598" y="100416"/>
                  </a:lnTo>
                  <a:lnTo>
                    <a:pt x="175357" y="67284"/>
                  </a:lnTo>
                  <a:lnTo>
                    <a:pt x="-6349" y="-3041"/>
                  </a:lnTo>
                  <a:moveTo>
                    <a:pt x="721826" y="278785"/>
                  </a:moveTo>
                  <a:lnTo>
                    <a:pt x="784920" y="402800"/>
                  </a:lnTo>
                  <a:lnTo>
                    <a:pt x="870347" y="436839"/>
                  </a:lnTo>
                  <a:lnTo>
                    <a:pt x="840713" y="377067"/>
                  </a:lnTo>
                  <a:lnTo>
                    <a:pt x="807749" y="312038"/>
                  </a:lnTo>
                  <a:lnTo>
                    <a:pt x="721826" y="278785"/>
                  </a:lnTo>
                </a:path>
              </a:pathLst>
            </a:custGeom>
            <a:solidFill>
              <a:srgbClr val="667F99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363D5C5D-4EF9-64F4-E659-BEF320AA906C}"/>
                </a:ext>
              </a:extLst>
            </p:cNvPr>
            <p:cNvSpPr/>
            <p:nvPr/>
          </p:nvSpPr>
          <p:spPr>
            <a:xfrm flipV="1">
              <a:off x="6453330" y="4638662"/>
              <a:ext cx="477526" cy="332024"/>
            </a:xfrm>
            <a:custGeom>
              <a:avLst/>
              <a:gdLst>
                <a:gd name="connsiteX0" fmla="*/ -6656 w 716881"/>
                <a:gd name="connsiteY0" fmla="*/ -3385 h 498447"/>
                <a:gd name="connsiteX1" fmla="*/ 187273 w 716881"/>
                <a:gd name="connsiteY1" fmla="*/ 377783 h 498447"/>
                <a:gd name="connsiteX2" fmla="*/ 444989 w 716881"/>
                <a:gd name="connsiteY2" fmla="*/ 495062 h 498447"/>
                <a:gd name="connsiteX3" fmla="*/ 710226 w 716881"/>
                <a:gd name="connsiteY3" fmla="*/ 370864 h 498447"/>
                <a:gd name="connsiteX4" fmla="*/ 651888 w 716881"/>
                <a:gd name="connsiteY4" fmla="*/ 256198 h 498447"/>
                <a:gd name="connsiteX5" fmla="*/ -6656 w 716881"/>
                <a:gd name="connsiteY5" fmla="*/ -3385 h 498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6881" h="498447">
                  <a:moveTo>
                    <a:pt x="-6656" y="-3385"/>
                  </a:moveTo>
                  <a:lnTo>
                    <a:pt x="187273" y="377783"/>
                  </a:lnTo>
                  <a:lnTo>
                    <a:pt x="444989" y="495062"/>
                  </a:lnTo>
                  <a:lnTo>
                    <a:pt x="710226" y="370864"/>
                  </a:lnTo>
                  <a:lnTo>
                    <a:pt x="651888" y="256198"/>
                  </a:lnTo>
                  <a:lnTo>
                    <a:pt x="-6656" y="-3385"/>
                  </a:lnTo>
                </a:path>
              </a:pathLst>
            </a:custGeom>
            <a:solidFill>
              <a:srgbClr val="4DA5C3">
                <a:lumMod val="20000"/>
                <a:lumOff val="80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33D28B53-E048-FACA-0AFE-864D97AAAE2E}"/>
                </a:ext>
              </a:extLst>
            </p:cNvPr>
            <p:cNvSpPr/>
            <p:nvPr/>
          </p:nvSpPr>
          <p:spPr>
            <a:xfrm flipV="1">
              <a:off x="6949206" y="4755933"/>
              <a:ext cx="9776" cy="19287"/>
            </a:xfrm>
            <a:custGeom>
              <a:avLst/>
              <a:gdLst>
                <a:gd name="connsiteX0" fmla="*/ -7103 w 14676"/>
                <a:gd name="connsiteY0" fmla="*/ -3472 h 28955"/>
                <a:gd name="connsiteX1" fmla="*/ 7573 w 14676"/>
                <a:gd name="connsiteY1" fmla="*/ 25484 h 28955"/>
                <a:gd name="connsiteX2" fmla="*/ -6120 w 14676"/>
                <a:gd name="connsiteY2" fmla="*/ -3084 h 28955"/>
                <a:gd name="connsiteX3" fmla="*/ -7103 w 14676"/>
                <a:gd name="connsiteY3" fmla="*/ -3472 h 2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76" h="28955">
                  <a:moveTo>
                    <a:pt x="-7103" y="-3472"/>
                  </a:moveTo>
                  <a:lnTo>
                    <a:pt x="7573" y="25484"/>
                  </a:lnTo>
                  <a:lnTo>
                    <a:pt x="-6120" y="-3084"/>
                  </a:lnTo>
                  <a:lnTo>
                    <a:pt x="-7103" y="-3472"/>
                  </a:lnTo>
                </a:path>
              </a:pathLst>
            </a:custGeom>
            <a:solidFill>
              <a:srgbClr val="8090AD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B946371E-9221-1AE9-875B-C2DE90BEBC5D}"/>
                </a:ext>
              </a:extLst>
            </p:cNvPr>
            <p:cNvSpPr/>
            <p:nvPr/>
          </p:nvSpPr>
          <p:spPr>
            <a:xfrm flipV="1">
              <a:off x="6965779" y="4667249"/>
              <a:ext cx="20892" cy="34875"/>
            </a:xfrm>
            <a:custGeom>
              <a:avLst/>
              <a:gdLst>
                <a:gd name="connsiteX0" fmla="*/ 21358 w 31364"/>
                <a:gd name="connsiteY0" fmla="*/ -3653 h 52356"/>
                <a:gd name="connsiteX1" fmla="*/ 24063 w 31364"/>
                <a:gd name="connsiteY1" fmla="*/ 15077 h 52356"/>
                <a:gd name="connsiteX2" fmla="*/ 22532 w 31364"/>
                <a:gd name="connsiteY2" fmla="*/ -1199 h 52356"/>
                <a:gd name="connsiteX3" fmla="*/ 21358 w 31364"/>
                <a:gd name="connsiteY3" fmla="*/ -3653 h 52356"/>
                <a:gd name="connsiteX4" fmla="*/ 20025 w 31364"/>
                <a:gd name="connsiteY4" fmla="*/ 28359 h 52356"/>
                <a:gd name="connsiteX5" fmla="*/ -2028 w 31364"/>
                <a:gd name="connsiteY5" fmla="*/ 46312 h 52356"/>
                <a:gd name="connsiteX6" fmla="*/ -7141 w 31364"/>
                <a:gd name="connsiteY6" fmla="*/ 48704 h 52356"/>
                <a:gd name="connsiteX7" fmla="*/ 20025 w 31364"/>
                <a:gd name="connsiteY7" fmla="*/ 28359 h 52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364" h="52356">
                  <a:moveTo>
                    <a:pt x="21358" y="-3653"/>
                  </a:moveTo>
                  <a:cubicBezTo>
                    <a:pt x="23339" y="2756"/>
                    <a:pt x="24490" y="9050"/>
                    <a:pt x="24063" y="15077"/>
                  </a:cubicBezTo>
                  <a:cubicBezTo>
                    <a:pt x="24513" y="10163"/>
                    <a:pt x="24025" y="4752"/>
                    <a:pt x="22532" y="-1199"/>
                  </a:cubicBezTo>
                  <a:lnTo>
                    <a:pt x="21358" y="-3653"/>
                  </a:lnTo>
                  <a:moveTo>
                    <a:pt x="20025" y="28359"/>
                  </a:moveTo>
                  <a:cubicBezTo>
                    <a:pt x="16138" y="34981"/>
                    <a:pt x="9204" y="41054"/>
                    <a:pt x="-2028" y="46312"/>
                  </a:cubicBezTo>
                  <a:lnTo>
                    <a:pt x="-7141" y="48704"/>
                  </a:lnTo>
                  <a:cubicBezTo>
                    <a:pt x="5638" y="43927"/>
                    <a:pt x="15003" y="37313"/>
                    <a:pt x="20025" y="28359"/>
                  </a:cubicBezTo>
                </a:path>
              </a:pathLst>
            </a:custGeom>
            <a:solidFill>
              <a:srgbClr val="608092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00F10E94-FA06-7C98-1FA9-B570C2E97D87}"/>
                </a:ext>
              </a:extLst>
            </p:cNvPr>
            <p:cNvSpPr/>
            <p:nvPr/>
          </p:nvSpPr>
          <p:spPr>
            <a:xfrm flipV="1">
              <a:off x="6806028" y="4630125"/>
              <a:ext cx="2005" cy="548"/>
            </a:xfrm>
            <a:custGeom>
              <a:avLst/>
              <a:gdLst>
                <a:gd name="connsiteX0" fmla="*/ -6852 w 3010"/>
                <a:gd name="connsiteY0" fmla="*/ -3774 h 823"/>
                <a:gd name="connsiteX1" fmla="*/ -6852 w 3010"/>
                <a:gd name="connsiteY1" fmla="*/ -3774 h 823"/>
                <a:gd name="connsiteX2" fmla="*/ -6722 w 3010"/>
                <a:gd name="connsiteY2" fmla="*/ -3560 h 823"/>
                <a:gd name="connsiteX3" fmla="*/ -6852 w 3010"/>
                <a:gd name="connsiteY3" fmla="*/ -3774 h 823"/>
                <a:gd name="connsiteX4" fmla="*/ -6722 w 3010"/>
                <a:gd name="connsiteY4" fmla="*/ -3560 h 823"/>
                <a:gd name="connsiteX5" fmla="*/ -5534 w 3010"/>
                <a:gd name="connsiteY5" fmla="*/ -2951 h 823"/>
                <a:gd name="connsiteX6" fmla="*/ -6722 w 3010"/>
                <a:gd name="connsiteY6" fmla="*/ -3560 h 823"/>
                <a:gd name="connsiteX7" fmla="*/ -3842 w 3010"/>
                <a:gd name="connsiteY7" fmla="*/ -3400 h 823"/>
                <a:gd name="connsiteX8" fmla="*/ -4040 w 3010"/>
                <a:gd name="connsiteY8" fmla="*/ -3309 h 823"/>
                <a:gd name="connsiteX9" fmla="*/ -3842 w 3010"/>
                <a:gd name="connsiteY9" fmla="*/ -3400 h 823"/>
                <a:gd name="connsiteX10" fmla="*/ -4040 w 3010"/>
                <a:gd name="connsiteY10" fmla="*/ -3309 h 823"/>
                <a:gd name="connsiteX11" fmla="*/ -4147 w 3010"/>
                <a:gd name="connsiteY11" fmla="*/ -3271 h 823"/>
                <a:gd name="connsiteX12" fmla="*/ -4040 w 3010"/>
                <a:gd name="connsiteY12" fmla="*/ -3309 h 823"/>
                <a:gd name="connsiteX13" fmla="*/ -4147 w 3010"/>
                <a:gd name="connsiteY13" fmla="*/ -3271 h 823"/>
                <a:gd name="connsiteX14" fmla="*/ -5457 w 3010"/>
                <a:gd name="connsiteY14" fmla="*/ -2951 h 823"/>
                <a:gd name="connsiteX15" fmla="*/ -4147 w 3010"/>
                <a:gd name="connsiteY15" fmla="*/ -3271 h 823"/>
                <a:gd name="connsiteX16" fmla="*/ -5457 w 3010"/>
                <a:gd name="connsiteY16" fmla="*/ -2951 h 823"/>
                <a:gd name="connsiteX17" fmla="*/ -5503 w 3010"/>
                <a:gd name="connsiteY17" fmla="*/ -2951 h 823"/>
                <a:gd name="connsiteX18" fmla="*/ -5503 w 3010"/>
                <a:gd name="connsiteY18" fmla="*/ -2951 h 823"/>
                <a:gd name="connsiteX19" fmla="*/ -5457 w 3010"/>
                <a:gd name="connsiteY19" fmla="*/ -2951 h 823"/>
                <a:gd name="connsiteX20" fmla="*/ -5534 w 3010"/>
                <a:gd name="connsiteY20" fmla="*/ -2951 h 823"/>
                <a:gd name="connsiteX21" fmla="*/ -5503 w 3010"/>
                <a:gd name="connsiteY21" fmla="*/ -2951 h 823"/>
                <a:gd name="connsiteX22" fmla="*/ -5503 w 3010"/>
                <a:gd name="connsiteY22" fmla="*/ -2951 h 823"/>
                <a:gd name="connsiteX23" fmla="*/ -5534 w 3010"/>
                <a:gd name="connsiteY23" fmla="*/ -2951 h 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10" h="823">
                  <a:moveTo>
                    <a:pt x="-6852" y="-3774"/>
                  </a:moveTo>
                  <a:lnTo>
                    <a:pt x="-6852" y="-3774"/>
                  </a:lnTo>
                  <a:cubicBezTo>
                    <a:pt x="-6814" y="-3698"/>
                    <a:pt x="-6768" y="-3629"/>
                    <a:pt x="-6722" y="-3560"/>
                  </a:cubicBezTo>
                  <a:cubicBezTo>
                    <a:pt x="-6768" y="-3629"/>
                    <a:pt x="-6814" y="-3698"/>
                    <a:pt x="-6852" y="-3774"/>
                  </a:cubicBezTo>
                  <a:moveTo>
                    <a:pt x="-6722" y="-3560"/>
                  </a:moveTo>
                  <a:cubicBezTo>
                    <a:pt x="-6456" y="-3164"/>
                    <a:pt x="-6052" y="-2958"/>
                    <a:pt x="-5534" y="-2951"/>
                  </a:cubicBezTo>
                  <a:cubicBezTo>
                    <a:pt x="-6052" y="-2958"/>
                    <a:pt x="-6456" y="-3164"/>
                    <a:pt x="-6722" y="-3560"/>
                  </a:cubicBezTo>
                  <a:moveTo>
                    <a:pt x="-3842" y="-3400"/>
                  </a:moveTo>
                  <a:cubicBezTo>
                    <a:pt x="-3910" y="-3370"/>
                    <a:pt x="-3979" y="-3339"/>
                    <a:pt x="-4040" y="-3309"/>
                  </a:cubicBezTo>
                  <a:cubicBezTo>
                    <a:pt x="-3979" y="-3339"/>
                    <a:pt x="-3910" y="-3370"/>
                    <a:pt x="-3842" y="-3400"/>
                  </a:cubicBezTo>
                  <a:moveTo>
                    <a:pt x="-4040" y="-3309"/>
                  </a:moveTo>
                  <a:cubicBezTo>
                    <a:pt x="-4078" y="-3294"/>
                    <a:pt x="-4109" y="-3279"/>
                    <a:pt x="-4147" y="-3271"/>
                  </a:cubicBezTo>
                  <a:cubicBezTo>
                    <a:pt x="-4109" y="-3279"/>
                    <a:pt x="-4078" y="-3294"/>
                    <a:pt x="-4040" y="-3309"/>
                  </a:cubicBezTo>
                  <a:moveTo>
                    <a:pt x="-4147" y="-3271"/>
                  </a:moveTo>
                  <a:cubicBezTo>
                    <a:pt x="-4642" y="-3065"/>
                    <a:pt x="-5084" y="-2958"/>
                    <a:pt x="-5457" y="-2951"/>
                  </a:cubicBezTo>
                  <a:cubicBezTo>
                    <a:pt x="-5084" y="-2958"/>
                    <a:pt x="-4642" y="-3065"/>
                    <a:pt x="-4147" y="-3271"/>
                  </a:cubicBezTo>
                  <a:moveTo>
                    <a:pt x="-5457" y="-2951"/>
                  </a:moveTo>
                  <a:cubicBezTo>
                    <a:pt x="-5473" y="-2951"/>
                    <a:pt x="-5488" y="-2951"/>
                    <a:pt x="-5503" y="-2951"/>
                  </a:cubicBezTo>
                  <a:lnTo>
                    <a:pt x="-5503" y="-2951"/>
                  </a:lnTo>
                  <a:cubicBezTo>
                    <a:pt x="-5488" y="-2951"/>
                    <a:pt x="-5473" y="-2951"/>
                    <a:pt x="-5457" y="-2951"/>
                  </a:cubicBezTo>
                  <a:moveTo>
                    <a:pt x="-5534" y="-2951"/>
                  </a:moveTo>
                  <a:cubicBezTo>
                    <a:pt x="-5526" y="-2951"/>
                    <a:pt x="-5511" y="-2951"/>
                    <a:pt x="-5503" y="-2951"/>
                  </a:cubicBezTo>
                  <a:lnTo>
                    <a:pt x="-5503" y="-2951"/>
                  </a:lnTo>
                  <a:cubicBezTo>
                    <a:pt x="-5511" y="-2951"/>
                    <a:pt x="-5526" y="-2951"/>
                    <a:pt x="-5534" y="-2951"/>
                  </a:cubicBezTo>
                </a:path>
              </a:pathLst>
            </a:custGeom>
            <a:solidFill>
              <a:srgbClr val="526C7C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C7A56959-61B2-654E-D954-A92B6BCBF891}"/>
                </a:ext>
              </a:extLst>
            </p:cNvPr>
            <p:cNvSpPr/>
            <p:nvPr/>
          </p:nvSpPr>
          <p:spPr>
            <a:xfrm flipV="1">
              <a:off x="6399541" y="4603984"/>
              <a:ext cx="587081" cy="387903"/>
            </a:xfrm>
            <a:custGeom>
              <a:avLst/>
              <a:gdLst>
                <a:gd name="connsiteX0" fmla="*/ -6657 w 881348"/>
                <a:gd name="connsiteY0" fmla="*/ -3400 h 582335"/>
                <a:gd name="connsiteX1" fmla="*/ 177777 w 881348"/>
                <a:gd name="connsiteY1" fmla="*/ 368532 h 582335"/>
                <a:gd name="connsiteX2" fmla="*/ 268021 w 881348"/>
                <a:gd name="connsiteY2" fmla="*/ 409597 h 582335"/>
                <a:gd name="connsiteX3" fmla="*/ 74092 w 881348"/>
                <a:gd name="connsiteY3" fmla="*/ 28429 h 582335"/>
                <a:gd name="connsiteX4" fmla="*/ -6657 w 881348"/>
                <a:gd name="connsiteY4" fmla="*/ -3400 h 582335"/>
                <a:gd name="connsiteX5" fmla="*/ 732635 w 881348"/>
                <a:gd name="connsiteY5" fmla="*/ 288012 h 582335"/>
                <a:gd name="connsiteX6" fmla="*/ 790974 w 881348"/>
                <a:gd name="connsiteY6" fmla="*/ 402678 h 582335"/>
                <a:gd name="connsiteX7" fmla="*/ 525737 w 881348"/>
                <a:gd name="connsiteY7" fmla="*/ 526876 h 582335"/>
                <a:gd name="connsiteX8" fmla="*/ 585965 w 881348"/>
                <a:gd name="connsiteY8" fmla="*/ 554285 h 582335"/>
                <a:gd name="connsiteX9" fmla="*/ 670364 w 881348"/>
                <a:gd name="connsiteY9" fmla="*/ 514768 h 582335"/>
                <a:gd name="connsiteX10" fmla="*/ 585965 w 881348"/>
                <a:gd name="connsiteY10" fmla="*/ 554285 h 582335"/>
                <a:gd name="connsiteX11" fmla="*/ 640136 w 881348"/>
                <a:gd name="connsiteY11" fmla="*/ 578936 h 582335"/>
                <a:gd name="connsiteX12" fmla="*/ 843384 w 881348"/>
                <a:gd name="connsiteY12" fmla="*/ 483968 h 582335"/>
                <a:gd name="connsiteX13" fmla="*/ 843399 w 881348"/>
                <a:gd name="connsiteY13" fmla="*/ 483960 h 582335"/>
                <a:gd name="connsiteX14" fmla="*/ 848512 w 881348"/>
                <a:gd name="connsiteY14" fmla="*/ 481568 h 582335"/>
                <a:gd name="connsiteX15" fmla="*/ 870565 w 881348"/>
                <a:gd name="connsiteY15" fmla="*/ 463615 h 582335"/>
                <a:gd name="connsiteX16" fmla="*/ 874603 w 881348"/>
                <a:gd name="connsiteY16" fmla="*/ 450333 h 582335"/>
                <a:gd name="connsiteX17" fmla="*/ 871898 w 881348"/>
                <a:gd name="connsiteY17" fmla="*/ 431603 h 582335"/>
                <a:gd name="connsiteX18" fmla="*/ 833196 w 881348"/>
                <a:gd name="connsiteY18" fmla="*/ 350824 h 582335"/>
                <a:gd name="connsiteX19" fmla="*/ 818520 w 881348"/>
                <a:gd name="connsiteY19" fmla="*/ 321868 h 582335"/>
                <a:gd name="connsiteX20" fmla="*/ 732635 w 881348"/>
                <a:gd name="connsiteY20" fmla="*/ 288012 h 582335"/>
                <a:gd name="connsiteX21" fmla="*/ 691655 w 881348"/>
                <a:gd name="connsiteY21" fmla="*/ 504793 h 582335"/>
                <a:gd name="connsiteX22" fmla="*/ 713714 w 881348"/>
                <a:gd name="connsiteY22" fmla="*/ 494461 h 582335"/>
                <a:gd name="connsiteX23" fmla="*/ 691655 w 881348"/>
                <a:gd name="connsiteY23" fmla="*/ 504793 h 582335"/>
                <a:gd name="connsiteX24" fmla="*/ 603575 w 881348"/>
                <a:gd name="connsiteY24" fmla="*/ 538870 h 582335"/>
                <a:gd name="connsiteX25" fmla="*/ 603575 w 881348"/>
                <a:gd name="connsiteY25" fmla="*/ 538870 h 582335"/>
                <a:gd name="connsiteX26" fmla="*/ 610425 w 881348"/>
                <a:gd name="connsiteY26" fmla="*/ 535654 h 582335"/>
                <a:gd name="connsiteX27" fmla="*/ 610425 w 881348"/>
                <a:gd name="connsiteY27" fmla="*/ 535654 h 582335"/>
                <a:gd name="connsiteX28" fmla="*/ 610425 w 881348"/>
                <a:gd name="connsiteY28" fmla="*/ 535654 h 582335"/>
                <a:gd name="connsiteX29" fmla="*/ 610425 w 881348"/>
                <a:gd name="connsiteY29" fmla="*/ 535654 h 582335"/>
                <a:gd name="connsiteX30" fmla="*/ 606585 w 881348"/>
                <a:gd name="connsiteY30" fmla="*/ 539243 h 582335"/>
                <a:gd name="connsiteX31" fmla="*/ 610425 w 881348"/>
                <a:gd name="connsiteY31" fmla="*/ 535654 h 582335"/>
                <a:gd name="connsiteX32" fmla="*/ 610425 w 881348"/>
                <a:gd name="connsiteY32" fmla="*/ 535654 h 582335"/>
                <a:gd name="connsiteX33" fmla="*/ 603575 w 881348"/>
                <a:gd name="connsiteY33" fmla="*/ 538870 h 582335"/>
                <a:gd name="connsiteX34" fmla="*/ 603705 w 881348"/>
                <a:gd name="connsiteY34" fmla="*/ 539083 h 582335"/>
                <a:gd name="connsiteX35" fmla="*/ 604893 w 881348"/>
                <a:gd name="connsiteY35" fmla="*/ 539693 h 582335"/>
                <a:gd name="connsiteX36" fmla="*/ 604924 w 881348"/>
                <a:gd name="connsiteY36" fmla="*/ 539693 h 582335"/>
                <a:gd name="connsiteX37" fmla="*/ 604969 w 881348"/>
                <a:gd name="connsiteY37" fmla="*/ 539693 h 582335"/>
                <a:gd name="connsiteX38" fmla="*/ 606280 w 881348"/>
                <a:gd name="connsiteY38" fmla="*/ 539373 h 582335"/>
                <a:gd name="connsiteX39" fmla="*/ 606387 w 881348"/>
                <a:gd name="connsiteY39" fmla="*/ 539335 h 582335"/>
                <a:gd name="connsiteX40" fmla="*/ 606585 w 881348"/>
                <a:gd name="connsiteY40" fmla="*/ 539243 h 582335"/>
                <a:gd name="connsiteX41" fmla="*/ 606387 w 881348"/>
                <a:gd name="connsiteY41" fmla="*/ 539335 h 582335"/>
                <a:gd name="connsiteX42" fmla="*/ 606280 w 881348"/>
                <a:gd name="connsiteY42" fmla="*/ 539373 h 582335"/>
                <a:gd name="connsiteX43" fmla="*/ 604969 w 881348"/>
                <a:gd name="connsiteY43" fmla="*/ 539693 h 582335"/>
                <a:gd name="connsiteX44" fmla="*/ 604924 w 881348"/>
                <a:gd name="connsiteY44" fmla="*/ 539693 h 582335"/>
                <a:gd name="connsiteX45" fmla="*/ 604924 w 881348"/>
                <a:gd name="connsiteY45" fmla="*/ 539693 h 582335"/>
                <a:gd name="connsiteX46" fmla="*/ 604924 w 881348"/>
                <a:gd name="connsiteY46" fmla="*/ 539693 h 582335"/>
                <a:gd name="connsiteX47" fmla="*/ 604893 w 881348"/>
                <a:gd name="connsiteY47" fmla="*/ 539693 h 582335"/>
                <a:gd name="connsiteX48" fmla="*/ 603705 w 881348"/>
                <a:gd name="connsiteY48" fmla="*/ 539083 h 582335"/>
                <a:gd name="connsiteX49" fmla="*/ 603575 w 881348"/>
                <a:gd name="connsiteY49" fmla="*/ 538870 h 582335"/>
                <a:gd name="connsiteX50" fmla="*/ 603575 w 881348"/>
                <a:gd name="connsiteY50" fmla="*/ 538870 h 582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881348" h="582335">
                  <a:moveTo>
                    <a:pt x="-6657" y="-3400"/>
                  </a:moveTo>
                  <a:lnTo>
                    <a:pt x="177777" y="368532"/>
                  </a:lnTo>
                  <a:lnTo>
                    <a:pt x="268021" y="409597"/>
                  </a:lnTo>
                  <a:lnTo>
                    <a:pt x="74092" y="28429"/>
                  </a:lnTo>
                  <a:lnTo>
                    <a:pt x="-6657" y="-3400"/>
                  </a:lnTo>
                  <a:moveTo>
                    <a:pt x="732635" y="288012"/>
                  </a:moveTo>
                  <a:lnTo>
                    <a:pt x="790974" y="402678"/>
                  </a:lnTo>
                  <a:lnTo>
                    <a:pt x="525737" y="526876"/>
                  </a:lnTo>
                  <a:lnTo>
                    <a:pt x="585965" y="554285"/>
                  </a:lnTo>
                  <a:lnTo>
                    <a:pt x="670364" y="514768"/>
                  </a:lnTo>
                  <a:lnTo>
                    <a:pt x="585965" y="554285"/>
                  </a:lnTo>
                  <a:lnTo>
                    <a:pt x="640136" y="578936"/>
                  </a:lnTo>
                  <a:lnTo>
                    <a:pt x="843384" y="483968"/>
                  </a:lnTo>
                  <a:cubicBezTo>
                    <a:pt x="843384" y="483968"/>
                    <a:pt x="843392" y="483968"/>
                    <a:pt x="843399" y="483960"/>
                  </a:cubicBezTo>
                  <a:lnTo>
                    <a:pt x="848512" y="481568"/>
                  </a:lnTo>
                  <a:cubicBezTo>
                    <a:pt x="859744" y="476310"/>
                    <a:pt x="866678" y="470237"/>
                    <a:pt x="870565" y="463615"/>
                  </a:cubicBezTo>
                  <a:cubicBezTo>
                    <a:pt x="872790" y="459660"/>
                    <a:pt x="874161" y="455248"/>
                    <a:pt x="874603" y="450333"/>
                  </a:cubicBezTo>
                  <a:cubicBezTo>
                    <a:pt x="875029" y="444306"/>
                    <a:pt x="873879" y="438012"/>
                    <a:pt x="871898" y="431603"/>
                  </a:cubicBezTo>
                  <a:lnTo>
                    <a:pt x="833196" y="350824"/>
                  </a:lnTo>
                  <a:lnTo>
                    <a:pt x="818520" y="321868"/>
                  </a:lnTo>
                  <a:lnTo>
                    <a:pt x="732635" y="288012"/>
                  </a:lnTo>
                  <a:moveTo>
                    <a:pt x="691655" y="504793"/>
                  </a:moveTo>
                  <a:lnTo>
                    <a:pt x="713714" y="494461"/>
                  </a:lnTo>
                  <a:lnTo>
                    <a:pt x="691655" y="504793"/>
                  </a:lnTo>
                  <a:moveTo>
                    <a:pt x="603575" y="538870"/>
                  </a:moveTo>
                  <a:lnTo>
                    <a:pt x="603575" y="538870"/>
                  </a:lnTo>
                  <a:cubicBezTo>
                    <a:pt x="605610" y="537917"/>
                    <a:pt x="607888" y="536851"/>
                    <a:pt x="610425" y="535654"/>
                  </a:cubicBezTo>
                  <a:lnTo>
                    <a:pt x="610425" y="535654"/>
                  </a:lnTo>
                  <a:lnTo>
                    <a:pt x="610425" y="535654"/>
                  </a:lnTo>
                  <a:lnTo>
                    <a:pt x="610425" y="535654"/>
                  </a:lnTo>
                  <a:cubicBezTo>
                    <a:pt x="609877" y="535929"/>
                    <a:pt x="608597" y="537117"/>
                    <a:pt x="606585" y="539243"/>
                  </a:cubicBezTo>
                  <a:cubicBezTo>
                    <a:pt x="608597" y="537117"/>
                    <a:pt x="609877" y="535929"/>
                    <a:pt x="610425" y="535654"/>
                  </a:cubicBezTo>
                  <a:lnTo>
                    <a:pt x="610425" y="535654"/>
                  </a:lnTo>
                  <a:cubicBezTo>
                    <a:pt x="607888" y="536851"/>
                    <a:pt x="605610" y="537917"/>
                    <a:pt x="603575" y="538870"/>
                  </a:cubicBezTo>
                  <a:cubicBezTo>
                    <a:pt x="603613" y="538946"/>
                    <a:pt x="603659" y="539015"/>
                    <a:pt x="603705" y="539083"/>
                  </a:cubicBezTo>
                  <a:cubicBezTo>
                    <a:pt x="603971" y="539480"/>
                    <a:pt x="604375" y="539685"/>
                    <a:pt x="604893" y="539693"/>
                  </a:cubicBezTo>
                  <a:cubicBezTo>
                    <a:pt x="604901" y="539693"/>
                    <a:pt x="604916" y="539693"/>
                    <a:pt x="604924" y="539693"/>
                  </a:cubicBezTo>
                  <a:cubicBezTo>
                    <a:pt x="604939" y="539693"/>
                    <a:pt x="604954" y="539693"/>
                    <a:pt x="604969" y="539693"/>
                  </a:cubicBezTo>
                  <a:cubicBezTo>
                    <a:pt x="605343" y="539685"/>
                    <a:pt x="605785" y="539579"/>
                    <a:pt x="606280" y="539373"/>
                  </a:cubicBezTo>
                  <a:cubicBezTo>
                    <a:pt x="606318" y="539365"/>
                    <a:pt x="606349" y="539350"/>
                    <a:pt x="606387" y="539335"/>
                  </a:cubicBezTo>
                  <a:cubicBezTo>
                    <a:pt x="606448" y="539304"/>
                    <a:pt x="606516" y="539274"/>
                    <a:pt x="606585" y="539243"/>
                  </a:cubicBezTo>
                  <a:cubicBezTo>
                    <a:pt x="606516" y="539274"/>
                    <a:pt x="606448" y="539304"/>
                    <a:pt x="606387" y="539335"/>
                  </a:cubicBezTo>
                  <a:cubicBezTo>
                    <a:pt x="606349" y="539350"/>
                    <a:pt x="606318" y="539365"/>
                    <a:pt x="606280" y="539373"/>
                  </a:cubicBezTo>
                  <a:cubicBezTo>
                    <a:pt x="605785" y="539579"/>
                    <a:pt x="605343" y="539685"/>
                    <a:pt x="604969" y="539693"/>
                  </a:cubicBezTo>
                  <a:cubicBezTo>
                    <a:pt x="604954" y="539693"/>
                    <a:pt x="604939" y="539693"/>
                    <a:pt x="604924" y="539693"/>
                  </a:cubicBezTo>
                  <a:lnTo>
                    <a:pt x="604924" y="539693"/>
                  </a:lnTo>
                  <a:lnTo>
                    <a:pt x="604924" y="539693"/>
                  </a:lnTo>
                  <a:cubicBezTo>
                    <a:pt x="604916" y="539693"/>
                    <a:pt x="604901" y="539693"/>
                    <a:pt x="604893" y="539693"/>
                  </a:cubicBezTo>
                  <a:cubicBezTo>
                    <a:pt x="604375" y="539685"/>
                    <a:pt x="603971" y="539480"/>
                    <a:pt x="603705" y="539083"/>
                  </a:cubicBezTo>
                  <a:cubicBezTo>
                    <a:pt x="603659" y="539015"/>
                    <a:pt x="603613" y="538946"/>
                    <a:pt x="603575" y="538870"/>
                  </a:cubicBezTo>
                  <a:lnTo>
                    <a:pt x="603575" y="538870"/>
                  </a:lnTo>
                </a:path>
              </a:pathLst>
            </a:custGeom>
            <a:solidFill>
              <a:srgbClr val="667F99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067C6051-BC4D-A351-5262-823FBA5629FD}"/>
                </a:ext>
              </a:extLst>
            </p:cNvPr>
            <p:cNvSpPr/>
            <p:nvPr/>
          </p:nvSpPr>
          <p:spPr>
            <a:xfrm flipV="1">
              <a:off x="3323556" y="4681050"/>
              <a:ext cx="495404" cy="459802"/>
            </a:xfrm>
            <a:custGeom>
              <a:avLst/>
              <a:gdLst>
                <a:gd name="connsiteX0" fmla="*/ 742393 w 743719"/>
                <a:gd name="connsiteY0" fmla="*/ 537072 h 690272"/>
                <a:gd name="connsiteX1" fmla="*/ 609736 w 743719"/>
                <a:gd name="connsiteY1" fmla="*/ -3147 h 690272"/>
                <a:gd name="connsiteX2" fmla="*/ -1327 w 743719"/>
                <a:gd name="connsiteY2" fmla="*/ 146906 h 690272"/>
                <a:gd name="connsiteX3" fmla="*/ 131330 w 743719"/>
                <a:gd name="connsiteY3" fmla="*/ 687125 h 690272"/>
                <a:gd name="connsiteX4" fmla="*/ 742393 w 743719"/>
                <a:gd name="connsiteY4" fmla="*/ 537072 h 69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719" h="690272">
                  <a:moveTo>
                    <a:pt x="742393" y="537072"/>
                  </a:moveTo>
                  <a:lnTo>
                    <a:pt x="609736" y="-3147"/>
                  </a:lnTo>
                  <a:lnTo>
                    <a:pt x="-1327" y="146906"/>
                  </a:lnTo>
                  <a:lnTo>
                    <a:pt x="131330" y="687125"/>
                  </a:lnTo>
                  <a:lnTo>
                    <a:pt x="742393" y="537072"/>
                  </a:lnTo>
                </a:path>
              </a:pathLst>
            </a:custGeom>
            <a:solidFill>
              <a:srgbClr val="E5E9E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58D6DB6A-6F1A-7061-1303-C049D25622A0}"/>
                </a:ext>
              </a:extLst>
            </p:cNvPr>
            <p:cNvSpPr/>
            <p:nvPr/>
          </p:nvSpPr>
          <p:spPr>
            <a:xfrm flipV="1">
              <a:off x="3367437" y="4964107"/>
              <a:ext cx="353946" cy="86913"/>
            </a:xfrm>
            <a:custGeom>
              <a:avLst/>
              <a:gdLst>
                <a:gd name="connsiteX0" fmla="*/ -1281 w 531357"/>
                <a:gd name="connsiteY0" fmla="*/ 127546 h 130477"/>
                <a:gd name="connsiteX1" fmla="*/ 530077 w 531357"/>
                <a:gd name="connsiteY1" fmla="*/ -2932 h 130477"/>
                <a:gd name="connsiteX2" fmla="*/ -1281 w 531357"/>
                <a:gd name="connsiteY2" fmla="*/ 127546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357" h="130477">
                  <a:moveTo>
                    <a:pt x="-1281" y="127546"/>
                  </a:moveTo>
                  <a:lnTo>
                    <a:pt x="530077" y="-2932"/>
                  </a:lnTo>
                  <a:lnTo>
                    <a:pt x="-1281" y="127546"/>
                  </a:lnTo>
                </a:path>
              </a:pathLst>
            </a:custGeom>
            <a:solidFill>
              <a:srgbClr val="E5E9E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0792D669-51FE-90B2-AF71-D302C17FF1D1}"/>
                </a:ext>
              </a:extLst>
            </p:cNvPr>
            <p:cNvSpPr/>
            <p:nvPr/>
          </p:nvSpPr>
          <p:spPr>
            <a:xfrm flipV="1">
              <a:off x="3366223" y="4959179"/>
              <a:ext cx="356367" cy="96770"/>
            </a:xfrm>
            <a:custGeom>
              <a:avLst/>
              <a:gdLst>
                <a:gd name="connsiteX0" fmla="*/ 540 w 534992"/>
                <a:gd name="connsiteY0" fmla="*/ 134945 h 145275"/>
                <a:gd name="connsiteX1" fmla="*/ -1281 w 534992"/>
                <a:gd name="connsiteY1" fmla="*/ 127546 h 145275"/>
                <a:gd name="connsiteX2" fmla="*/ 530077 w 534992"/>
                <a:gd name="connsiteY2" fmla="*/ -2932 h 145275"/>
                <a:gd name="connsiteX3" fmla="*/ 533712 w 534992"/>
                <a:gd name="connsiteY3" fmla="*/ 11866 h 145275"/>
                <a:gd name="connsiteX4" fmla="*/ 2354 w 534992"/>
                <a:gd name="connsiteY4" fmla="*/ 142344 h 145275"/>
                <a:gd name="connsiteX5" fmla="*/ -1281 w 534992"/>
                <a:gd name="connsiteY5" fmla="*/ 127546 h 145275"/>
                <a:gd name="connsiteX6" fmla="*/ 540 w 534992"/>
                <a:gd name="connsiteY6" fmla="*/ 134945 h 145275"/>
                <a:gd name="connsiteX7" fmla="*/ -1281 w 534992"/>
                <a:gd name="connsiteY7" fmla="*/ 127546 h 145275"/>
                <a:gd name="connsiteX8" fmla="*/ 530077 w 534992"/>
                <a:gd name="connsiteY8" fmla="*/ -2932 h 145275"/>
                <a:gd name="connsiteX9" fmla="*/ 533712 w 534992"/>
                <a:gd name="connsiteY9" fmla="*/ 11866 h 145275"/>
                <a:gd name="connsiteX10" fmla="*/ 2354 w 534992"/>
                <a:gd name="connsiteY10" fmla="*/ 142344 h 145275"/>
                <a:gd name="connsiteX11" fmla="*/ -1281 w 534992"/>
                <a:gd name="connsiteY11" fmla="*/ 127546 h 145275"/>
                <a:gd name="connsiteX12" fmla="*/ 540 w 534992"/>
                <a:gd name="connsiteY12" fmla="*/ 134945 h 14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4992" h="145275">
                  <a:moveTo>
                    <a:pt x="540" y="134945"/>
                  </a:moveTo>
                  <a:lnTo>
                    <a:pt x="-1281" y="127546"/>
                  </a:lnTo>
                  <a:lnTo>
                    <a:pt x="530077" y="-2932"/>
                  </a:lnTo>
                  <a:lnTo>
                    <a:pt x="533712" y="11866"/>
                  </a:lnTo>
                  <a:lnTo>
                    <a:pt x="2354" y="142344"/>
                  </a:lnTo>
                  <a:lnTo>
                    <a:pt x="-1281" y="127546"/>
                  </a:lnTo>
                  <a:lnTo>
                    <a:pt x="540" y="134945"/>
                  </a:lnTo>
                  <a:lnTo>
                    <a:pt x="-1281" y="127546"/>
                  </a:lnTo>
                  <a:lnTo>
                    <a:pt x="530077" y="-2932"/>
                  </a:lnTo>
                  <a:lnTo>
                    <a:pt x="533712" y="11866"/>
                  </a:lnTo>
                  <a:lnTo>
                    <a:pt x="2354" y="142344"/>
                  </a:lnTo>
                  <a:lnTo>
                    <a:pt x="-1281" y="127546"/>
                  </a:lnTo>
                  <a:lnTo>
                    <a:pt x="540" y="134945"/>
                  </a:lnTo>
                </a:path>
              </a:pathLst>
            </a:custGeom>
            <a:solidFill>
              <a:srgbClr val="535456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9E825E96-BAF4-B3C7-FAC7-76CBF825B19E}"/>
                </a:ext>
              </a:extLst>
            </p:cNvPr>
            <p:cNvSpPr/>
            <p:nvPr/>
          </p:nvSpPr>
          <p:spPr>
            <a:xfrm flipV="1">
              <a:off x="3381918" y="4905116"/>
              <a:ext cx="353951" cy="86913"/>
            </a:xfrm>
            <a:custGeom>
              <a:avLst/>
              <a:gdLst>
                <a:gd name="connsiteX0" fmla="*/ -1306 w 531365"/>
                <a:gd name="connsiteY0" fmla="*/ 127414 h 130477"/>
                <a:gd name="connsiteX1" fmla="*/ 530060 w 531365"/>
                <a:gd name="connsiteY1" fmla="*/ -3063 h 130477"/>
                <a:gd name="connsiteX2" fmla="*/ -1306 w 531365"/>
                <a:gd name="connsiteY2" fmla="*/ 127414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365" h="130477">
                  <a:moveTo>
                    <a:pt x="-1306" y="127414"/>
                  </a:moveTo>
                  <a:lnTo>
                    <a:pt x="530060" y="-3063"/>
                  </a:lnTo>
                  <a:lnTo>
                    <a:pt x="-1306" y="127414"/>
                  </a:lnTo>
                </a:path>
              </a:pathLst>
            </a:custGeom>
            <a:solidFill>
              <a:srgbClr val="E5E9E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BCD3B836-ABAC-46A6-C809-68E07BD5E65F}"/>
                </a:ext>
              </a:extLst>
            </p:cNvPr>
            <p:cNvSpPr/>
            <p:nvPr/>
          </p:nvSpPr>
          <p:spPr>
            <a:xfrm flipV="1">
              <a:off x="3380710" y="4900188"/>
              <a:ext cx="356367" cy="96770"/>
            </a:xfrm>
            <a:custGeom>
              <a:avLst/>
              <a:gdLst>
                <a:gd name="connsiteX0" fmla="*/ 508 w 534992"/>
                <a:gd name="connsiteY0" fmla="*/ 134813 h 145275"/>
                <a:gd name="connsiteX1" fmla="*/ -1306 w 534992"/>
                <a:gd name="connsiteY1" fmla="*/ 127414 h 145275"/>
                <a:gd name="connsiteX2" fmla="*/ 530052 w 534992"/>
                <a:gd name="connsiteY2" fmla="*/ -3063 h 145275"/>
                <a:gd name="connsiteX3" fmla="*/ 533687 w 534992"/>
                <a:gd name="connsiteY3" fmla="*/ 11735 h 145275"/>
                <a:gd name="connsiteX4" fmla="*/ 2329 w 534992"/>
                <a:gd name="connsiteY4" fmla="*/ 142212 h 145275"/>
                <a:gd name="connsiteX5" fmla="*/ -1306 w 534992"/>
                <a:gd name="connsiteY5" fmla="*/ 127414 h 145275"/>
                <a:gd name="connsiteX6" fmla="*/ 508 w 534992"/>
                <a:gd name="connsiteY6" fmla="*/ 134813 h 145275"/>
                <a:gd name="connsiteX7" fmla="*/ -1306 w 534992"/>
                <a:gd name="connsiteY7" fmla="*/ 127414 h 145275"/>
                <a:gd name="connsiteX8" fmla="*/ 530052 w 534992"/>
                <a:gd name="connsiteY8" fmla="*/ -3063 h 145275"/>
                <a:gd name="connsiteX9" fmla="*/ 533687 w 534992"/>
                <a:gd name="connsiteY9" fmla="*/ 11735 h 145275"/>
                <a:gd name="connsiteX10" fmla="*/ 2329 w 534992"/>
                <a:gd name="connsiteY10" fmla="*/ 142212 h 145275"/>
                <a:gd name="connsiteX11" fmla="*/ -1306 w 534992"/>
                <a:gd name="connsiteY11" fmla="*/ 127414 h 145275"/>
                <a:gd name="connsiteX12" fmla="*/ 508 w 534992"/>
                <a:gd name="connsiteY12" fmla="*/ 134813 h 14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4992" h="145275">
                  <a:moveTo>
                    <a:pt x="508" y="134813"/>
                  </a:moveTo>
                  <a:lnTo>
                    <a:pt x="-1306" y="127414"/>
                  </a:lnTo>
                  <a:lnTo>
                    <a:pt x="530052" y="-3063"/>
                  </a:lnTo>
                  <a:lnTo>
                    <a:pt x="533687" y="11735"/>
                  </a:lnTo>
                  <a:lnTo>
                    <a:pt x="2329" y="142212"/>
                  </a:lnTo>
                  <a:lnTo>
                    <a:pt x="-1306" y="127414"/>
                  </a:lnTo>
                  <a:lnTo>
                    <a:pt x="508" y="134813"/>
                  </a:lnTo>
                  <a:lnTo>
                    <a:pt x="-1306" y="127414"/>
                  </a:lnTo>
                  <a:lnTo>
                    <a:pt x="530052" y="-3063"/>
                  </a:lnTo>
                  <a:lnTo>
                    <a:pt x="533687" y="11735"/>
                  </a:lnTo>
                  <a:lnTo>
                    <a:pt x="2329" y="142212"/>
                  </a:lnTo>
                  <a:lnTo>
                    <a:pt x="-1306" y="127414"/>
                  </a:lnTo>
                  <a:lnTo>
                    <a:pt x="508" y="134813"/>
                  </a:lnTo>
                </a:path>
              </a:pathLst>
            </a:custGeom>
            <a:solidFill>
              <a:srgbClr val="535456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EEF5E3F0-B972-59C6-BC94-02EF402B7B09}"/>
                </a:ext>
              </a:extLst>
            </p:cNvPr>
            <p:cNvSpPr/>
            <p:nvPr/>
          </p:nvSpPr>
          <p:spPr>
            <a:xfrm flipV="1">
              <a:off x="3396404" y="4846126"/>
              <a:ext cx="353946" cy="86913"/>
            </a:xfrm>
            <a:custGeom>
              <a:avLst/>
              <a:gdLst>
                <a:gd name="connsiteX0" fmla="*/ -1331 w 531357"/>
                <a:gd name="connsiteY0" fmla="*/ 127282 h 130477"/>
                <a:gd name="connsiteX1" fmla="*/ 530027 w 531357"/>
                <a:gd name="connsiteY1" fmla="*/ -3195 h 130477"/>
                <a:gd name="connsiteX2" fmla="*/ -1331 w 531357"/>
                <a:gd name="connsiteY2" fmla="*/ 127282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357" h="130477">
                  <a:moveTo>
                    <a:pt x="-1331" y="127282"/>
                  </a:moveTo>
                  <a:lnTo>
                    <a:pt x="530027" y="-3195"/>
                  </a:lnTo>
                  <a:lnTo>
                    <a:pt x="-1331" y="127282"/>
                  </a:lnTo>
                </a:path>
              </a:pathLst>
            </a:custGeom>
            <a:solidFill>
              <a:srgbClr val="E5E9E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BCFC225B-8F27-083A-2F9A-BA82175354FD}"/>
                </a:ext>
              </a:extLst>
            </p:cNvPr>
            <p:cNvSpPr/>
            <p:nvPr/>
          </p:nvSpPr>
          <p:spPr>
            <a:xfrm flipV="1">
              <a:off x="3396404" y="4846126"/>
              <a:ext cx="353946" cy="86913"/>
            </a:xfrm>
            <a:custGeom>
              <a:avLst/>
              <a:gdLst>
                <a:gd name="connsiteX0" fmla="*/ -1331 w 531357"/>
                <a:gd name="connsiteY0" fmla="*/ 127282 h 130477"/>
                <a:gd name="connsiteX1" fmla="*/ 530027 w 531357"/>
                <a:gd name="connsiteY1" fmla="*/ -3195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1357" h="130477">
                  <a:moveTo>
                    <a:pt x="-1331" y="127282"/>
                  </a:moveTo>
                  <a:lnTo>
                    <a:pt x="530027" y="-3195"/>
                  </a:lnTo>
                  <a:close/>
                </a:path>
              </a:pathLst>
            </a:custGeom>
            <a:noFill/>
            <a:ln w="15240" cap="flat">
              <a:solidFill>
                <a:srgbClr val="14527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6CF54949-104C-0A7C-F32E-C4BD1B99A007}"/>
                </a:ext>
              </a:extLst>
            </p:cNvPr>
            <p:cNvSpPr/>
            <p:nvPr/>
          </p:nvSpPr>
          <p:spPr>
            <a:xfrm flipV="1">
              <a:off x="3409444" y="4793032"/>
              <a:ext cx="353946" cy="86913"/>
            </a:xfrm>
            <a:custGeom>
              <a:avLst/>
              <a:gdLst>
                <a:gd name="connsiteX0" fmla="*/ -1353 w 531357"/>
                <a:gd name="connsiteY0" fmla="*/ 127164 h 130477"/>
                <a:gd name="connsiteX1" fmla="*/ 530005 w 531357"/>
                <a:gd name="connsiteY1" fmla="*/ -3314 h 130477"/>
                <a:gd name="connsiteX2" fmla="*/ -1353 w 531357"/>
                <a:gd name="connsiteY2" fmla="*/ 127164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357" h="130477">
                  <a:moveTo>
                    <a:pt x="-1353" y="127164"/>
                  </a:moveTo>
                  <a:lnTo>
                    <a:pt x="530005" y="-3314"/>
                  </a:lnTo>
                  <a:lnTo>
                    <a:pt x="-1353" y="127164"/>
                  </a:lnTo>
                </a:path>
              </a:pathLst>
            </a:custGeom>
            <a:solidFill>
              <a:srgbClr val="E5E9E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21E5694B-AAB9-0B7D-1B6C-46CA6D74F043}"/>
                </a:ext>
              </a:extLst>
            </p:cNvPr>
            <p:cNvSpPr/>
            <p:nvPr/>
          </p:nvSpPr>
          <p:spPr>
            <a:xfrm flipV="1">
              <a:off x="3409444" y="4793032"/>
              <a:ext cx="353946" cy="86913"/>
            </a:xfrm>
            <a:custGeom>
              <a:avLst/>
              <a:gdLst>
                <a:gd name="connsiteX0" fmla="*/ -1353 w 531357"/>
                <a:gd name="connsiteY0" fmla="*/ 127164 h 130477"/>
                <a:gd name="connsiteX1" fmla="*/ 530005 w 531357"/>
                <a:gd name="connsiteY1" fmla="*/ -3314 h 1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1357" h="130477">
                  <a:moveTo>
                    <a:pt x="-1353" y="127164"/>
                  </a:moveTo>
                  <a:lnTo>
                    <a:pt x="530005" y="-3314"/>
                  </a:lnTo>
                  <a:close/>
                </a:path>
              </a:pathLst>
            </a:custGeom>
            <a:noFill/>
            <a:ln w="15240" cap="flat">
              <a:solidFill>
                <a:srgbClr val="14527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B7D45A0C-9BCF-CE9F-BEBF-4EC3DCF955F7}"/>
                </a:ext>
              </a:extLst>
            </p:cNvPr>
            <p:cNvSpPr/>
            <p:nvPr/>
          </p:nvSpPr>
          <p:spPr>
            <a:xfrm flipV="1">
              <a:off x="3047592" y="4977670"/>
              <a:ext cx="707839" cy="1121738"/>
            </a:xfrm>
            <a:custGeom>
              <a:avLst/>
              <a:gdLst>
                <a:gd name="connsiteX0" fmla="*/ 1061599 w 1062635"/>
                <a:gd name="connsiteY0" fmla="*/ 1512630 h 1683997"/>
                <a:gd name="connsiteX1" fmla="*/ 689727 w 1062635"/>
                <a:gd name="connsiteY1" fmla="*/ -1746 h 1683997"/>
                <a:gd name="connsiteX2" fmla="*/ -1037 w 1062635"/>
                <a:gd name="connsiteY2" fmla="*/ 167875 h 1683997"/>
                <a:gd name="connsiteX3" fmla="*/ 370830 w 1062635"/>
                <a:gd name="connsiteY3" fmla="*/ 1682251 h 1683997"/>
                <a:gd name="connsiteX4" fmla="*/ 1061599 w 1062635"/>
                <a:gd name="connsiteY4" fmla="*/ 1512630 h 1683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2635" h="1683997">
                  <a:moveTo>
                    <a:pt x="1061599" y="1512630"/>
                  </a:moveTo>
                  <a:lnTo>
                    <a:pt x="689727" y="-1746"/>
                  </a:lnTo>
                  <a:lnTo>
                    <a:pt x="-1037" y="167875"/>
                  </a:lnTo>
                  <a:lnTo>
                    <a:pt x="370830" y="1682251"/>
                  </a:lnTo>
                  <a:lnTo>
                    <a:pt x="1061599" y="1512630"/>
                  </a:lnTo>
                </a:path>
              </a:pathLst>
            </a:custGeom>
            <a:solidFill>
              <a:srgbClr val="FFFFFF">
                <a:lumMod val="9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F8BEDB0D-C4E9-D10B-445B-49F10AA7F527}"/>
                </a:ext>
              </a:extLst>
            </p:cNvPr>
            <p:cNvSpPr/>
            <p:nvPr/>
          </p:nvSpPr>
          <p:spPr>
            <a:xfrm flipV="1">
              <a:off x="3047592" y="4977670"/>
              <a:ext cx="353918" cy="1008750"/>
            </a:xfrm>
            <a:custGeom>
              <a:avLst/>
              <a:gdLst>
                <a:gd name="connsiteX0" fmla="*/ 530581 w 531315"/>
                <a:gd name="connsiteY0" fmla="*/ 670509 h 1514375"/>
                <a:gd name="connsiteX1" fmla="*/ 371132 w 531315"/>
                <a:gd name="connsiteY1" fmla="*/ 1512504 h 1514375"/>
                <a:gd name="connsiteX2" fmla="*/ -735 w 531315"/>
                <a:gd name="connsiteY2" fmla="*/ -1872 h 15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315" h="1514375">
                  <a:moveTo>
                    <a:pt x="530581" y="670509"/>
                  </a:moveTo>
                  <a:lnTo>
                    <a:pt x="371132" y="1512504"/>
                  </a:lnTo>
                  <a:lnTo>
                    <a:pt x="-735" y="-1872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EFBCCEEB-3EF7-6DD5-3A64-8316AE1D3CE3}"/>
                </a:ext>
              </a:extLst>
            </p:cNvPr>
            <p:cNvSpPr/>
            <p:nvPr/>
          </p:nvSpPr>
          <p:spPr>
            <a:xfrm flipV="1">
              <a:off x="3401510" y="5090658"/>
              <a:ext cx="353920" cy="1008750"/>
            </a:xfrm>
            <a:custGeom>
              <a:avLst/>
              <a:gdLst>
                <a:gd name="connsiteX0" fmla="*/ -1339 w 531319"/>
                <a:gd name="connsiteY0" fmla="*/ 840382 h 1514375"/>
                <a:gd name="connsiteX1" fmla="*/ 529980 w 531319"/>
                <a:gd name="connsiteY1" fmla="*/ 1512756 h 1514375"/>
                <a:gd name="connsiteX2" fmla="*/ 158109 w 531319"/>
                <a:gd name="connsiteY2" fmla="*/ -1620 h 1514375"/>
                <a:gd name="connsiteX3" fmla="*/ -1339 w 531319"/>
                <a:gd name="connsiteY3" fmla="*/ 840382 h 15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1319" h="1514375">
                  <a:moveTo>
                    <a:pt x="-1339" y="840382"/>
                  </a:moveTo>
                  <a:lnTo>
                    <a:pt x="529980" y="1512756"/>
                  </a:lnTo>
                  <a:lnTo>
                    <a:pt x="158109" y="-1620"/>
                  </a:lnTo>
                  <a:lnTo>
                    <a:pt x="-1339" y="840382"/>
                  </a:lnTo>
                </a:path>
              </a:pathLst>
            </a:custGeom>
            <a:solidFill>
              <a:srgbClr val="FFFFFF">
                <a:lumMod val="8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28C57D54-272E-4C9D-5195-26041C0364F1}"/>
                </a:ext>
              </a:extLst>
            </p:cNvPr>
            <p:cNvSpPr/>
            <p:nvPr/>
          </p:nvSpPr>
          <p:spPr>
            <a:xfrm flipV="1">
              <a:off x="3312998" y="4970214"/>
              <a:ext cx="427632" cy="116099"/>
            </a:xfrm>
            <a:custGeom>
              <a:avLst/>
              <a:gdLst>
                <a:gd name="connsiteX0" fmla="*/ 640726 w 641977"/>
                <a:gd name="connsiteY0" fmla="*/ 14831 h 174292"/>
                <a:gd name="connsiteX1" fmla="*/ 636383 w 641977"/>
                <a:gd name="connsiteY1" fmla="*/ -2885 h 174292"/>
                <a:gd name="connsiteX2" fmla="*/ -1251 w 641977"/>
                <a:gd name="connsiteY2" fmla="*/ 153690 h 174292"/>
                <a:gd name="connsiteX3" fmla="*/ 3100 w 641977"/>
                <a:gd name="connsiteY3" fmla="*/ 171407 h 174292"/>
                <a:gd name="connsiteX4" fmla="*/ 640726 w 641977"/>
                <a:gd name="connsiteY4" fmla="*/ 14831 h 17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1977" h="174292">
                  <a:moveTo>
                    <a:pt x="640726" y="14831"/>
                  </a:moveTo>
                  <a:lnTo>
                    <a:pt x="636383" y="-2885"/>
                  </a:lnTo>
                  <a:lnTo>
                    <a:pt x="-1251" y="153690"/>
                  </a:lnTo>
                  <a:lnTo>
                    <a:pt x="3100" y="171407"/>
                  </a:lnTo>
                  <a:lnTo>
                    <a:pt x="640726" y="14831"/>
                  </a:lnTo>
                </a:path>
              </a:pathLst>
            </a:custGeom>
            <a:solidFill>
              <a:srgbClr val="CACED7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F7729A06-8813-BF61-C89B-A3C132D19A15}"/>
                </a:ext>
              </a:extLst>
            </p:cNvPr>
            <p:cNvSpPr/>
            <p:nvPr/>
          </p:nvSpPr>
          <p:spPr>
            <a:xfrm flipV="1">
              <a:off x="3515061" y="5031631"/>
              <a:ext cx="137377" cy="33739"/>
            </a:xfrm>
            <a:custGeom>
              <a:avLst/>
              <a:gdLst>
                <a:gd name="connsiteX0" fmla="*/ 204887 w 206235"/>
                <a:gd name="connsiteY0" fmla="*/ -2840 h 50650"/>
                <a:gd name="connsiteX1" fmla="*/ -1348 w 206235"/>
                <a:gd name="connsiteY1" fmla="*/ 47802 h 50650"/>
                <a:gd name="connsiteX2" fmla="*/ -1348 w 206235"/>
                <a:gd name="connsiteY2" fmla="*/ 47810 h 50650"/>
                <a:gd name="connsiteX3" fmla="*/ 204887 w 206235"/>
                <a:gd name="connsiteY3" fmla="*/ -2833 h 50650"/>
                <a:gd name="connsiteX4" fmla="*/ 204887 w 206235"/>
                <a:gd name="connsiteY4" fmla="*/ -2840 h 5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235" h="50650">
                  <a:moveTo>
                    <a:pt x="204887" y="-2840"/>
                  </a:moveTo>
                  <a:lnTo>
                    <a:pt x="-1348" y="47802"/>
                  </a:lnTo>
                  <a:lnTo>
                    <a:pt x="-1348" y="47810"/>
                  </a:lnTo>
                  <a:lnTo>
                    <a:pt x="204887" y="-2833"/>
                  </a:lnTo>
                  <a:lnTo>
                    <a:pt x="204887" y="-2840"/>
                  </a:lnTo>
                </a:path>
              </a:pathLst>
            </a:custGeom>
            <a:solidFill>
              <a:srgbClr val="9D94B1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83A9737D-180E-EAD0-E21B-1C857C944817}"/>
                </a:ext>
              </a:extLst>
            </p:cNvPr>
            <p:cNvSpPr/>
            <p:nvPr/>
          </p:nvSpPr>
          <p:spPr>
            <a:xfrm flipV="1">
              <a:off x="3485033" y="4956905"/>
              <a:ext cx="45667" cy="116093"/>
            </a:xfrm>
            <a:custGeom>
              <a:avLst/>
              <a:gdLst>
                <a:gd name="connsiteX0" fmla="*/ 67338 w 68557"/>
                <a:gd name="connsiteY0" fmla="*/ -2915 h 174284"/>
                <a:gd name="connsiteX1" fmla="*/ -1219 w 68557"/>
                <a:gd name="connsiteY1" fmla="*/ 171369 h 174284"/>
                <a:gd name="connsiteX2" fmla="*/ 67338 w 68557"/>
                <a:gd name="connsiteY2" fmla="*/ -2915 h 174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557" h="174284">
                  <a:moveTo>
                    <a:pt x="67338" y="-2915"/>
                  </a:moveTo>
                  <a:lnTo>
                    <a:pt x="-1219" y="171369"/>
                  </a:lnTo>
                  <a:lnTo>
                    <a:pt x="67338" y="-2915"/>
                  </a:ln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911BDD69-32AC-7A13-DA73-4646C2FA55CD}"/>
                </a:ext>
              </a:extLst>
            </p:cNvPr>
            <p:cNvSpPr/>
            <p:nvPr/>
          </p:nvSpPr>
          <p:spPr>
            <a:xfrm flipV="1">
              <a:off x="3485033" y="4956905"/>
              <a:ext cx="45667" cy="116093"/>
            </a:xfrm>
            <a:custGeom>
              <a:avLst/>
              <a:gdLst>
                <a:gd name="connsiteX0" fmla="*/ 67338 w 68557"/>
                <a:gd name="connsiteY0" fmla="*/ -2915 h 174284"/>
                <a:gd name="connsiteX1" fmla="*/ -1219 w 68557"/>
                <a:gd name="connsiteY1" fmla="*/ 171369 h 174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57" h="174284">
                  <a:moveTo>
                    <a:pt x="67338" y="-2915"/>
                  </a:moveTo>
                  <a:lnTo>
                    <a:pt x="-1219" y="171369"/>
                  </a:lnTo>
                  <a:close/>
                </a:path>
              </a:pathLst>
            </a:custGeom>
            <a:solidFill>
              <a:srgbClr val="145275"/>
            </a:solidFill>
            <a:ln w="57932" cap="rnd">
              <a:solidFill>
                <a:srgbClr val="14527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5054B125-C51C-623F-A98C-12B0C3F83382}"/>
                </a:ext>
              </a:extLst>
            </p:cNvPr>
            <p:cNvSpPr/>
            <p:nvPr/>
          </p:nvSpPr>
          <p:spPr>
            <a:xfrm flipV="1">
              <a:off x="3530903" y="4997671"/>
              <a:ext cx="92466" cy="127045"/>
            </a:xfrm>
            <a:custGeom>
              <a:avLst/>
              <a:gdLst>
                <a:gd name="connsiteX0" fmla="*/ 8988 w 138813"/>
                <a:gd name="connsiteY0" fmla="*/ 166299 h 190725"/>
                <a:gd name="connsiteX1" fmla="*/ 61078 w 138813"/>
                <a:gd name="connsiteY1" fmla="*/ 186789 h 190725"/>
                <a:gd name="connsiteX2" fmla="*/ 82201 w 138813"/>
                <a:gd name="connsiteY2" fmla="*/ 177591 h 190725"/>
                <a:gd name="connsiteX3" fmla="*/ 136349 w 138813"/>
                <a:gd name="connsiteY3" fmla="*/ 39928 h 190725"/>
                <a:gd name="connsiteX4" fmla="*/ 127151 w 138813"/>
                <a:gd name="connsiteY4" fmla="*/ 18806 h 190725"/>
                <a:gd name="connsiteX5" fmla="*/ 75061 w 138813"/>
                <a:gd name="connsiteY5" fmla="*/ -1684 h 190725"/>
                <a:gd name="connsiteX6" fmla="*/ 53931 w 138813"/>
                <a:gd name="connsiteY6" fmla="*/ 7513 h 190725"/>
                <a:gd name="connsiteX7" fmla="*/ -209 w 138813"/>
                <a:gd name="connsiteY7" fmla="*/ 145168 h 190725"/>
                <a:gd name="connsiteX8" fmla="*/ 8988 w 138813"/>
                <a:gd name="connsiteY8" fmla="*/ 166299 h 190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813" h="190725">
                  <a:moveTo>
                    <a:pt x="8988" y="166299"/>
                  </a:moveTo>
                  <a:lnTo>
                    <a:pt x="61078" y="186789"/>
                  </a:lnTo>
                  <a:cubicBezTo>
                    <a:pt x="69414" y="190065"/>
                    <a:pt x="78924" y="185935"/>
                    <a:pt x="82201" y="177591"/>
                  </a:cubicBezTo>
                  <a:lnTo>
                    <a:pt x="136349" y="39928"/>
                  </a:lnTo>
                  <a:cubicBezTo>
                    <a:pt x="139633" y="31592"/>
                    <a:pt x="135495" y="22090"/>
                    <a:pt x="127151" y="18806"/>
                  </a:cubicBezTo>
                  <a:lnTo>
                    <a:pt x="75061" y="-1684"/>
                  </a:lnTo>
                  <a:cubicBezTo>
                    <a:pt x="66725" y="-4969"/>
                    <a:pt x="57215" y="-831"/>
                    <a:pt x="53931" y="7513"/>
                  </a:cubicBezTo>
                  <a:lnTo>
                    <a:pt x="-209" y="145168"/>
                  </a:lnTo>
                  <a:cubicBezTo>
                    <a:pt x="-3494" y="153512"/>
                    <a:pt x="644" y="163014"/>
                    <a:pt x="8988" y="166299"/>
                  </a:cubicBez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E0305BC3-77BB-507D-5E39-BD08A332B450}"/>
                </a:ext>
              </a:extLst>
            </p:cNvPr>
            <p:cNvSpPr/>
            <p:nvPr/>
          </p:nvSpPr>
          <p:spPr>
            <a:xfrm flipV="1">
              <a:off x="3592201" y="5064180"/>
              <a:ext cx="114900" cy="257163"/>
            </a:xfrm>
            <a:custGeom>
              <a:avLst/>
              <a:gdLst>
                <a:gd name="connsiteX0" fmla="*/ 2368 w 172493"/>
                <a:gd name="connsiteY0" fmla="*/ 376607 h 386063"/>
                <a:gd name="connsiteX1" fmla="*/ 18934 w 172493"/>
                <a:gd name="connsiteY1" fmla="*/ 383130 h 386063"/>
                <a:gd name="connsiteX2" fmla="*/ 26775 w 172493"/>
                <a:gd name="connsiteY2" fmla="*/ 379709 h 386063"/>
                <a:gd name="connsiteX3" fmla="*/ 170618 w 172493"/>
                <a:gd name="connsiteY3" fmla="*/ 14055 h 386063"/>
                <a:gd name="connsiteX4" fmla="*/ 167196 w 172493"/>
                <a:gd name="connsiteY4" fmla="*/ 6214 h 386063"/>
                <a:gd name="connsiteX5" fmla="*/ 145007 w 172493"/>
                <a:gd name="connsiteY5" fmla="*/ -2518 h 386063"/>
                <a:gd name="connsiteX6" fmla="*/ -1046 w 172493"/>
                <a:gd name="connsiteY6" fmla="*/ 368766 h 386063"/>
                <a:gd name="connsiteX7" fmla="*/ 2368 w 172493"/>
                <a:gd name="connsiteY7" fmla="*/ 376607 h 386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493" h="386063">
                  <a:moveTo>
                    <a:pt x="2368" y="376607"/>
                  </a:moveTo>
                  <a:lnTo>
                    <a:pt x="18934" y="383130"/>
                  </a:lnTo>
                  <a:cubicBezTo>
                    <a:pt x="22035" y="384342"/>
                    <a:pt x="25563" y="382810"/>
                    <a:pt x="26775" y="379709"/>
                  </a:cubicBezTo>
                  <a:lnTo>
                    <a:pt x="170618" y="14055"/>
                  </a:lnTo>
                  <a:cubicBezTo>
                    <a:pt x="171829" y="10962"/>
                    <a:pt x="170298" y="7426"/>
                    <a:pt x="167196" y="6214"/>
                  </a:cubicBezTo>
                  <a:lnTo>
                    <a:pt x="145007" y="-2518"/>
                  </a:lnTo>
                  <a:lnTo>
                    <a:pt x="-1046" y="368766"/>
                  </a:lnTo>
                  <a:cubicBezTo>
                    <a:pt x="-2257" y="371868"/>
                    <a:pt x="-726" y="375388"/>
                    <a:pt x="2368" y="376607"/>
                  </a:cubicBez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E0C4CBC8-B999-B525-69FB-AAE7B493F9DA}"/>
                </a:ext>
              </a:extLst>
            </p:cNvPr>
            <p:cNvSpPr/>
            <p:nvPr/>
          </p:nvSpPr>
          <p:spPr>
            <a:xfrm flipV="1">
              <a:off x="3674338" y="5292353"/>
              <a:ext cx="26717" cy="30534"/>
            </a:xfrm>
            <a:custGeom>
              <a:avLst/>
              <a:gdLst>
                <a:gd name="connsiteX0" fmla="*/ 1792 w 40109"/>
                <a:gd name="connsiteY0" fmla="*/ 35894 h 45839"/>
                <a:gd name="connsiteX1" fmla="*/ 20400 w 40109"/>
                <a:gd name="connsiteY1" fmla="*/ 43217 h 45839"/>
                <a:gd name="connsiteX2" fmla="*/ 27181 w 40109"/>
                <a:gd name="connsiteY2" fmla="*/ 40268 h 45839"/>
                <a:gd name="connsiteX3" fmla="*/ 38223 w 40109"/>
                <a:gd name="connsiteY3" fmla="*/ 12204 h 45839"/>
                <a:gd name="connsiteX4" fmla="*/ 35266 w 40109"/>
                <a:gd name="connsiteY4" fmla="*/ 5422 h 45839"/>
                <a:gd name="connsiteX5" fmla="*/ 16658 w 40109"/>
                <a:gd name="connsiteY5" fmla="*/ -1901 h 45839"/>
                <a:gd name="connsiteX6" fmla="*/ 9876 w 40109"/>
                <a:gd name="connsiteY6" fmla="*/ 1056 h 45839"/>
                <a:gd name="connsiteX7" fmla="*/ -1165 w 40109"/>
                <a:gd name="connsiteY7" fmla="*/ 29112 h 45839"/>
                <a:gd name="connsiteX8" fmla="*/ 1792 w 40109"/>
                <a:gd name="connsiteY8" fmla="*/ 35894 h 4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09" h="45839">
                  <a:moveTo>
                    <a:pt x="1792" y="35894"/>
                  </a:moveTo>
                  <a:lnTo>
                    <a:pt x="20400" y="43217"/>
                  </a:lnTo>
                  <a:cubicBezTo>
                    <a:pt x="23082" y="44269"/>
                    <a:pt x="26130" y="42943"/>
                    <a:pt x="27181" y="40268"/>
                  </a:cubicBezTo>
                  <a:lnTo>
                    <a:pt x="38223" y="12204"/>
                  </a:lnTo>
                  <a:cubicBezTo>
                    <a:pt x="39274" y="9529"/>
                    <a:pt x="37948" y="6473"/>
                    <a:pt x="35266" y="5422"/>
                  </a:cubicBezTo>
                  <a:lnTo>
                    <a:pt x="16658" y="-1901"/>
                  </a:lnTo>
                  <a:cubicBezTo>
                    <a:pt x="13976" y="-2953"/>
                    <a:pt x="10928" y="-1627"/>
                    <a:pt x="9876" y="1056"/>
                  </a:cubicBezTo>
                  <a:lnTo>
                    <a:pt x="-1165" y="29112"/>
                  </a:lnTo>
                  <a:cubicBezTo>
                    <a:pt x="-2217" y="31795"/>
                    <a:pt x="-891" y="34843"/>
                    <a:pt x="1792" y="35894"/>
                  </a:cubicBez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48F6F308-B214-C47D-5C9B-5FB74A419647}"/>
                </a:ext>
              </a:extLst>
            </p:cNvPr>
            <p:cNvSpPr/>
            <p:nvPr/>
          </p:nvSpPr>
          <p:spPr>
            <a:xfrm flipV="1">
              <a:off x="3468448" y="4984942"/>
              <a:ext cx="419958" cy="927221"/>
            </a:xfrm>
            <a:custGeom>
              <a:avLst/>
              <a:gdLst>
                <a:gd name="connsiteX0" fmla="*/ 12429 w 630457"/>
                <a:gd name="connsiteY0" fmla="*/ 1362348 h 1391980"/>
                <a:gd name="connsiteX1" fmla="*/ 78952 w 630457"/>
                <a:gd name="connsiteY1" fmla="*/ 1388515 h 1391980"/>
                <a:gd name="connsiteX2" fmla="*/ 107474 w 630457"/>
                <a:gd name="connsiteY2" fmla="*/ 1376094 h 1391980"/>
                <a:gd name="connsiteX3" fmla="*/ 627424 w 630457"/>
                <a:gd name="connsiteY3" fmla="*/ 54268 h 1391980"/>
                <a:gd name="connsiteX4" fmla="*/ 615011 w 630457"/>
                <a:gd name="connsiteY4" fmla="*/ 25739 h 1391980"/>
                <a:gd name="connsiteX5" fmla="*/ 548489 w 630457"/>
                <a:gd name="connsiteY5" fmla="*/ -428 h 1391980"/>
                <a:gd name="connsiteX6" fmla="*/ 519959 w 630457"/>
                <a:gd name="connsiteY6" fmla="*/ 11992 h 1391980"/>
                <a:gd name="connsiteX7" fmla="*/ 9 w 630457"/>
                <a:gd name="connsiteY7" fmla="*/ 1333826 h 1391980"/>
                <a:gd name="connsiteX8" fmla="*/ 12429 w 630457"/>
                <a:gd name="connsiteY8" fmla="*/ 1362348 h 1391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0457" h="1391980">
                  <a:moveTo>
                    <a:pt x="12429" y="1362348"/>
                  </a:moveTo>
                  <a:lnTo>
                    <a:pt x="78952" y="1388515"/>
                  </a:lnTo>
                  <a:cubicBezTo>
                    <a:pt x="90207" y="1392942"/>
                    <a:pt x="103046" y="1387357"/>
                    <a:pt x="107474" y="1376094"/>
                  </a:cubicBezTo>
                  <a:lnTo>
                    <a:pt x="627424" y="54268"/>
                  </a:lnTo>
                  <a:cubicBezTo>
                    <a:pt x="631859" y="43006"/>
                    <a:pt x="626274" y="30174"/>
                    <a:pt x="615011" y="25739"/>
                  </a:cubicBezTo>
                  <a:lnTo>
                    <a:pt x="548489" y="-428"/>
                  </a:lnTo>
                  <a:cubicBezTo>
                    <a:pt x="537226" y="-4856"/>
                    <a:pt x="524394" y="730"/>
                    <a:pt x="519959" y="11992"/>
                  </a:cubicBezTo>
                  <a:lnTo>
                    <a:pt x="9" y="1333826"/>
                  </a:lnTo>
                  <a:cubicBezTo>
                    <a:pt x="-4418" y="1345081"/>
                    <a:pt x="1167" y="1357913"/>
                    <a:pt x="12429" y="1362348"/>
                  </a:cubicBezTo>
                </a:path>
              </a:pathLst>
            </a:custGeom>
            <a:solidFill>
              <a:srgbClr val="4DA5C3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600766B4-D5B3-D42E-DB5F-73B563EE5992}"/>
                </a:ext>
              </a:extLst>
            </p:cNvPr>
            <p:cNvSpPr/>
            <p:nvPr/>
          </p:nvSpPr>
          <p:spPr>
            <a:xfrm flipV="1">
              <a:off x="3505447" y="5041544"/>
              <a:ext cx="317055" cy="814693"/>
            </a:xfrm>
            <a:custGeom>
              <a:avLst/>
              <a:gdLst>
                <a:gd name="connsiteX0" fmla="*/ -1485 w 475975"/>
                <a:gd name="connsiteY0" fmla="*/ 1221102 h 1223048"/>
                <a:gd name="connsiteX1" fmla="*/ 474490 w 475975"/>
                <a:gd name="connsiteY1" fmla="*/ -1946 h 122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5975" h="1223048">
                  <a:moveTo>
                    <a:pt x="-1485" y="1221102"/>
                  </a:moveTo>
                  <a:lnTo>
                    <a:pt x="474490" y="-1946"/>
                  </a:lnTo>
                </a:path>
              </a:pathLst>
            </a:custGeom>
            <a:noFill/>
            <a:ln w="19533" cap="rnd">
              <a:solidFill>
                <a:srgbClr val="9ADEE4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6DAE8A01-7DAF-BD07-9B91-E0007BD92445}"/>
                </a:ext>
              </a:extLst>
            </p:cNvPr>
            <p:cNvSpPr/>
            <p:nvPr/>
          </p:nvSpPr>
          <p:spPr>
            <a:xfrm flipV="1">
              <a:off x="3469608" y="4955083"/>
              <a:ext cx="14161" cy="35997"/>
            </a:xfrm>
            <a:custGeom>
              <a:avLst/>
              <a:gdLst>
                <a:gd name="connsiteX0" fmla="*/ 20094 w 21259"/>
                <a:gd name="connsiteY0" fmla="*/ -3009 h 54040"/>
                <a:gd name="connsiteX1" fmla="*/ -1166 w 21259"/>
                <a:gd name="connsiteY1" fmla="*/ 51032 h 5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59" h="54040">
                  <a:moveTo>
                    <a:pt x="20094" y="-3009"/>
                  </a:moveTo>
                  <a:lnTo>
                    <a:pt x="-1166" y="51032"/>
                  </a:lnTo>
                </a:path>
              </a:pathLst>
            </a:custGeom>
            <a:solidFill>
              <a:srgbClr val="145275"/>
            </a:solidFill>
            <a:ln w="18409" cap="rnd">
              <a:solidFill>
                <a:srgbClr val="14527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F81F7D1F-B029-FB56-1519-48743F4549AB}"/>
                </a:ext>
              </a:extLst>
            </p:cNvPr>
            <p:cNvSpPr/>
            <p:nvPr/>
          </p:nvSpPr>
          <p:spPr>
            <a:xfrm flipV="1">
              <a:off x="3807397" y="5853328"/>
              <a:ext cx="79261" cy="57086"/>
            </a:xfrm>
            <a:custGeom>
              <a:avLst/>
              <a:gdLst>
                <a:gd name="connsiteX0" fmla="*/ 97643 w 118990"/>
                <a:gd name="connsiteY0" fmla="*/ 20841 h 85699"/>
                <a:gd name="connsiteX1" fmla="*/ 47587 w 118990"/>
                <a:gd name="connsiteY1" fmla="*/ 1151 h 85699"/>
                <a:gd name="connsiteX2" fmla="*/ 7590 w 118990"/>
                <a:gd name="connsiteY2" fmla="*/ 18563 h 85699"/>
                <a:gd name="connsiteX3" fmla="*/ -1798 w 118990"/>
                <a:gd name="connsiteY3" fmla="*/ 42444 h 85699"/>
                <a:gd name="connsiteX4" fmla="*/ 12276 w 118990"/>
                <a:gd name="connsiteY4" fmla="*/ 36317 h 85699"/>
                <a:gd name="connsiteX5" fmla="*/ 99541 w 118990"/>
                <a:gd name="connsiteY5" fmla="*/ 70638 h 85699"/>
                <a:gd name="connsiteX6" fmla="*/ 105667 w 118990"/>
                <a:gd name="connsiteY6" fmla="*/ 84720 h 85699"/>
                <a:gd name="connsiteX7" fmla="*/ 115062 w 118990"/>
                <a:gd name="connsiteY7" fmla="*/ 60839 h 85699"/>
                <a:gd name="connsiteX8" fmla="*/ 97643 w 118990"/>
                <a:gd name="connsiteY8" fmla="*/ 20841 h 85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8990" h="85699">
                  <a:moveTo>
                    <a:pt x="97643" y="20841"/>
                  </a:moveTo>
                  <a:lnTo>
                    <a:pt x="47587" y="1151"/>
                  </a:lnTo>
                  <a:cubicBezTo>
                    <a:pt x="31799" y="-5059"/>
                    <a:pt x="13808" y="2774"/>
                    <a:pt x="7590" y="18563"/>
                  </a:cubicBezTo>
                  <a:lnTo>
                    <a:pt x="-1798" y="42444"/>
                  </a:lnTo>
                  <a:cubicBezTo>
                    <a:pt x="389" y="36881"/>
                    <a:pt x="6721" y="34131"/>
                    <a:pt x="12276" y="36317"/>
                  </a:cubicBezTo>
                  <a:lnTo>
                    <a:pt x="99541" y="70638"/>
                  </a:lnTo>
                  <a:cubicBezTo>
                    <a:pt x="105095" y="72833"/>
                    <a:pt x="107854" y="79157"/>
                    <a:pt x="105667" y="84720"/>
                  </a:cubicBezTo>
                  <a:lnTo>
                    <a:pt x="115062" y="60839"/>
                  </a:lnTo>
                  <a:cubicBezTo>
                    <a:pt x="121273" y="45050"/>
                    <a:pt x="113432" y="27059"/>
                    <a:pt x="97643" y="20841"/>
                  </a:cubicBezTo>
                </a:path>
              </a:pathLst>
            </a:custGeom>
            <a:solidFill>
              <a:srgbClr val="42ACB2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74DD407B-51AE-1D51-4484-A5F2354F35B2}"/>
                </a:ext>
              </a:extLst>
            </p:cNvPr>
            <p:cNvSpPr/>
            <p:nvPr/>
          </p:nvSpPr>
          <p:spPr>
            <a:xfrm flipV="1">
              <a:off x="3901356" y="6015282"/>
              <a:ext cx="20978" cy="53337"/>
            </a:xfrm>
            <a:custGeom>
              <a:avLst/>
              <a:gdLst>
                <a:gd name="connsiteX0" fmla="*/ -1909 w 31493"/>
                <a:gd name="connsiteY0" fmla="*/ 79449 h 80071"/>
                <a:gd name="connsiteX1" fmla="*/ 29585 w 31493"/>
                <a:gd name="connsiteY1" fmla="*/ -622 h 80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493" h="80071">
                  <a:moveTo>
                    <a:pt x="-1909" y="79449"/>
                  </a:moveTo>
                  <a:lnTo>
                    <a:pt x="29585" y="-622"/>
                  </a:lnTo>
                </a:path>
              </a:pathLst>
            </a:custGeom>
            <a:solidFill>
              <a:srgbClr val="145275"/>
            </a:solidFill>
            <a:ln w="18409" cap="rnd">
              <a:solidFill>
                <a:srgbClr val="14527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F168E0AB-965C-6B05-BFDA-E21DA85CCD58}"/>
                </a:ext>
              </a:extLst>
            </p:cNvPr>
            <p:cNvSpPr/>
            <p:nvPr/>
          </p:nvSpPr>
          <p:spPr>
            <a:xfrm flipV="1">
              <a:off x="3818160" y="5876021"/>
              <a:ext cx="102089" cy="169603"/>
            </a:xfrm>
            <a:custGeom>
              <a:avLst/>
              <a:gdLst>
                <a:gd name="connsiteX0" fmla="*/ 6711 w 153260"/>
                <a:gd name="connsiteY0" fmla="*/ 220319 h 254614"/>
                <a:gd name="connsiteX1" fmla="*/ 88603 w 153260"/>
                <a:gd name="connsiteY1" fmla="*/ 252537 h 254614"/>
                <a:gd name="connsiteX2" fmla="*/ 119144 w 153260"/>
                <a:gd name="connsiteY2" fmla="*/ 188994 h 254614"/>
                <a:gd name="connsiteX3" fmla="*/ 151331 w 153260"/>
                <a:gd name="connsiteY3" fmla="*/ 13856 h 254614"/>
                <a:gd name="connsiteX4" fmla="*/ 146973 w 153260"/>
                <a:gd name="connsiteY4" fmla="*/ 5329 h 254614"/>
                <a:gd name="connsiteX5" fmla="*/ 132411 w 153260"/>
                <a:gd name="connsiteY5" fmla="*/ -394 h 254614"/>
                <a:gd name="connsiteX6" fmla="*/ 123412 w 153260"/>
                <a:gd name="connsiteY6" fmla="*/ 2868 h 254614"/>
                <a:gd name="connsiteX7" fmla="*/ 27651 w 153260"/>
                <a:gd name="connsiteY7" fmla="*/ 153004 h 254614"/>
                <a:gd name="connsiteX8" fmla="*/ 6711 w 153260"/>
                <a:gd name="connsiteY8" fmla="*/ 220319 h 254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260" h="254614">
                  <a:moveTo>
                    <a:pt x="6711" y="220319"/>
                  </a:moveTo>
                  <a:lnTo>
                    <a:pt x="88603" y="252537"/>
                  </a:lnTo>
                  <a:cubicBezTo>
                    <a:pt x="105063" y="259014"/>
                    <a:pt x="111380" y="241259"/>
                    <a:pt x="119144" y="188994"/>
                  </a:cubicBezTo>
                  <a:lnTo>
                    <a:pt x="151331" y="13856"/>
                  </a:lnTo>
                  <a:cubicBezTo>
                    <a:pt x="151888" y="10152"/>
                    <a:pt x="149899" y="6479"/>
                    <a:pt x="146973" y="5329"/>
                  </a:cubicBezTo>
                  <a:lnTo>
                    <a:pt x="132411" y="-394"/>
                  </a:lnTo>
                  <a:cubicBezTo>
                    <a:pt x="129485" y="-1544"/>
                    <a:pt x="125530" y="-211"/>
                    <a:pt x="123412" y="2868"/>
                  </a:cubicBezTo>
                  <a:lnTo>
                    <a:pt x="27651" y="153004"/>
                  </a:lnTo>
                  <a:cubicBezTo>
                    <a:pt x="-2273" y="196560"/>
                    <a:pt x="-9740" y="213850"/>
                    <a:pt x="6711" y="220319"/>
                  </a:cubicBezTo>
                </a:path>
              </a:pathLst>
            </a:custGeom>
            <a:solidFill>
              <a:srgbClr val="4DA5C3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B8F62BA1-5420-4107-DC6A-F62076AA6201}"/>
                </a:ext>
              </a:extLst>
            </p:cNvPr>
            <p:cNvSpPr/>
            <p:nvPr/>
          </p:nvSpPr>
          <p:spPr>
            <a:xfrm flipV="1">
              <a:off x="3833736" y="5909898"/>
              <a:ext cx="74568" cy="123052"/>
            </a:xfrm>
            <a:custGeom>
              <a:avLst/>
              <a:gdLst>
                <a:gd name="connsiteX0" fmla="*/ -1839 w 111945"/>
                <a:gd name="connsiteY0" fmla="*/ 183952 h 184731"/>
                <a:gd name="connsiteX1" fmla="*/ 110107 w 111945"/>
                <a:gd name="connsiteY1" fmla="*/ -780 h 1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945" h="184731">
                  <a:moveTo>
                    <a:pt x="-1839" y="183952"/>
                  </a:moveTo>
                  <a:lnTo>
                    <a:pt x="110107" y="-780"/>
                  </a:lnTo>
                </a:path>
              </a:pathLst>
            </a:custGeom>
            <a:noFill/>
            <a:ln w="18409" cap="rnd">
              <a:solidFill>
                <a:srgbClr val="8AD8D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F674AEBE-F1B5-10AB-68EA-E92D6A115FB6}"/>
                </a:ext>
              </a:extLst>
            </p:cNvPr>
            <p:cNvSpPr/>
            <p:nvPr/>
          </p:nvSpPr>
          <p:spPr>
            <a:xfrm flipV="1">
              <a:off x="4401424" y="4509422"/>
              <a:ext cx="415708" cy="177653"/>
            </a:xfrm>
            <a:custGeom>
              <a:avLst/>
              <a:gdLst>
                <a:gd name="connsiteX0" fmla="*/ -3099 w 624077"/>
                <a:gd name="connsiteY0" fmla="*/ 129504 h 266699"/>
                <a:gd name="connsiteX1" fmla="*/ 308940 w 624077"/>
                <a:gd name="connsiteY1" fmla="*/ 262854 h 266699"/>
                <a:gd name="connsiteX2" fmla="*/ 620979 w 624077"/>
                <a:gd name="connsiteY2" fmla="*/ 129504 h 266699"/>
                <a:gd name="connsiteX3" fmla="*/ 308940 w 624077"/>
                <a:gd name="connsiteY3" fmla="*/ -3846 h 266699"/>
                <a:gd name="connsiteX4" fmla="*/ -3099 w 624077"/>
                <a:gd name="connsiteY4" fmla="*/ 129504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077" h="266699">
                  <a:moveTo>
                    <a:pt x="-3099" y="129504"/>
                  </a:moveTo>
                  <a:cubicBezTo>
                    <a:pt x="-3099" y="203152"/>
                    <a:pt x="136606" y="262854"/>
                    <a:pt x="308940" y="262854"/>
                  </a:cubicBezTo>
                  <a:cubicBezTo>
                    <a:pt x="481274" y="262854"/>
                    <a:pt x="620979" y="203152"/>
                    <a:pt x="620979" y="129504"/>
                  </a:cubicBezTo>
                  <a:cubicBezTo>
                    <a:pt x="620979" y="55857"/>
                    <a:pt x="481274" y="-3846"/>
                    <a:pt x="308940" y="-3846"/>
                  </a:cubicBezTo>
                  <a:cubicBezTo>
                    <a:pt x="136606" y="-3846"/>
                    <a:pt x="-3099" y="55857"/>
                    <a:pt x="-3099" y="129504"/>
                  </a:cubicBezTo>
                </a:path>
              </a:pathLst>
            </a:custGeom>
            <a:solidFill>
              <a:srgbClr val="E7CC0C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93D9BB52-43FC-B60C-0A7D-D03012AC33F4}"/>
                </a:ext>
              </a:extLst>
            </p:cNvPr>
            <p:cNvSpPr/>
            <p:nvPr/>
          </p:nvSpPr>
          <p:spPr>
            <a:xfrm flipV="1">
              <a:off x="4401424" y="4509422"/>
              <a:ext cx="415708" cy="177653"/>
            </a:xfrm>
            <a:custGeom>
              <a:avLst/>
              <a:gdLst>
                <a:gd name="connsiteX0" fmla="*/ -3099 w 624077"/>
                <a:gd name="connsiteY0" fmla="*/ 129504 h 266699"/>
                <a:gd name="connsiteX1" fmla="*/ 308940 w 624077"/>
                <a:gd name="connsiteY1" fmla="*/ 262854 h 266699"/>
                <a:gd name="connsiteX2" fmla="*/ 620979 w 624077"/>
                <a:gd name="connsiteY2" fmla="*/ 129504 h 266699"/>
                <a:gd name="connsiteX3" fmla="*/ 308940 w 624077"/>
                <a:gd name="connsiteY3" fmla="*/ -3846 h 266699"/>
                <a:gd name="connsiteX4" fmla="*/ -3099 w 624077"/>
                <a:gd name="connsiteY4" fmla="*/ 129504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077" h="266699">
                  <a:moveTo>
                    <a:pt x="-3099" y="129504"/>
                  </a:moveTo>
                  <a:cubicBezTo>
                    <a:pt x="-3099" y="203152"/>
                    <a:pt x="136606" y="262854"/>
                    <a:pt x="308940" y="262854"/>
                  </a:cubicBezTo>
                  <a:cubicBezTo>
                    <a:pt x="481274" y="262854"/>
                    <a:pt x="620979" y="203152"/>
                    <a:pt x="620979" y="129504"/>
                  </a:cubicBezTo>
                  <a:cubicBezTo>
                    <a:pt x="620979" y="55857"/>
                    <a:pt x="481274" y="-3846"/>
                    <a:pt x="308940" y="-3846"/>
                  </a:cubicBezTo>
                  <a:cubicBezTo>
                    <a:pt x="136606" y="-3846"/>
                    <a:pt x="-3099" y="55857"/>
                    <a:pt x="-3099" y="129504"/>
                  </a:cubicBezTo>
                  <a:close/>
                </a:path>
              </a:pathLst>
            </a:custGeom>
            <a:noFill/>
            <a:ln w="2472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73CFD0D3-7249-0289-D4B1-CD06A7C7C1C3}"/>
                </a:ext>
              </a:extLst>
            </p:cNvPr>
            <p:cNvSpPr/>
            <p:nvPr/>
          </p:nvSpPr>
          <p:spPr>
            <a:xfrm flipV="1">
              <a:off x="4401424" y="4509422"/>
              <a:ext cx="415708" cy="177653"/>
            </a:xfrm>
            <a:custGeom>
              <a:avLst/>
              <a:gdLst>
                <a:gd name="connsiteX0" fmla="*/ 308940 w 624077"/>
                <a:gd name="connsiteY0" fmla="*/ 129504 h 266699"/>
                <a:gd name="connsiteX1" fmla="*/ 414240 w 624077"/>
                <a:gd name="connsiteY1" fmla="*/ 3973 h 266699"/>
                <a:gd name="connsiteX2" fmla="*/ 308940 w 624077"/>
                <a:gd name="connsiteY2" fmla="*/ -3846 h 266699"/>
                <a:gd name="connsiteX3" fmla="*/ -3099 w 624077"/>
                <a:gd name="connsiteY3" fmla="*/ 129504 h 266699"/>
                <a:gd name="connsiteX4" fmla="*/ 308940 w 624077"/>
                <a:gd name="connsiteY4" fmla="*/ 262854 h 266699"/>
                <a:gd name="connsiteX5" fmla="*/ 620979 w 624077"/>
                <a:gd name="connsiteY5" fmla="*/ 129504 h 266699"/>
                <a:gd name="connsiteX6" fmla="*/ 520593 w 624077"/>
                <a:gd name="connsiteY6" fmla="*/ 31511 h 266699"/>
                <a:gd name="connsiteX7" fmla="*/ 308940 w 624077"/>
                <a:gd name="connsiteY7" fmla="*/ 129504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077" h="266699">
                  <a:moveTo>
                    <a:pt x="308940" y="129504"/>
                  </a:moveTo>
                  <a:lnTo>
                    <a:pt x="414240" y="3973"/>
                  </a:lnTo>
                  <a:cubicBezTo>
                    <a:pt x="380453" y="-1201"/>
                    <a:pt x="344830" y="-3846"/>
                    <a:pt x="308940" y="-3846"/>
                  </a:cubicBezTo>
                  <a:cubicBezTo>
                    <a:pt x="137756" y="-3846"/>
                    <a:pt x="-3099" y="56345"/>
                    <a:pt x="-3099" y="129504"/>
                  </a:cubicBezTo>
                  <a:cubicBezTo>
                    <a:pt x="-3099" y="202656"/>
                    <a:pt x="137756" y="262854"/>
                    <a:pt x="308940" y="262854"/>
                  </a:cubicBezTo>
                  <a:cubicBezTo>
                    <a:pt x="480115" y="262854"/>
                    <a:pt x="620979" y="202656"/>
                    <a:pt x="620979" y="129504"/>
                  </a:cubicBezTo>
                  <a:cubicBezTo>
                    <a:pt x="620979" y="92304"/>
                    <a:pt x="584555" y="56749"/>
                    <a:pt x="520593" y="31511"/>
                  </a:cubicBezTo>
                  <a:lnTo>
                    <a:pt x="308940" y="129504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5BE1A71A-5284-8589-03DF-EDD2380BAAA1}"/>
                </a:ext>
              </a:extLst>
            </p:cNvPr>
            <p:cNvSpPr/>
            <p:nvPr/>
          </p:nvSpPr>
          <p:spPr>
            <a:xfrm flipV="1">
              <a:off x="4401424" y="4509422"/>
              <a:ext cx="415708" cy="177653"/>
            </a:xfrm>
            <a:custGeom>
              <a:avLst/>
              <a:gdLst>
                <a:gd name="connsiteX0" fmla="*/ 308940 w 624077"/>
                <a:gd name="connsiteY0" fmla="*/ 129504 h 266699"/>
                <a:gd name="connsiteX1" fmla="*/ 414240 w 624077"/>
                <a:gd name="connsiteY1" fmla="*/ 3973 h 266699"/>
                <a:gd name="connsiteX2" fmla="*/ 308940 w 624077"/>
                <a:gd name="connsiteY2" fmla="*/ -3846 h 266699"/>
                <a:gd name="connsiteX3" fmla="*/ -3099 w 624077"/>
                <a:gd name="connsiteY3" fmla="*/ 129504 h 266699"/>
                <a:gd name="connsiteX4" fmla="*/ 308940 w 624077"/>
                <a:gd name="connsiteY4" fmla="*/ 262854 h 266699"/>
                <a:gd name="connsiteX5" fmla="*/ 620979 w 624077"/>
                <a:gd name="connsiteY5" fmla="*/ 129504 h 266699"/>
                <a:gd name="connsiteX6" fmla="*/ 520593 w 624077"/>
                <a:gd name="connsiteY6" fmla="*/ 31511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077" h="266699">
                  <a:moveTo>
                    <a:pt x="308940" y="129504"/>
                  </a:moveTo>
                  <a:lnTo>
                    <a:pt x="414240" y="3973"/>
                  </a:lnTo>
                  <a:cubicBezTo>
                    <a:pt x="380453" y="-1201"/>
                    <a:pt x="344830" y="-3846"/>
                    <a:pt x="308940" y="-3846"/>
                  </a:cubicBezTo>
                  <a:cubicBezTo>
                    <a:pt x="137756" y="-3846"/>
                    <a:pt x="-3099" y="56345"/>
                    <a:pt x="-3099" y="129504"/>
                  </a:cubicBezTo>
                  <a:cubicBezTo>
                    <a:pt x="-3099" y="202656"/>
                    <a:pt x="137756" y="262854"/>
                    <a:pt x="308940" y="262854"/>
                  </a:cubicBezTo>
                  <a:cubicBezTo>
                    <a:pt x="480115" y="262854"/>
                    <a:pt x="620979" y="202656"/>
                    <a:pt x="620979" y="129504"/>
                  </a:cubicBezTo>
                  <a:cubicBezTo>
                    <a:pt x="620979" y="92304"/>
                    <a:pt x="584555" y="56749"/>
                    <a:pt x="520593" y="31511"/>
                  </a:cubicBezTo>
                  <a:close/>
                </a:path>
              </a:pathLst>
            </a:custGeom>
            <a:noFill/>
            <a:ln w="2472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EC1AF3CE-FEC7-CA61-91EA-AB49D2F12A14}"/>
                </a:ext>
              </a:extLst>
            </p:cNvPr>
            <p:cNvSpPr/>
            <p:nvPr/>
          </p:nvSpPr>
          <p:spPr>
            <a:xfrm flipV="1">
              <a:off x="4401424" y="4509422"/>
              <a:ext cx="308517" cy="177653"/>
            </a:xfrm>
            <a:custGeom>
              <a:avLst/>
              <a:gdLst>
                <a:gd name="connsiteX0" fmla="*/ 309031 w 463158"/>
                <a:gd name="connsiteY0" fmla="*/ 129504 h 266699"/>
                <a:gd name="connsiteX1" fmla="*/ 414332 w 463158"/>
                <a:gd name="connsiteY1" fmla="*/ 3973 h 266699"/>
                <a:gd name="connsiteX2" fmla="*/ 309031 w 463158"/>
                <a:gd name="connsiteY2" fmla="*/ -3846 h 266699"/>
                <a:gd name="connsiteX3" fmla="*/ -3008 w 463158"/>
                <a:gd name="connsiteY3" fmla="*/ 129504 h 266699"/>
                <a:gd name="connsiteX4" fmla="*/ 309031 w 463158"/>
                <a:gd name="connsiteY4" fmla="*/ 262854 h 266699"/>
                <a:gd name="connsiteX5" fmla="*/ 460151 w 463158"/>
                <a:gd name="connsiteY5" fmla="*/ 246167 h 266699"/>
                <a:gd name="connsiteX6" fmla="*/ 309031 w 463158"/>
                <a:gd name="connsiteY6" fmla="*/ 129504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3158" h="266699">
                  <a:moveTo>
                    <a:pt x="309031" y="129504"/>
                  </a:moveTo>
                  <a:lnTo>
                    <a:pt x="414332" y="3973"/>
                  </a:lnTo>
                  <a:cubicBezTo>
                    <a:pt x="380545" y="-1201"/>
                    <a:pt x="344921" y="-3846"/>
                    <a:pt x="309031" y="-3846"/>
                  </a:cubicBezTo>
                  <a:cubicBezTo>
                    <a:pt x="137848" y="-3846"/>
                    <a:pt x="-3008" y="56345"/>
                    <a:pt x="-3008" y="129504"/>
                  </a:cubicBezTo>
                  <a:cubicBezTo>
                    <a:pt x="-3008" y="202656"/>
                    <a:pt x="137848" y="262854"/>
                    <a:pt x="309031" y="262854"/>
                  </a:cubicBezTo>
                  <a:cubicBezTo>
                    <a:pt x="361899" y="262854"/>
                    <a:pt x="413905" y="257109"/>
                    <a:pt x="460151" y="246167"/>
                  </a:cubicBezTo>
                  <a:lnTo>
                    <a:pt x="309031" y="129504"/>
                  </a:lnTo>
                </a:path>
              </a:pathLst>
            </a:custGeom>
            <a:solidFill>
              <a:srgbClr val="55B9E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1256A3F2-9C62-B1EE-4198-F8C0B358ABE3}"/>
                </a:ext>
              </a:extLst>
            </p:cNvPr>
            <p:cNvSpPr/>
            <p:nvPr/>
          </p:nvSpPr>
          <p:spPr>
            <a:xfrm flipV="1">
              <a:off x="4401424" y="4509422"/>
              <a:ext cx="308517" cy="177653"/>
            </a:xfrm>
            <a:custGeom>
              <a:avLst/>
              <a:gdLst>
                <a:gd name="connsiteX0" fmla="*/ 309031 w 463158"/>
                <a:gd name="connsiteY0" fmla="*/ 129504 h 266699"/>
                <a:gd name="connsiteX1" fmla="*/ 414332 w 463158"/>
                <a:gd name="connsiteY1" fmla="*/ 3973 h 266699"/>
                <a:gd name="connsiteX2" fmla="*/ 309031 w 463158"/>
                <a:gd name="connsiteY2" fmla="*/ -3846 h 266699"/>
                <a:gd name="connsiteX3" fmla="*/ -3008 w 463158"/>
                <a:gd name="connsiteY3" fmla="*/ 129504 h 266699"/>
                <a:gd name="connsiteX4" fmla="*/ 309031 w 463158"/>
                <a:gd name="connsiteY4" fmla="*/ 262854 h 266699"/>
                <a:gd name="connsiteX5" fmla="*/ 460151 w 463158"/>
                <a:gd name="connsiteY5" fmla="*/ 246167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3158" h="266699">
                  <a:moveTo>
                    <a:pt x="309031" y="129504"/>
                  </a:moveTo>
                  <a:lnTo>
                    <a:pt x="414332" y="3973"/>
                  </a:lnTo>
                  <a:cubicBezTo>
                    <a:pt x="380545" y="-1201"/>
                    <a:pt x="344921" y="-3846"/>
                    <a:pt x="309031" y="-3846"/>
                  </a:cubicBezTo>
                  <a:cubicBezTo>
                    <a:pt x="137848" y="-3846"/>
                    <a:pt x="-3008" y="56345"/>
                    <a:pt x="-3008" y="129504"/>
                  </a:cubicBezTo>
                  <a:cubicBezTo>
                    <a:pt x="-3008" y="202656"/>
                    <a:pt x="137848" y="262854"/>
                    <a:pt x="309031" y="262854"/>
                  </a:cubicBezTo>
                  <a:cubicBezTo>
                    <a:pt x="361899" y="262854"/>
                    <a:pt x="413905" y="257109"/>
                    <a:pt x="460151" y="246167"/>
                  </a:cubicBezTo>
                  <a:close/>
                </a:path>
              </a:pathLst>
            </a:custGeom>
            <a:noFill/>
            <a:ln w="2472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6F925E6F-8056-98A5-4B0C-3FAEA33BE130}"/>
                </a:ext>
              </a:extLst>
            </p:cNvPr>
            <p:cNvSpPr/>
            <p:nvPr/>
          </p:nvSpPr>
          <p:spPr>
            <a:xfrm flipV="1">
              <a:off x="4401424" y="4574630"/>
              <a:ext cx="277996" cy="112444"/>
            </a:xfrm>
            <a:custGeom>
              <a:avLst/>
              <a:gdLst>
                <a:gd name="connsiteX0" fmla="*/ 309057 w 417339"/>
                <a:gd name="connsiteY0" fmla="*/ 129577 h 168806"/>
                <a:gd name="connsiteX1" fmla="*/ 414358 w 417339"/>
                <a:gd name="connsiteY1" fmla="*/ 4046 h 168806"/>
                <a:gd name="connsiteX2" fmla="*/ 309057 w 417339"/>
                <a:gd name="connsiteY2" fmla="*/ -3773 h 168806"/>
                <a:gd name="connsiteX3" fmla="*/ -2982 w 417339"/>
                <a:gd name="connsiteY3" fmla="*/ 129577 h 168806"/>
                <a:gd name="connsiteX4" fmla="*/ 8258 w 417339"/>
                <a:gd name="connsiteY4" fmla="*/ 165033 h 168806"/>
                <a:gd name="connsiteX5" fmla="*/ 309057 w 417339"/>
                <a:gd name="connsiteY5" fmla="*/ 129577 h 168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7339" h="168806">
                  <a:moveTo>
                    <a:pt x="309057" y="129577"/>
                  </a:moveTo>
                  <a:lnTo>
                    <a:pt x="414358" y="4046"/>
                  </a:lnTo>
                  <a:cubicBezTo>
                    <a:pt x="380571" y="-1129"/>
                    <a:pt x="344947" y="-3773"/>
                    <a:pt x="309057" y="-3773"/>
                  </a:cubicBezTo>
                  <a:cubicBezTo>
                    <a:pt x="137874" y="-3773"/>
                    <a:pt x="-2982" y="56418"/>
                    <a:pt x="-2982" y="129577"/>
                  </a:cubicBezTo>
                  <a:cubicBezTo>
                    <a:pt x="-2982" y="141556"/>
                    <a:pt x="798" y="153481"/>
                    <a:pt x="8258" y="165033"/>
                  </a:cubicBezTo>
                  <a:lnTo>
                    <a:pt x="309057" y="129577"/>
                  </a:lnTo>
                </a:path>
              </a:pathLst>
            </a:custGeom>
            <a:solidFill>
              <a:srgbClr val="4DA5C3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0B0E0BAE-8185-1BB5-63DF-EBE63E6900BC}"/>
                </a:ext>
              </a:extLst>
            </p:cNvPr>
            <p:cNvSpPr/>
            <p:nvPr/>
          </p:nvSpPr>
          <p:spPr>
            <a:xfrm flipV="1">
              <a:off x="4401424" y="4574630"/>
              <a:ext cx="277996" cy="112444"/>
            </a:xfrm>
            <a:custGeom>
              <a:avLst/>
              <a:gdLst>
                <a:gd name="connsiteX0" fmla="*/ 309057 w 417339"/>
                <a:gd name="connsiteY0" fmla="*/ 129577 h 168806"/>
                <a:gd name="connsiteX1" fmla="*/ 414358 w 417339"/>
                <a:gd name="connsiteY1" fmla="*/ 4046 h 168806"/>
                <a:gd name="connsiteX2" fmla="*/ 309057 w 417339"/>
                <a:gd name="connsiteY2" fmla="*/ -3773 h 168806"/>
                <a:gd name="connsiteX3" fmla="*/ -2982 w 417339"/>
                <a:gd name="connsiteY3" fmla="*/ 129577 h 168806"/>
                <a:gd name="connsiteX4" fmla="*/ 8258 w 417339"/>
                <a:gd name="connsiteY4" fmla="*/ 165033 h 168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7339" h="168806">
                  <a:moveTo>
                    <a:pt x="309057" y="129577"/>
                  </a:moveTo>
                  <a:lnTo>
                    <a:pt x="414358" y="4046"/>
                  </a:lnTo>
                  <a:cubicBezTo>
                    <a:pt x="380571" y="-1129"/>
                    <a:pt x="344947" y="-3773"/>
                    <a:pt x="309057" y="-3773"/>
                  </a:cubicBezTo>
                  <a:cubicBezTo>
                    <a:pt x="137874" y="-3773"/>
                    <a:pt x="-2982" y="56418"/>
                    <a:pt x="-2982" y="129577"/>
                  </a:cubicBezTo>
                  <a:cubicBezTo>
                    <a:pt x="-2982" y="141556"/>
                    <a:pt x="798" y="153481"/>
                    <a:pt x="8258" y="165033"/>
                  </a:cubicBezTo>
                  <a:close/>
                </a:path>
              </a:pathLst>
            </a:custGeom>
            <a:noFill/>
            <a:ln w="2472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395FA49A-FCB4-85AD-3510-88CD14B51BDD}"/>
                </a:ext>
              </a:extLst>
            </p:cNvPr>
            <p:cNvSpPr/>
            <p:nvPr/>
          </p:nvSpPr>
          <p:spPr>
            <a:xfrm flipV="1">
              <a:off x="4505935" y="4598248"/>
              <a:ext cx="173485" cy="88826"/>
            </a:xfrm>
            <a:custGeom>
              <a:avLst/>
              <a:gdLst>
                <a:gd name="connsiteX0" fmla="*/ 152072 w 260443"/>
                <a:gd name="connsiteY0" fmla="*/ 129604 h 133349"/>
                <a:gd name="connsiteX1" fmla="*/ 257373 w 260443"/>
                <a:gd name="connsiteY1" fmla="*/ 4072 h 133349"/>
                <a:gd name="connsiteX2" fmla="*/ 152072 w 260443"/>
                <a:gd name="connsiteY2" fmla="*/ -3746 h 133349"/>
                <a:gd name="connsiteX3" fmla="*/ -3071 w 260443"/>
                <a:gd name="connsiteY3" fmla="*/ 13902 h 133349"/>
                <a:gd name="connsiteX4" fmla="*/ 152072 w 260443"/>
                <a:gd name="connsiteY4" fmla="*/ 129604 h 13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443" h="133349">
                  <a:moveTo>
                    <a:pt x="152072" y="129604"/>
                  </a:moveTo>
                  <a:lnTo>
                    <a:pt x="257373" y="4072"/>
                  </a:lnTo>
                  <a:cubicBezTo>
                    <a:pt x="223586" y="-1102"/>
                    <a:pt x="187962" y="-3746"/>
                    <a:pt x="152072" y="-3746"/>
                  </a:cubicBezTo>
                  <a:cubicBezTo>
                    <a:pt x="97650" y="-3746"/>
                    <a:pt x="44150" y="2335"/>
                    <a:pt x="-3071" y="13902"/>
                  </a:cubicBezTo>
                  <a:lnTo>
                    <a:pt x="152072" y="129604"/>
                  </a:lnTo>
                </a:path>
              </a:pathLst>
            </a:custGeom>
            <a:solidFill>
              <a:srgbClr val="803DA2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AF639177-2699-FC83-F73A-2443DEB6CF19}"/>
                </a:ext>
              </a:extLst>
            </p:cNvPr>
            <p:cNvSpPr/>
            <p:nvPr/>
          </p:nvSpPr>
          <p:spPr>
            <a:xfrm flipV="1">
              <a:off x="4505935" y="4598248"/>
              <a:ext cx="173485" cy="88826"/>
            </a:xfrm>
            <a:custGeom>
              <a:avLst/>
              <a:gdLst>
                <a:gd name="connsiteX0" fmla="*/ 152072 w 260443"/>
                <a:gd name="connsiteY0" fmla="*/ 129604 h 133349"/>
                <a:gd name="connsiteX1" fmla="*/ 257373 w 260443"/>
                <a:gd name="connsiteY1" fmla="*/ 4072 h 133349"/>
                <a:gd name="connsiteX2" fmla="*/ 152072 w 260443"/>
                <a:gd name="connsiteY2" fmla="*/ -3746 h 133349"/>
                <a:gd name="connsiteX3" fmla="*/ -3071 w 260443"/>
                <a:gd name="connsiteY3" fmla="*/ 13902 h 133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443" h="133349">
                  <a:moveTo>
                    <a:pt x="152072" y="129604"/>
                  </a:moveTo>
                  <a:lnTo>
                    <a:pt x="257373" y="4072"/>
                  </a:lnTo>
                  <a:cubicBezTo>
                    <a:pt x="223586" y="-1102"/>
                    <a:pt x="187962" y="-3746"/>
                    <a:pt x="152072" y="-3746"/>
                  </a:cubicBezTo>
                  <a:cubicBezTo>
                    <a:pt x="97650" y="-3746"/>
                    <a:pt x="44150" y="2335"/>
                    <a:pt x="-3071" y="13902"/>
                  </a:cubicBezTo>
                  <a:close/>
                </a:path>
              </a:pathLst>
            </a:custGeom>
            <a:solidFill>
              <a:srgbClr val="4DA5C3">
                <a:lumMod val="50000"/>
              </a:srgbClr>
            </a:solidFill>
            <a:ln w="2472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BE6359E1-2E65-EA31-BA0B-DE8FFDAAB3EB}"/>
                </a:ext>
              </a:extLst>
            </p:cNvPr>
            <p:cNvSpPr/>
            <p:nvPr/>
          </p:nvSpPr>
          <p:spPr>
            <a:xfrm flipV="1">
              <a:off x="5403790" y="5343326"/>
              <a:ext cx="465522" cy="220533"/>
            </a:xfrm>
            <a:custGeom>
              <a:avLst/>
              <a:gdLst>
                <a:gd name="connsiteX0" fmla="*/ 668336 w 698860"/>
                <a:gd name="connsiteY0" fmla="*/ -1936 h 331073"/>
                <a:gd name="connsiteX1" fmla="*/ 667566 w 698860"/>
                <a:gd name="connsiteY1" fmla="*/ -1936 h 331073"/>
                <a:gd name="connsiteX2" fmla="*/ 307635 w 698860"/>
                <a:gd name="connsiteY2" fmla="*/ 967 h 331073"/>
                <a:gd name="connsiteX3" fmla="*/ 233378 w 698860"/>
                <a:gd name="connsiteY3" fmla="*/ 82273 h 331073"/>
                <a:gd name="connsiteX4" fmla="*/ 239581 w 698860"/>
                <a:gd name="connsiteY4" fmla="*/ 82220 h 331073"/>
                <a:gd name="connsiteX5" fmla="*/ 239764 w 698860"/>
                <a:gd name="connsiteY5" fmla="*/ 82220 h 331073"/>
                <a:gd name="connsiteX6" fmla="*/ 262616 w 698860"/>
                <a:gd name="connsiteY6" fmla="*/ 104897 h 331073"/>
                <a:gd name="connsiteX7" fmla="*/ 263127 w 698860"/>
                <a:gd name="connsiteY7" fmla="*/ 167914 h 331073"/>
                <a:gd name="connsiteX8" fmla="*/ 240457 w 698860"/>
                <a:gd name="connsiteY8" fmla="*/ 190957 h 331073"/>
                <a:gd name="connsiteX9" fmla="*/ 86869 w 698860"/>
                <a:gd name="connsiteY9" fmla="*/ 192199 h 331073"/>
                <a:gd name="connsiteX10" fmla="*/ 63925 w 698860"/>
                <a:gd name="connsiteY10" fmla="*/ 204528 h 331073"/>
                <a:gd name="connsiteX11" fmla="*/ 40691 w 698860"/>
                <a:gd name="connsiteY11" fmla="*/ 239222 h 331073"/>
                <a:gd name="connsiteX12" fmla="*/ 43457 w 698860"/>
                <a:gd name="connsiteY12" fmla="*/ 249905 h 331073"/>
                <a:gd name="connsiteX13" fmla="*/ 43694 w 698860"/>
                <a:gd name="connsiteY13" fmla="*/ 278648 h 331073"/>
                <a:gd name="connsiteX14" fmla="*/ 46475 w 698860"/>
                <a:gd name="connsiteY14" fmla="*/ 284995 h 331073"/>
                <a:gd name="connsiteX15" fmla="*/ 80651 w 698860"/>
                <a:gd name="connsiteY15" fmla="*/ 306613 h 331073"/>
                <a:gd name="connsiteX16" fmla="*/ 95327 w 698860"/>
                <a:gd name="connsiteY16" fmla="*/ 304533 h 331073"/>
                <a:gd name="connsiteX17" fmla="*/ 94885 w 698860"/>
                <a:gd name="connsiteY17" fmla="*/ 249486 h 331073"/>
                <a:gd name="connsiteX18" fmla="*/ 117562 w 698860"/>
                <a:gd name="connsiteY18" fmla="*/ 226443 h 331073"/>
                <a:gd name="connsiteX19" fmla="*/ 227290 w 698860"/>
                <a:gd name="connsiteY19" fmla="*/ 225559 h 331073"/>
                <a:gd name="connsiteX20" fmla="*/ 310356 w 698860"/>
                <a:gd name="connsiteY20" fmla="*/ 154129 h 331073"/>
                <a:gd name="connsiteX21" fmla="*/ 309952 w 698860"/>
                <a:gd name="connsiteY21" fmla="*/ 103777 h 331073"/>
                <a:gd name="connsiteX22" fmla="*/ 332629 w 698860"/>
                <a:gd name="connsiteY22" fmla="*/ 80726 h 331073"/>
                <a:gd name="connsiteX23" fmla="*/ 378516 w 698860"/>
                <a:gd name="connsiteY23" fmla="*/ 80360 h 331073"/>
                <a:gd name="connsiteX24" fmla="*/ 436383 w 698860"/>
                <a:gd name="connsiteY24" fmla="*/ 4800 h 331073"/>
                <a:gd name="connsiteX25" fmla="*/ 443248 w 698860"/>
                <a:gd name="connsiteY25" fmla="*/ 2758 h 331073"/>
                <a:gd name="connsiteX26" fmla="*/ 452034 w 698860"/>
                <a:gd name="connsiteY26" fmla="*/ 8915 h 331073"/>
                <a:gd name="connsiteX27" fmla="*/ 401704 w 698860"/>
                <a:gd name="connsiteY27" fmla="*/ 80170 h 331073"/>
                <a:gd name="connsiteX28" fmla="*/ 451486 w 698860"/>
                <a:gd name="connsiteY28" fmla="*/ 79766 h 331073"/>
                <a:gd name="connsiteX29" fmla="*/ 451668 w 698860"/>
                <a:gd name="connsiteY29" fmla="*/ 79766 h 331073"/>
                <a:gd name="connsiteX30" fmla="*/ 474528 w 698860"/>
                <a:gd name="connsiteY30" fmla="*/ 102451 h 331073"/>
                <a:gd name="connsiteX31" fmla="*/ 474963 w 698860"/>
                <a:gd name="connsiteY31" fmla="*/ 156050 h 331073"/>
                <a:gd name="connsiteX32" fmla="*/ 536784 w 698860"/>
                <a:gd name="connsiteY32" fmla="*/ 71224 h 331073"/>
                <a:gd name="connsiteX33" fmla="*/ 543451 w 698860"/>
                <a:gd name="connsiteY33" fmla="*/ 68298 h 331073"/>
                <a:gd name="connsiteX34" fmla="*/ 549380 w 698860"/>
                <a:gd name="connsiteY34" fmla="*/ 75926 h 331073"/>
                <a:gd name="connsiteX35" fmla="*/ 547338 w 698860"/>
                <a:gd name="connsiteY35" fmla="*/ 80749 h 331073"/>
                <a:gd name="connsiteX36" fmla="*/ 550797 w 698860"/>
                <a:gd name="connsiteY36" fmla="*/ 80452 h 331073"/>
                <a:gd name="connsiteX37" fmla="*/ 648470 w 698860"/>
                <a:gd name="connsiteY37" fmla="*/ 79667 h 331073"/>
                <a:gd name="connsiteX38" fmla="*/ 648600 w 698860"/>
                <a:gd name="connsiteY38" fmla="*/ 79324 h 331073"/>
                <a:gd name="connsiteX39" fmla="*/ 694007 w 698860"/>
                <a:gd name="connsiteY39" fmla="*/ 1646 h 331073"/>
                <a:gd name="connsiteX40" fmla="*/ 668336 w 698860"/>
                <a:gd name="connsiteY40" fmla="*/ -1936 h 331073"/>
                <a:gd name="connsiteX41" fmla="*/ 284280 w 698860"/>
                <a:gd name="connsiteY41" fmla="*/ 1150 h 331073"/>
                <a:gd name="connsiteX42" fmla="*/ 142319 w 698860"/>
                <a:gd name="connsiteY42" fmla="*/ 2293 h 331073"/>
                <a:gd name="connsiteX43" fmla="*/ 45408 w 698860"/>
                <a:gd name="connsiteY43" fmla="*/ 83782 h 331073"/>
                <a:gd name="connsiteX44" fmla="*/ 210663 w 698860"/>
                <a:gd name="connsiteY44" fmla="*/ 82456 h 331073"/>
                <a:gd name="connsiteX45" fmla="*/ 284280 w 698860"/>
                <a:gd name="connsiteY45" fmla="*/ 1150 h 331073"/>
                <a:gd name="connsiteX46" fmla="*/ 528265 w 698860"/>
                <a:gd name="connsiteY46" fmla="*/ 120495 h 331073"/>
                <a:gd name="connsiteX47" fmla="*/ 498653 w 698860"/>
                <a:gd name="connsiteY47" fmla="*/ 165087 h 331073"/>
                <a:gd name="connsiteX48" fmla="*/ 425715 w 698860"/>
                <a:gd name="connsiteY48" fmla="*/ 223959 h 331073"/>
                <a:gd name="connsiteX49" fmla="*/ 452423 w 698860"/>
                <a:gd name="connsiteY49" fmla="*/ 223746 h 331073"/>
                <a:gd name="connsiteX50" fmla="*/ 452613 w 698860"/>
                <a:gd name="connsiteY50" fmla="*/ 223746 h 331073"/>
                <a:gd name="connsiteX51" fmla="*/ 457429 w 698860"/>
                <a:gd name="connsiteY51" fmla="*/ 224264 h 331073"/>
                <a:gd name="connsiteX52" fmla="*/ 544587 w 698860"/>
                <a:gd name="connsiteY52" fmla="*/ 223563 h 331073"/>
                <a:gd name="connsiteX53" fmla="*/ 549578 w 698860"/>
                <a:gd name="connsiteY53" fmla="*/ 222969 h 331073"/>
                <a:gd name="connsiteX54" fmla="*/ 572232 w 698860"/>
                <a:gd name="connsiteY54" fmla="*/ 222786 h 331073"/>
                <a:gd name="connsiteX55" fmla="*/ 596479 w 698860"/>
                <a:gd name="connsiteY55" fmla="*/ 188831 h 331073"/>
                <a:gd name="connsiteX56" fmla="*/ 551681 w 698860"/>
                <a:gd name="connsiteY56" fmla="*/ 189189 h 331073"/>
                <a:gd name="connsiteX57" fmla="*/ 551483 w 698860"/>
                <a:gd name="connsiteY57" fmla="*/ 189197 h 331073"/>
                <a:gd name="connsiteX58" fmla="*/ 528630 w 698860"/>
                <a:gd name="connsiteY58" fmla="*/ 166520 h 331073"/>
                <a:gd name="connsiteX59" fmla="*/ 528265 w 698860"/>
                <a:gd name="connsiteY59" fmla="*/ 120495 h 331073"/>
                <a:gd name="connsiteX60" fmla="*/ 311735 w 698860"/>
                <a:gd name="connsiteY60" fmla="*/ 174117 h 331073"/>
                <a:gd name="connsiteX61" fmla="*/ 232822 w 698860"/>
                <a:gd name="connsiteY61" fmla="*/ 225514 h 331073"/>
                <a:gd name="connsiteX62" fmla="*/ 236426 w 698860"/>
                <a:gd name="connsiteY62" fmla="*/ 225491 h 331073"/>
                <a:gd name="connsiteX63" fmla="*/ 236602 w 698860"/>
                <a:gd name="connsiteY63" fmla="*/ 225491 h 331073"/>
                <a:gd name="connsiteX64" fmla="*/ 259462 w 698860"/>
                <a:gd name="connsiteY64" fmla="*/ 248160 h 331073"/>
                <a:gd name="connsiteX65" fmla="*/ 260033 w 698860"/>
                <a:gd name="connsiteY65" fmla="*/ 318615 h 331073"/>
                <a:gd name="connsiteX66" fmla="*/ 257541 w 698860"/>
                <a:gd name="connsiteY66" fmla="*/ 329138 h 331073"/>
                <a:gd name="connsiteX67" fmla="*/ 311331 w 698860"/>
                <a:gd name="connsiteY67" fmla="*/ 302338 h 331073"/>
                <a:gd name="connsiteX68" fmla="*/ 310897 w 698860"/>
                <a:gd name="connsiteY68" fmla="*/ 247749 h 331073"/>
                <a:gd name="connsiteX69" fmla="*/ 311232 w 698860"/>
                <a:gd name="connsiteY69" fmla="*/ 243664 h 331073"/>
                <a:gd name="connsiteX70" fmla="*/ 311079 w 698860"/>
                <a:gd name="connsiteY70" fmla="*/ 225438 h 331073"/>
                <a:gd name="connsiteX71" fmla="*/ 328583 w 698860"/>
                <a:gd name="connsiteY71" fmla="*/ 225300 h 331073"/>
                <a:gd name="connsiteX72" fmla="*/ 333566 w 698860"/>
                <a:gd name="connsiteY72" fmla="*/ 224706 h 331073"/>
                <a:gd name="connsiteX73" fmla="*/ 412083 w 698860"/>
                <a:gd name="connsiteY73" fmla="*/ 224073 h 331073"/>
                <a:gd name="connsiteX74" fmla="*/ 446738 w 698860"/>
                <a:gd name="connsiteY74" fmla="*/ 188549 h 331073"/>
                <a:gd name="connsiteX75" fmla="*/ 333505 w 698860"/>
                <a:gd name="connsiteY75" fmla="*/ 189471 h 331073"/>
                <a:gd name="connsiteX76" fmla="*/ 333322 w 698860"/>
                <a:gd name="connsiteY76" fmla="*/ 189471 h 331073"/>
                <a:gd name="connsiteX77" fmla="*/ 311735 w 698860"/>
                <a:gd name="connsiteY77" fmla="*/ 174117 h 331073"/>
                <a:gd name="connsiteX78" fmla="*/ 72825 w 698860"/>
                <a:gd name="connsiteY78" fmla="*/ 192313 h 331073"/>
                <a:gd name="connsiteX79" fmla="*/ -4853 w 698860"/>
                <a:gd name="connsiteY79" fmla="*/ 192938 h 331073"/>
                <a:gd name="connsiteX80" fmla="*/ 32431 w 698860"/>
                <a:gd name="connsiteY80" fmla="*/ 208445 h 331073"/>
                <a:gd name="connsiteX81" fmla="*/ 60641 w 698860"/>
                <a:gd name="connsiteY81" fmla="*/ 200177 h 331073"/>
                <a:gd name="connsiteX82" fmla="*/ 72825 w 698860"/>
                <a:gd name="connsiteY82" fmla="*/ 192313 h 331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698860" h="331073">
                  <a:moveTo>
                    <a:pt x="668336" y="-1936"/>
                  </a:moveTo>
                  <a:cubicBezTo>
                    <a:pt x="668076" y="-1936"/>
                    <a:pt x="667817" y="-1936"/>
                    <a:pt x="667566" y="-1936"/>
                  </a:cubicBezTo>
                  <a:lnTo>
                    <a:pt x="307635" y="967"/>
                  </a:lnTo>
                  <a:cubicBezTo>
                    <a:pt x="283747" y="30487"/>
                    <a:pt x="259004" y="57576"/>
                    <a:pt x="233378" y="82273"/>
                  </a:cubicBezTo>
                  <a:lnTo>
                    <a:pt x="239581" y="82220"/>
                  </a:lnTo>
                  <a:cubicBezTo>
                    <a:pt x="239642" y="82220"/>
                    <a:pt x="239703" y="82220"/>
                    <a:pt x="239764" y="82220"/>
                  </a:cubicBezTo>
                  <a:cubicBezTo>
                    <a:pt x="252245" y="82220"/>
                    <a:pt x="262517" y="92385"/>
                    <a:pt x="262616" y="104897"/>
                  </a:cubicBezTo>
                  <a:lnTo>
                    <a:pt x="263127" y="167914"/>
                  </a:lnTo>
                  <a:cubicBezTo>
                    <a:pt x="263226" y="180487"/>
                    <a:pt x="253023" y="190858"/>
                    <a:pt x="240457" y="190957"/>
                  </a:cubicBezTo>
                  <a:lnTo>
                    <a:pt x="86869" y="192199"/>
                  </a:lnTo>
                  <a:cubicBezTo>
                    <a:pt x="79294" y="196459"/>
                    <a:pt x="71644" y="200573"/>
                    <a:pt x="63925" y="204528"/>
                  </a:cubicBezTo>
                  <a:cubicBezTo>
                    <a:pt x="51237" y="211036"/>
                    <a:pt x="43610" y="224325"/>
                    <a:pt x="40691" y="239222"/>
                  </a:cubicBezTo>
                  <a:cubicBezTo>
                    <a:pt x="42429" y="242407"/>
                    <a:pt x="43427" y="246042"/>
                    <a:pt x="43457" y="249905"/>
                  </a:cubicBezTo>
                  <a:lnTo>
                    <a:pt x="43694" y="278648"/>
                  </a:lnTo>
                  <a:cubicBezTo>
                    <a:pt x="44509" y="280850"/>
                    <a:pt x="45431" y="282969"/>
                    <a:pt x="46475" y="284995"/>
                  </a:cubicBezTo>
                  <a:cubicBezTo>
                    <a:pt x="54232" y="300197"/>
                    <a:pt x="66554" y="306613"/>
                    <a:pt x="80651" y="306613"/>
                  </a:cubicBezTo>
                  <a:cubicBezTo>
                    <a:pt x="85375" y="306613"/>
                    <a:pt x="90305" y="305890"/>
                    <a:pt x="95327" y="304533"/>
                  </a:cubicBezTo>
                  <a:lnTo>
                    <a:pt x="94885" y="249486"/>
                  </a:lnTo>
                  <a:cubicBezTo>
                    <a:pt x="94786" y="236913"/>
                    <a:pt x="104989" y="226542"/>
                    <a:pt x="117562" y="226443"/>
                  </a:cubicBezTo>
                  <a:lnTo>
                    <a:pt x="227290" y="225559"/>
                  </a:lnTo>
                  <a:cubicBezTo>
                    <a:pt x="255972" y="203964"/>
                    <a:pt x="283640" y="180175"/>
                    <a:pt x="310356" y="154129"/>
                  </a:cubicBezTo>
                  <a:lnTo>
                    <a:pt x="309952" y="103777"/>
                  </a:lnTo>
                  <a:cubicBezTo>
                    <a:pt x="309845" y="91204"/>
                    <a:pt x="320056" y="80833"/>
                    <a:pt x="332629" y="80726"/>
                  </a:cubicBezTo>
                  <a:lnTo>
                    <a:pt x="378516" y="80360"/>
                  </a:lnTo>
                  <a:cubicBezTo>
                    <a:pt x="398351" y="56616"/>
                    <a:pt x="417630" y="31440"/>
                    <a:pt x="436383" y="4800"/>
                  </a:cubicBezTo>
                  <a:cubicBezTo>
                    <a:pt x="438920" y="3353"/>
                    <a:pt x="441229" y="2758"/>
                    <a:pt x="443248" y="2758"/>
                  </a:cubicBezTo>
                  <a:cubicBezTo>
                    <a:pt x="447820" y="2758"/>
                    <a:pt x="450937" y="5799"/>
                    <a:pt x="452034" y="8915"/>
                  </a:cubicBezTo>
                  <a:cubicBezTo>
                    <a:pt x="437808" y="31630"/>
                    <a:pt x="420830" y="56014"/>
                    <a:pt x="401704" y="80170"/>
                  </a:cubicBezTo>
                  <a:lnTo>
                    <a:pt x="451486" y="79766"/>
                  </a:lnTo>
                  <a:cubicBezTo>
                    <a:pt x="451547" y="79766"/>
                    <a:pt x="451607" y="79766"/>
                    <a:pt x="451668" y="79766"/>
                  </a:cubicBezTo>
                  <a:cubicBezTo>
                    <a:pt x="464158" y="79766"/>
                    <a:pt x="474429" y="89939"/>
                    <a:pt x="474528" y="102451"/>
                  </a:cubicBezTo>
                  <a:lnTo>
                    <a:pt x="474963" y="156050"/>
                  </a:lnTo>
                  <a:cubicBezTo>
                    <a:pt x="498219" y="127863"/>
                    <a:pt x="519037" y="98984"/>
                    <a:pt x="536784" y="71224"/>
                  </a:cubicBezTo>
                  <a:cubicBezTo>
                    <a:pt x="539550" y="69136"/>
                    <a:pt x="541729" y="68298"/>
                    <a:pt x="543451" y="68298"/>
                  </a:cubicBezTo>
                  <a:cubicBezTo>
                    <a:pt x="547208" y="68298"/>
                    <a:pt x="548755" y="72291"/>
                    <a:pt x="549380" y="75926"/>
                  </a:cubicBezTo>
                  <a:cubicBezTo>
                    <a:pt x="548702" y="77541"/>
                    <a:pt x="548023" y="79149"/>
                    <a:pt x="547338" y="80749"/>
                  </a:cubicBezTo>
                  <a:cubicBezTo>
                    <a:pt x="548465" y="80566"/>
                    <a:pt x="549624" y="80467"/>
                    <a:pt x="550797" y="80452"/>
                  </a:cubicBezTo>
                  <a:lnTo>
                    <a:pt x="648470" y="79667"/>
                  </a:lnTo>
                  <a:cubicBezTo>
                    <a:pt x="648516" y="79553"/>
                    <a:pt x="648562" y="79438"/>
                    <a:pt x="648600" y="79324"/>
                  </a:cubicBezTo>
                  <a:lnTo>
                    <a:pt x="694007" y="1646"/>
                  </a:lnTo>
                  <a:cubicBezTo>
                    <a:pt x="685846" y="-686"/>
                    <a:pt x="677236" y="-1936"/>
                    <a:pt x="668336" y="-1936"/>
                  </a:cubicBezTo>
                  <a:moveTo>
                    <a:pt x="284280" y="1150"/>
                  </a:moveTo>
                  <a:lnTo>
                    <a:pt x="142319" y="2293"/>
                  </a:lnTo>
                  <a:cubicBezTo>
                    <a:pt x="113828" y="30602"/>
                    <a:pt x="82198" y="57508"/>
                    <a:pt x="45408" y="83782"/>
                  </a:cubicBezTo>
                  <a:lnTo>
                    <a:pt x="210663" y="82456"/>
                  </a:lnTo>
                  <a:cubicBezTo>
                    <a:pt x="237425" y="56342"/>
                    <a:pt x="261572" y="29344"/>
                    <a:pt x="284280" y="1150"/>
                  </a:cubicBezTo>
                  <a:moveTo>
                    <a:pt x="528265" y="120495"/>
                  </a:moveTo>
                  <a:cubicBezTo>
                    <a:pt x="519601" y="136382"/>
                    <a:pt x="509946" y="151272"/>
                    <a:pt x="498653" y="165087"/>
                  </a:cubicBezTo>
                  <a:cubicBezTo>
                    <a:pt x="480099" y="187787"/>
                    <a:pt x="453040" y="207447"/>
                    <a:pt x="425715" y="223959"/>
                  </a:cubicBezTo>
                  <a:lnTo>
                    <a:pt x="452423" y="223746"/>
                  </a:lnTo>
                  <a:cubicBezTo>
                    <a:pt x="452484" y="223746"/>
                    <a:pt x="452545" y="223746"/>
                    <a:pt x="452613" y="223746"/>
                  </a:cubicBezTo>
                  <a:cubicBezTo>
                    <a:pt x="454259" y="223746"/>
                    <a:pt x="455875" y="223921"/>
                    <a:pt x="457429" y="224264"/>
                  </a:cubicBezTo>
                  <a:lnTo>
                    <a:pt x="544587" y="223563"/>
                  </a:lnTo>
                  <a:cubicBezTo>
                    <a:pt x="546195" y="223182"/>
                    <a:pt x="547863" y="222976"/>
                    <a:pt x="549578" y="222969"/>
                  </a:cubicBezTo>
                  <a:lnTo>
                    <a:pt x="572232" y="222786"/>
                  </a:lnTo>
                  <a:cubicBezTo>
                    <a:pt x="581117" y="211760"/>
                    <a:pt x="589141" y="200429"/>
                    <a:pt x="596479" y="188831"/>
                  </a:cubicBezTo>
                  <a:lnTo>
                    <a:pt x="551681" y="189189"/>
                  </a:lnTo>
                  <a:cubicBezTo>
                    <a:pt x="551612" y="189189"/>
                    <a:pt x="551551" y="189197"/>
                    <a:pt x="551483" y="189197"/>
                  </a:cubicBezTo>
                  <a:cubicBezTo>
                    <a:pt x="538994" y="189197"/>
                    <a:pt x="528737" y="179024"/>
                    <a:pt x="528630" y="166520"/>
                  </a:cubicBezTo>
                  <a:lnTo>
                    <a:pt x="528265" y="120495"/>
                  </a:lnTo>
                  <a:moveTo>
                    <a:pt x="311735" y="174117"/>
                  </a:moveTo>
                  <a:cubicBezTo>
                    <a:pt x="286642" y="195079"/>
                    <a:pt x="260109" y="212933"/>
                    <a:pt x="232822" y="225514"/>
                  </a:cubicBezTo>
                  <a:lnTo>
                    <a:pt x="236426" y="225491"/>
                  </a:lnTo>
                  <a:cubicBezTo>
                    <a:pt x="236480" y="225491"/>
                    <a:pt x="236548" y="225491"/>
                    <a:pt x="236602" y="225491"/>
                  </a:cubicBezTo>
                  <a:cubicBezTo>
                    <a:pt x="249091" y="225483"/>
                    <a:pt x="259363" y="235648"/>
                    <a:pt x="259462" y="248160"/>
                  </a:cubicBezTo>
                  <a:lnTo>
                    <a:pt x="260033" y="318615"/>
                  </a:lnTo>
                  <a:cubicBezTo>
                    <a:pt x="260064" y="322394"/>
                    <a:pt x="259164" y="325976"/>
                    <a:pt x="257541" y="329138"/>
                  </a:cubicBezTo>
                  <a:cubicBezTo>
                    <a:pt x="275791" y="321884"/>
                    <a:pt x="293759" y="312831"/>
                    <a:pt x="311331" y="302338"/>
                  </a:cubicBezTo>
                  <a:lnTo>
                    <a:pt x="310897" y="247749"/>
                  </a:lnTo>
                  <a:cubicBezTo>
                    <a:pt x="310881" y="246354"/>
                    <a:pt x="310996" y="244990"/>
                    <a:pt x="311232" y="243664"/>
                  </a:cubicBezTo>
                  <a:lnTo>
                    <a:pt x="311079" y="225438"/>
                  </a:lnTo>
                  <a:lnTo>
                    <a:pt x="328583" y="225300"/>
                  </a:lnTo>
                  <a:cubicBezTo>
                    <a:pt x="330190" y="224927"/>
                    <a:pt x="331859" y="224721"/>
                    <a:pt x="333566" y="224706"/>
                  </a:cubicBezTo>
                  <a:lnTo>
                    <a:pt x="412083" y="224073"/>
                  </a:lnTo>
                  <a:cubicBezTo>
                    <a:pt x="424031" y="212613"/>
                    <a:pt x="435598" y="200726"/>
                    <a:pt x="446738" y="188549"/>
                  </a:cubicBezTo>
                  <a:lnTo>
                    <a:pt x="333505" y="189471"/>
                  </a:lnTo>
                  <a:cubicBezTo>
                    <a:pt x="333444" y="189471"/>
                    <a:pt x="333383" y="189471"/>
                    <a:pt x="333322" y="189471"/>
                  </a:cubicBezTo>
                  <a:cubicBezTo>
                    <a:pt x="323386" y="189471"/>
                    <a:pt x="314859" y="183040"/>
                    <a:pt x="311735" y="174117"/>
                  </a:cubicBezTo>
                  <a:moveTo>
                    <a:pt x="72825" y="192313"/>
                  </a:moveTo>
                  <a:lnTo>
                    <a:pt x="-4853" y="192938"/>
                  </a:lnTo>
                  <a:cubicBezTo>
                    <a:pt x="5159" y="203035"/>
                    <a:pt x="18677" y="208445"/>
                    <a:pt x="32431" y="208445"/>
                  </a:cubicBezTo>
                  <a:cubicBezTo>
                    <a:pt x="42101" y="208445"/>
                    <a:pt x="51885" y="205770"/>
                    <a:pt x="60641" y="200177"/>
                  </a:cubicBezTo>
                  <a:cubicBezTo>
                    <a:pt x="64755" y="197556"/>
                    <a:pt x="68809" y="194942"/>
                    <a:pt x="72825" y="192313"/>
                  </a:cubicBezTo>
                </a:path>
              </a:pathLst>
            </a:custGeom>
            <a:solidFill>
              <a:srgbClr val="28282E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0B4555C2-DC44-C6A3-E14F-10C186BB9FD8}"/>
                </a:ext>
              </a:extLst>
            </p:cNvPr>
            <p:cNvSpPr/>
            <p:nvPr/>
          </p:nvSpPr>
          <p:spPr>
            <a:xfrm flipV="1">
              <a:off x="5769781" y="5413652"/>
              <a:ext cx="18415" cy="518"/>
            </a:xfrm>
            <a:custGeom>
              <a:avLst/>
              <a:gdLst>
                <a:gd name="connsiteX0" fmla="*/ 22549 w 27645"/>
                <a:gd name="connsiteY0" fmla="*/ -2024 h 777"/>
                <a:gd name="connsiteX1" fmla="*/ -105 w 27645"/>
                <a:gd name="connsiteY1" fmla="*/ -1842 h 777"/>
                <a:gd name="connsiteX2" fmla="*/ -5097 w 27645"/>
                <a:gd name="connsiteY2" fmla="*/ -1247 h 777"/>
                <a:gd name="connsiteX3" fmla="*/ 22100 w 27645"/>
                <a:gd name="connsiteY3" fmla="*/ -1468 h 777"/>
                <a:gd name="connsiteX4" fmla="*/ 22549 w 27645"/>
                <a:gd name="connsiteY4" fmla="*/ -2024 h 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45" h="777">
                  <a:moveTo>
                    <a:pt x="22549" y="-2024"/>
                  </a:moveTo>
                  <a:lnTo>
                    <a:pt x="-105" y="-1842"/>
                  </a:lnTo>
                  <a:cubicBezTo>
                    <a:pt x="-1820" y="-1834"/>
                    <a:pt x="-3488" y="-1628"/>
                    <a:pt x="-5097" y="-1247"/>
                  </a:cubicBezTo>
                  <a:lnTo>
                    <a:pt x="22100" y="-1468"/>
                  </a:lnTo>
                  <a:cubicBezTo>
                    <a:pt x="22244" y="-1659"/>
                    <a:pt x="22396" y="-1842"/>
                    <a:pt x="22549" y="-2024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823B376B-EE9E-AF1F-D238-378877A34C0D}"/>
                </a:ext>
              </a:extLst>
            </p:cNvPr>
            <p:cNvSpPr/>
            <p:nvPr/>
          </p:nvSpPr>
          <p:spPr>
            <a:xfrm flipV="1">
              <a:off x="5614115" y="5361178"/>
              <a:ext cx="97608" cy="52351"/>
            </a:xfrm>
            <a:custGeom>
              <a:avLst/>
              <a:gdLst>
                <a:gd name="connsiteX0" fmla="*/ 136820 w 146533"/>
                <a:gd name="connsiteY0" fmla="*/ -2084 h 78592"/>
                <a:gd name="connsiteX1" fmla="*/ 136629 w 146533"/>
                <a:gd name="connsiteY1" fmla="*/ -2084 h 78592"/>
                <a:gd name="connsiteX2" fmla="*/ 109921 w 146533"/>
                <a:gd name="connsiteY2" fmla="*/ -1870 h 78592"/>
                <a:gd name="connsiteX3" fmla="*/ 108991 w 146533"/>
                <a:gd name="connsiteY3" fmla="*/ -1306 h 78592"/>
                <a:gd name="connsiteX4" fmla="*/ 141635 w 146533"/>
                <a:gd name="connsiteY4" fmla="*/ -1566 h 78592"/>
                <a:gd name="connsiteX5" fmla="*/ 136820 w 146533"/>
                <a:gd name="connsiteY5" fmla="*/ -2084 h 78592"/>
                <a:gd name="connsiteX6" fmla="*/ 96289 w 146533"/>
                <a:gd name="connsiteY6" fmla="*/ -1756 h 78592"/>
                <a:gd name="connsiteX7" fmla="*/ 17772 w 146533"/>
                <a:gd name="connsiteY7" fmla="*/ -1124 h 78592"/>
                <a:gd name="connsiteX8" fmla="*/ 12789 w 146533"/>
                <a:gd name="connsiteY8" fmla="*/ -529 h 78592"/>
                <a:gd name="connsiteX9" fmla="*/ 95710 w 146533"/>
                <a:gd name="connsiteY9" fmla="*/ -1200 h 78592"/>
                <a:gd name="connsiteX10" fmla="*/ 96289 w 146533"/>
                <a:gd name="connsiteY10" fmla="*/ -1756 h 78592"/>
                <a:gd name="connsiteX11" fmla="*/ -4562 w 146533"/>
                <a:gd name="connsiteY11" fmla="*/ 17835 h 78592"/>
                <a:gd name="connsiteX12" fmla="*/ -4897 w 146533"/>
                <a:gd name="connsiteY12" fmla="*/ 21919 h 78592"/>
                <a:gd name="connsiteX13" fmla="*/ -4463 w 146533"/>
                <a:gd name="connsiteY13" fmla="*/ 76509 h 78592"/>
                <a:gd name="connsiteX14" fmla="*/ -4089 w 146533"/>
                <a:gd name="connsiteY14" fmla="*/ 76288 h 78592"/>
                <a:gd name="connsiteX15" fmla="*/ -4562 w 146533"/>
                <a:gd name="connsiteY15" fmla="*/ 17835 h 7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533" h="78592">
                  <a:moveTo>
                    <a:pt x="136820" y="-2084"/>
                  </a:moveTo>
                  <a:cubicBezTo>
                    <a:pt x="136751" y="-2084"/>
                    <a:pt x="136690" y="-2084"/>
                    <a:pt x="136629" y="-2084"/>
                  </a:cubicBezTo>
                  <a:lnTo>
                    <a:pt x="109921" y="-1870"/>
                  </a:lnTo>
                  <a:cubicBezTo>
                    <a:pt x="109616" y="-1680"/>
                    <a:pt x="109304" y="-1489"/>
                    <a:pt x="108991" y="-1306"/>
                  </a:cubicBezTo>
                  <a:lnTo>
                    <a:pt x="141635" y="-1566"/>
                  </a:lnTo>
                  <a:cubicBezTo>
                    <a:pt x="140081" y="-1908"/>
                    <a:pt x="138466" y="-2084"/>
                    <a:pt x="136820" y="-2084"/>
                  </a:cubicBezTo>
                  <a:moveTo>
                    <a:pt x="96289" y="-1756"/>
                  </a:moveTo>
                  <a:lnTo>
                    <a:pt x="17772" y="-1124"/>
                  </a:lnTo>
                  <a:cubicBezTo>
                    <a:pt x="16065" y="-1108"/>
                    <a:pt x="14397" y="-903"/>
                    <a:pt x="12789" y="-529"/>
                  </a:cubicBezTo>
                  <a:lnTo>
                    <a:pt x="95710" y="-1200"/>
                  </a:lnTo>
                  <a:cubicBezTo>
                    <a:pt x="95900" y="-1383"/>
                    <a:pt x="96098" y="-1573"/>
                    <a:pt x="96289" y="-1756"/>
                  </a:cubicBezTo>
                  <a:moveTo>
                    <a:pt x="-4562" y="17835"/>
                  </a:moveTo>
                  <a:cubicBezTo>
                    <a:pt x="-4798" y="19161"/>
                    <a:pt x="-4912" y="20525"/>
                    <a:pt x="-4897" y="21919"/>
                  </a:cubicBezTo>
                  <a:lnTo>
                    <a:pt x="-4463" y="76509"/>
                  </a:lnTo>
                  <a:cubicBezTo>
                    <a:pt x="-4333" y="76433"/>
                    <a:pt x="-4211" y="76364"/>
                    <a:pt x="-4089" y="76288"/>
                  </a:cubicBezTo>
                  <a:lnTo>
                    <a:pt x="-4562" y="17835"/>
                  </a:ln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573291C4-1BA3-BCA2-C479-44025A826108}"/>
                </a:ext>
              </a:extLst>
            </p:cNvPr>
            <p:cNvSpPr/>
            <p:nvPr/>
          </p:nvSpPr>
          <p:spPr>
            <a:xfrm flipV="1">
              <a:off x="5470227" y="5336778"/>
              <a:ext cx="110008" cy="75588"/>
            </a:xfrm>
            <a:custGeom>
              <a:avLst/>
              <a:gdLst>
                <a:gd name="connsiteX0" fmla="*/ 137054 w 165149"/>
                <a:gd name="connsiteY0" fmla="*/ -2112 h 113476"/>
                <a:gd name="connsiteX1" fmla="*/ 136879 w 165149"/>
                <a:gd name="connsiteY1" fmla="*/ -2112 h 113476"/>
                <a:gd name="connsiteX2" fmla="*/ 133275 w 165149"/>
                <a:gd name="connsiteY2" fmla="*/ -2089 h 113476"/>
                <a:gd name="connsiteX3" fmla="*/ 120382 w 165149"/>
                <a:gd name="connsiteY3" fmla="*/ 3443 h 113476"/>
                <a:gd name="connsiteX4" fmla="*/ 127742 w 165149"/>
                <a:gd name="connsiteY4" fmla="*/ -2044 h 113476"/>
                <a:gd name="connsiteX5" fmla="*/ 18014 w 165149"/>
                <a:gd name="connsiteY5" fmla="*/ -1160 h 113476"/>
                <a:gd name="connsiteX6" fmla="*/ -4663 w 165149"/>
                <a:gd name="connsiteY6" fmla="*/ 21883 h 113476"/>
                <a:gd name="connsiteX7" fmla="*/ -4221 w 165149"/>
                <a:gd name="connsiteY7" fmla="*/ 76930 h 113476"/>
                <a:gd name="connsiteX8" fmla="*/ 12307 w 165149"/>
                <a:gd name="connsiteY8" fmla="*/ 70423 h 113476"/>
                <a:gd name="connsiteX9" fmla="*/ 74943 w 165149"/>
                <a:gd name="connsiteY9" fmla="*/ 34449 h 113476"/>
                <a:gd name="connsiteX10" fmla="*/ 71438 w 165149"/>
                <a:gd name="connsiteY10" fmla="*/ 74690 h 113476"/>
                <a:gd name="connsiteX11" fmla="*/ 121540 w 165149"/>
                <a:gd name="connsiteY11" fmla="*/ 111365 h 113476"/>
                <a:gd name="connsiteX12" fmla="*/ 137427 w 165149"/>
                <a:gd name="connsiteY12" fmla="*/ 108904 h 113476"/>
                <a:gd name="connsiteX13" fmla="*/ 157994 w 165149"/>
                <a:gd name="connsiteY13" fmla="*/ 101535 h 113476"/>
                <a:gd name="connsiteX14" fmla="*/ 160486 w 165149"/>
                <a:gd name="connsiteY14" fmla="*/ 91012 h 113476"/>
                <a:gd name="connsiteX15" fmla="*/ 159914 w 165149"/>
                <a:gd name="connsiteY15" fmla="*/ 20557 h 113476"/>
                <a:gd name="connsiteX16" fmla="*/ 137054 w 165149"/>
                <a:gd name="connsiteY16" fmla="*/ -2112 h 113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5149" h="113476">
                  <a:moveTo>
                    <a:pt x="137054" y="-2112"/>
                  </a:moveTo>
                  <a:cubicBezTo>
                    <a:pt x="137001" y="-2112"/>
                    <a:pt x="136932" y="-2112"/>
                    <a:pt x="136879" y="-2112"/>
                  </a:cubicBezTo>
                  <a:lnTo>
                    <a:pt x="133275" y="-2089"/>
                  </a:lnTo>
                  <a:cubicBezTo>
                    <a:pt x="128992" y="-108"/>
                    <a:pt x="124694" y="1736"/>
                    <a:pt x="120382" y="3443"/>
                  </a:cubicBezTo>
                  <a:cubicBezTo>
                    <a:pt x="122843" y="1629"/>
                    <a:pt x="125296" y="-200"/>
                    <a:pt x="127742" y="-2044"/>
                  </a:cubicBezTo>
                  <a:lnTo>
                    <a:pt x="18014" y="-1160"/>
                  </a:lnTo>
                  <a:cubicBezTo>
                    <a:pt x="5441" y="-1061"/>
                    <a:pt x="-4762" y="9310"/>
                    <a:pt x="-4663" y="21883"/>
                  </a:cubicBezTo>
                  <a:lnTo>
                    <a:pt x="-4221" y="76930"/>
                  </a:lnTo>
                  <a:cubicBezTo>
                    <a:pt x="1220" y="75467"/>
                    <a:pt x="6775" y="73257"/>
                    <a:pt x="12307" y="70423"/>
                  </a:cubicBezTo>
                  <a:cubicBezTo>
                    <a:pt x="33712" y="59526"/>
                    <a:pt x="54522" y="47410"/>
                    <a:pt x="74943" y="34449"/>
                  </a:cubicBezTo>
                  <a:cubicBezTo>
                    <a:pt x="68687" y="46488"/>
                    <a:pt x="67019" y="60814"/>
                    <a:pt x="71438" y="74690"/>
                  </a:cubicBezTo>
                  <a:cubicBezTo>
                    <a:pt x="78525" y="97070"/>
                    <a:pt x="99236" y="111365"/>
                    <a:pt x="121540" y="111365"/>
                  </a:cubicBezTo>
                  <a:cubicBezTo>
                    <a:pt x="126798" y="111365"/>
                    <a:pt x="132147" y="110572"/>
                    <a:pt x="137427" y="108904"/>
                  </a:cubicBezTo>
                  <a:cubicBezTo>
                    <a:pt x="144324" y="106709"/>
                    <a:pt x="151174" y="104248"/>
                    <a:pt x="157994" y="101535"/>
                  </a:cubicBezTo>
                  <a:cubicBezTo>
                    <a:pt x="159617" y="98373"/>
                    <a:pt x="160516" y="94791"/>
                    <a:pt x="160486" y="91012"/>
                  </a:cubicBezTo>
                  <a:lnTo>
                    <a:pt x="159914" y="20557"/>
                  </a:lnTo>
                  <a:cubicBezTo>
                    <a:pt x="159815" y="8045"/>
                    <a:pt x="149543" y="-2120"/>
                    <a:pt x="137054" y="-2112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B307F6B7-E7FE-2E06-D81D-CFAB6C6A3DBE}"/>
                </a:ext>
              </a:extLst>
            </p:cNvPr>
            <p:cNvSpPr/>
            <p:nvPr/>
          </p:nvSpPr>
          <p:spPr>
            <a:xfrm flipV="1">
              <a:off x="5433224" y="5376959"/>
              <a:ext cx="2904" cy="26262"/>
            </a:xfrm>
            <a:custGeom>
              <a:avLst/>
              <a:gdLst>
                <a:gd name="connsiteX0" fmla="*/ -3151 w 4359"/>
                <a:gd name="connsiteY0" fmla="*/ -2078 h 39425"/>
                <a:gd name="connsiteX1" fmla="*/ -149 w 4359"/>
                <a:gd name="connsiteY1" fmla="*/ 37348 h 39425"/>
                <a:gd name="connsiteX2" fmla="*/ -385 w 4359"/>
                <a:gd name="connsiteY2" fmla="*/ 8605 h 39425"/>
                <a:gd name="connsiteX3" fmla="*/ -3151 w 4359"/>
                <a:gd name="connsiteY3" fmla="*/ -2078 h 3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9" h="39425">
                  <a:moveTo>
                    <a:pt x="-3151" y="-2078"/>
                  </a:moveTo>
                  <a:cubicBezTo>
                    <a:pt x="-5704" y="10991"/>
                    <a:pt x="-4630" y="25293"/>
                    <a:pt x="-149" y="37348"/>
                  </a:cubicBezTo>
                  <a:lnTo>
                    <a:pt x="-385" y="8605"/>
                  </a:lnTo>
                  <a:cubicBezTo>
                    <a:pt x="-416" y="4742"/>
                    <a:pt x="-1414" y="1108"/>
                    <a:pt x="-3151" y="-2078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F10974B2-D3C6-49F2-93EB-FD58B2ECA39A}"/>
                </a:ext>
              </a:extLst>
            </p:cNvPr>
            <p:cNvSpPr/>
            <p:nvPr/>
          </p:nvSpPr>
          <p:spPr>
            <a:xfrm flipV="1">
              <a:off x="5614238" y="5339215"/>
              <a:ext cx="173659" cy="74584"/>
            </a:xfrm>
            <a:custGeom>
              <a:avLst/>
              <a:gdLst>
                <a:gd name="connsiteX0" fmla="*/ 255740 w 260703"/>
                <a:gd name="connsiteY0" fmla="*/ -2108 h 111968"/>
                <a:gd name="connsiteX1" fmla="*/ 228544 w 260703"/>
                <a:gd name="connsiteY1" fmla="*/ -1887 h 111968"/>
                <a:gd name="connsiteX2" fmla="*/ 141386 w 260703"/>
                <a:gd name="connsiteY2" fmla="*/ -1186 h 111968"/>
                <a:gd name="connsiteX3" fmla="*/ 108742 w 260703"/>
                <a:gd name="connsiteY3" fmla="*/ -927 h 111968"/>
                <a:gd name="connsiteX4" fmla="*/ 74871 w 260703"/>
                <a:gd name="connsiteY4" fmla="*/ 18100 h 111968"/>
                <a:gd name="connsiteX5" fmla="*/ 95460 w 260703"/>
                <a:gd name="connsiteY5" fmla="*/ -820 h 111968"/>
                <a:gd name="connsiteX6" fmla="*/ 12540 w 260703"/>
                <a:gd name="connsiteY6" fmla="*/ -150 h 111968"/>
                <a:gd name="connsiteX7" fmla="*/ -4964 w 260703"/>
                <a:gd name="connsiteY7" fmla="*/ -12 h 111968"/>
                <a:gd name="connsiteX8" fmla="*/ -4811 w 260703"/>
                <a:gd name="connsiteY8" fmla="*/ 18215 h 111968"/>
                <a:gd name="connsiteX9" fmla="*/ -4338 w 260703"/>
                <a:gd name="connsiteY9" fmla="*/ 76668 h 111968"/>
                <a:gd name="connsiteX10" fmla="*/ 49482 w 260703"/>
                <a:gd name="connsiteY10" fmla="*/ 39276 h 111968"/>
                <a:gd name="connsiteX11" fmla="*/ 48186 w 260703"/>
                <a:gd name="connsiteY11" fmla="*/ 84768 h 111968"/>
                <a:gd name="connsiteX12" fmla="*/ 89654 w 260703"/>
                <a:gd name="connsiteY12" fmla="*/ 109860 h 111968"/>
                <a:gd name="connsiteX13" fmla="*/ 111196 w 260703"/>
                <a:gd name="connsiteY13" fmla="*/ 104572 h 111968"/>
                <a:gd name="connsiteX14" fmla="*/ 254993 w 260703"/>
                <a:gd name="connsiteY14" fmla="*/ -1186 h 111968"/>
                <a:gd name="connsiteX15" fmla="*/ 255740 w 260703"/>
                <a:gd name="connsiteY15" fmla="*/ -2108 h 111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0703" h="111968">
                  <a:moveTo>
                    <a:pt x="255740" y="-2108"/>
                  </a:moveTo>
                  <a:lnTo>
                    <a:pt x="228544" y="-1887"/>
                  </a:lnTo>
                  <a:lnTo>
                    <a:pt x="141386" y="-1186"/>
                  </a:lnTo>
                  <a:lnTo>
                    <a:pt x="108742" y="-927"/>
                  </a:lnTo>
                  <a:cubicBezTo>
                    <a:pt x="97274" y="5977"/>
                    <a:pt x="85783" y="12317"/>
                    <a:pt x="74871" y="18100"/>
                  </a:cubicBezTo>
                  <a:cubicBezTo>
                    <a:pt x="81843" y="11951"/>
                    <a:pt x="88709" y="5634"/>
                    <a:pt x="95460" y="-820"/>
                  </a:cubicBezTo>
                  <a:lnTo>
                    <a:pt x="12540" y="-150"/>
                  </a:lnTo>
                  <a:lnTo>
                    <a:pt x="-4964" y="-12"/>
                  </a:lnTo>
                  <a:lnTo>
                    <a:pt x="-4811" y="18215"/>
                  </a:lnTo>
                  <a:lnTo>
                    <a:pt x="-4338" y="76668"/>
                  </a:lnTo>
                  <a:cubicBezTo>
                    <a:pt x="14071" y="65649"/>
                    <a:pt x="32047" y="53053"/>
                    <a:pt x="49482" y="39276"/>
                  </a:cubicBezTo>
                  <a:cubicBezTo>
                    <a:pt x="41557" y="52687"/>
                    <a:pt x="40406" y="69832"/>
                    <a:pt x="48186" y="84768"/>
                  </a:cubicBezTo>
                  <a:cubicBezTo>
                    <a:pt x="56537" y="100732"/>
                    <a:pt x="72814" y="109860"/>
                    <a:pt x="89654" y="109860"/>
                  </a:cubicBezTo>
                  <a:cubicBezTo>
                    <a:pt x="96931" y="109860"/>
                    <a:pt x="104308" y="108161"/>
                    <a:pt x="111196" y="104572"/>
                  </a:cubicBezTo>
                  <a:cubicBezTo>
                    <a:pt x="157678" y="80348"/>
                    <a:pt x="215971" y="46439"/>
                    <a:pt x="254993" y="-1186"/>
                  </a:cubicBezTo>
                  <a:cubicBezTo>
                    <a:pt x="255244" y="-1498"/>
                    <a:pt x="255488" y="-1803"/>
                    <a:pt x="255740" y="-2108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8575ACF6-0C92-95B7-1C76-ED58610B66AB}"/>
                </a:ext>
              </a:extLst>
            </p:cNvPr>
            <p:cNvSpPr/>
            <p:nvPr/>
          </p:nvSpPr>
          <p:spPr>
            <a:xfrm flipV="1">
              <a:off x="5393607" y="5434051"/>
              <a:ext cx="188689" cy="73751"/>
            </a:xfrm>
            <a:custGeom>
              <a:avLst/>
              <a:gdLst>
                <a:gd name="connsiteX0" fmla="*/ 255305 w 283267"/>
                <a:gd name="connsiteY0" fmla="*/ -1897 h 110718"/>
                <a:gd name="connsiteX1" fmla="*/ 255121 w 283267"/>
                <a:gd name="connsiteY1" fmla="*/ -1897 h 110718"/>
                <a:gd name="connsiteX2" fmla="*/ 248919 w 283267"/>
                <a:gd name="connsiteY2" fmla="*/ -1844 h 110718"/>
                <a:gd name="connsiteX3" fmla="*/ 102409 w 283267"/>
                <a:gd name="connsiteY3" fmla="*/ 108082 h 110718"/>
                <a:gd name="connsiteX4" fmla="*/ 255998 w 283267"/>
                <a:gd name="connsiteY4" fmla="*/ 106840 h 110718"/>
                <a:gd name="connsiteX5" fmla="*/ 278668 w 283267"/>
                <a:gd name="connsiteY5" fmla="*/ 83797 h 110718"/>
                <a:gd name="connsiteX6" fmla="*/ 278157 w 283267"/>
                <a:gd name="connsiteY6" fmla="*/ 20780 h 110718"/>
                <a:gd name="connsiteX7" fmla="*/ 255305 w 283267"/>
                <a:gd name="connsiteY7" fmla="*/ -1897 h 110718"/>
                <a:gd name="connsiteX8" fmla="*/ 226204 w 283267"/>
                <a:gd name="connsiteY8" fmla="*/ -1661 h 110718"/>
                <a:gd name="connsiteX9" fmla="*/ 60949 w 283267"/>
                <a:gd name="connsiteY9" fmla="*/ -335 h 110718"/>
                <a:gd name="connsiteX10" fmla="*/ 19724 w 283267"/>
                <a:gd name="connsiteY10" fmla="*/ 27440 h 110718"/>
                <a:gd name="connsiteX11" fmla="*/ 3647 w 283267"/>
                <a:gd name="connsiteY11" fmla="*/ 99982 h 110718"/>
                <a:gd name="connsiteX12" fmla="*/ 10687 w 283267"/>
                <a:gd name="connsiteY12" fmla="*/ 108822 h 110718"/>
                <a:gd name="connsiteX13" fmla="*/ 88365 w 283267"/>
                <a:gd name="connsiteY13" fmla="*/ 108197 h 110718"/>
                <a:gd name="connsiteX14" fmla="*/ 226204 w 283267"/>
                <a:gd name="connsiteY14" fmla="*/ -1661 h 110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3267" h="110718">
                  <a:moveTo>
                    <a:pt x="255305" y="-1897"/>
                  </a:moveTo>
                  <a:cubicBezTo>
                    <a:pt x="255243" y="-1897"/>
                    <a:pt x="255182" y="-1897"/>
                    <a:pt x="255121" y="-1897"/>
                  </a:cubicBezTo>
                  <a:lnTo>
                    <a:pt x="248919" y="-1844"/>
                  </a:lnTo>
                  <a:cubicBezTo>
                    <a:pt x="203100" y="42299"/>
                    <a:pt x="154401" y="78822"/>
                    <a:pt x="102409" y="108082"/>
                  </a:cubicBezTo>
                  <a:lnTo>
                    <a:pt x="255998" y="106840"/>
                  </a:lnTo>
                  <a:cubicBezTo>
                    <a:pt x="268563" y="106741"/>
                    <a:pt x="278767" y="96370"/>
                    <a:pt x="278668" y="83797"/>
                  </a:cubicBezTo>
                  <a:lnTo>
                    <a:pt x="278157" y="20780"/>
                  </a:lnTo>
                  <a:cubicBezTo>
                    <a:pt x="278058" y="8268"/>
                    <a:pt x="267786" y="-1897"/>
                    <a:pt x="255305" y="-1897"/>
                  </a:cubicBezTo>
                  <a:moveTo>
                    <a:pt x="226204" y="-1661"/>
                  </a:moveTo>
                  <a:lnTo>
                    <a:pt x="60949" y="-335"/>
                  </a:lnTo>
                  <a:cubicBezTo>
                    <a:pt x="47888" y="8992"/>
                    <a:pt x="34165" y="18250"/>
                    <a:pt x="19724" y="27440"/>
                  </a:cubicBezTo>
                  <a:cubicBezTo>
                    <a:pt x="-4735" y="43069"/>
                    <a:pt x="-11974" y="75522"/>
                    <a:pt x="3647" y="99982"/>
                  </a:cubicBezTo>
                  <a:cubicBezTo>
                    <a:pt x="5719" y="103236"/>
                    <a:pt x="8081" y="106185"/>
                    <a:pt x="10687" y="108822"/>
                  </a:cubicBezTo>
                  <a:lnTo>
                    <a:pt x="88365" y="108197"/>
                  </a:lnTo>
                  <a:cubicBezTo>
                    <a:pt x="142345" y="72809"/>
                    <a:pt x="187075" y="36508"/>
                    <a:pt x="226204" y="-1661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8416CB70-BC56-FAE5-F292-46D4DB6A9741}"/>
                </a:ext>
              </a:extLst>
            </p:cNvPr>
            <p:cNvSpPr/>
            <p:nvPr/>
          </p:nvSpPr>
          <p:spPr>
            <a:xfrm flipV="1">
              <a:off x="5613486" y="5436361"/>
              <a:ext cx="109917" cy="73076"/>
            </a:xfrm>
            <a:custGeom>
              <a:avLst/>
              <a:gdLst>
                <a:gd name="connsiteX0" fmla="*/ 136810 w 165012"/>
                <a:gd name="connsiteY0" fmla="*/ -1893 h 109705"/>
                <a:gd name="connsiteX1" fmla="*/ 136627 w 165012"/>
                <a:gd name="connsiteY1" fmla="*/ -1893 h 109705"/>
                <a:gd name="connsiteX2" fmla="*/ 86846 w 165012"/>
                <a:gd name="connsiteY2" fmla="*/ -1489 h 109705"/>
                <a:gd name="connsiteX3" fmla="*/ -3124 w 165012"/>
                <a:gd name="connsiteY3" fmla="*/ 92458 h 109705"/>
                <a:gd name="connsiteX4" fmla="*/ 18463 w 165012"/>
                <a:gd name="connsiteY4" fmla="*/ 107812 h 109705"/>
                <a:gd name="connsiteX5" fmla="*/ 18647 w 165012"/>
                <a:gd name="connsiteY5" fmla="*/ 107812 h 109705"/>
                <a:gd name="connsiteX6" fmla="*/ 131880 w 165012"/>
                <a:gd name="connsiteY6" fmla="*/ 106890 h 109705"/>
                <a:gd name="connsiteX7" fmla="*/ 160104 w 165012"/>
                <a:gd name="connsiteY7" fmla="*/ 74391 h 109705"/>
                <a:gd name="connsiteX8" fmla="*/ 159670 w 165012"/>
                <a:gd name="connsiteY8" fmla="*/ 20792 h 109705"/>
                <a:gd name="connsiteX9" fmla="*/ 136810 w 165012"/>
                <a:gd name="connsiteY9" fmla="*/ -1893 h 109705"/>
                <a:gd name="connsiteX10" fmla="*/ 63658 w 165012"/>
                <a:gd name="connsiteY10" fmla="*/ -1298 h 109705"/>
                <a:gd name="connsiteX11" fmla="*/ 17770 w 165012"/>
                <a:gd name="connsiteY11" fmla="*/ -933 h 109705"/>
                <a:gd name="connsiteX12" fmla="*/ -4907 w 165012"/>
                <a:gd name="connsiteY12" fmla="*/ 22118 h 109705"/>
                <a:gd name="connsiteX13" fmla="*/ -4503 w 165012"/>
                <a:gd name="connsiteY13" fmla="*/ 72471 h 109705"/>
                <a:gd name="connsiteX14" fmla="*/ 63658 w 165012"/>
                <a:gd name="connsiteY14" fmla="*/ -1298 h 10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5012" h="109705">
                  <a:moveTo>
                    <a:pt x="136810" y="-1893"/>
                  </a:moveTo>
                  <a:cubicBezTo>
                    <a:pt x="136749" y="-1893"/>
                    <a:pt x="136688" y="-1893"/>
                    <a:pt x="136627" y="-1893"/>
                  </a:cubicBezTo>
                  <a:lnTo>
                    <a:pt x="86846" y="-1489"/>
                  </a:lnTo>
                  <a:cubicBezTo>
                    <a:pt x="60427" y="31894"/>
                    <a:pt x="29901" y="64866"/>
                    <a:pt x="-3124" y="92458"/>
                  </a:cubicBezTo>
                  <a:cubicBezTo>
                    <a:pt x="0" y="101381"/>
                    <a:pt x="8527" y="107812"/>
                    <a:pt x="18463" y="107812"/>
                  </a:cubicBezTo>
                  <a:cubicBezTo>
                    <a:pt x="18524" y="107812"/>
                    <a:pt x="18586" y="107812"/>
                    <a:pt x="18647" y="107812"/>
                  </a:cubicBezTo>
                  <a:lnTo>
                    <a:pt x="131880" y="106890"/>
                  </a:lnTo>
                  <a:cubicBezTo>
                    <a:pt x="141633" y="96238"/>
                    <a:pt x="151051" y="85364"/>
                    <a:pt x="160104" y="74391"/>
                  </a:cubicBezTo>
                  <a:lnTo>
                    <a:pt x="159670" y="20792"/>
                  </a:lnTo>
                  <a:cubicBezTo>
                    <a:pt x="159571" y="8280"/>
                    <a:pt x="149299" y="-1893"/>
                    <a:pt x="136810" y="-1893"/>
                  </a:cubicBezTo>
                  <a:moveTo>
                    <a:pt x="63658" y="-1298"/>
                  </a:moveTo>
                  <a:lnTo>
                    <a:pt x="17770" y="-933"/>
                  </a:lnTo>
                  <a:cubicBezTo>
                    <a:pt x="5197" y="-826"/>
                    <a:pt x="-5013" y="9545"/>
                    <a:pt x="-4907" y="22118"/>
                  </a:cubicBezTo>
                  <a:lnTo>
                    <a:pt x="-4503" y="72471"/>
                  </a:lnTo>
                  <a:cubicBezTo>
                    <a:pt x="18929" y="49626"/>
                    <a:pt x="41636" y="25044"/>
                    <a:pt x="63658" y="-1298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AB6A4EAE-B87C-12F8-DED4-E16372391B65}"/>
                </a:ext>
              </a:extLst>
            </p:cNvPr>
            <p:cNvSpPr/>
            <p:nvPr/>
          </p:nvSpPr>
          <p:spPr>
            <a:xfrm flipV="1">
              <a:off x="5758908" y="5436543"/>
              <a:ext cx="80071" cy="72959"/>
            </a:xfrm>
            <a:custGeom>
              <a:avLst/>
              <a:gdLst>
                <a:gd name="connsiteX0" fmla="*/ 115075 w 120205"/>
                <a:gd name="connsiteY0" fmla="*/ -1892 h 109529"/>
                <a:gd name="connsiteX1" fmla="*/ 17402 w 120205"/>
                <a:gd name="connsiteY1" fmla="*/ -1108 h 109529"/>
                <a:gd name="connsiteX2" fmla="*/ 13942 w 120205"/>
                <a:gd name="connsiteY2" fmla="*/ -810 h 109529"/>
                <a:gd name="connsiteX3" fmla="*/ -5131 w 120205"/>
                <a:gd name="connsiteY3" fmla="*/ 38936 h 109529"/>
                <a:gd name="connsiteX4" fmla="*/ -4765 w 120205"/>
                <a:gd name="connsiteY4" fmla="*/ 84960 h 109529"/>
                <a:gd name="connsiteX5" fmla="*/ 18088 w 120205"/>
                <a:gd name="connsiteY5" fmla="*/ 107637 h 109529"/>
                <a:gd name="connsiteX6" fmla="*/ 18286 w 120205"/>
                <a:gd name="connsiteY6" fmla="*/ 107630 h 109529"/>
                <a:gd name="connsiteX7" fmla="*/ 63084 w 120205"/>
                <a:gd name="connsiteY7" fmla="*/ 107272 h 109529"/>
                <a:gd name="connsiteX8" fmla="*/ 115075 w 120205"/>
                <a:gd name="connsiteY8" fmla="*/ -1892 h 10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205" h="109529">
                  <a:moveTo>
                    <a:pt x="115075" y="-1892"/>
                  </a:moveTo>
                  <a:lnTo>
                    <a:pt x="17402" y="-1108"/>
                  </a:lnTo>
                  <a:cubicBezTo>
                    <a:pt x="16228" y="-1092"/>
                    <a:pt x="15070" y="-993"/>
                    <a:pt x="13942" y="-810"/>
                  </a:cubicBezTo>
                  <a:cubicBezTo>
                    <a:pt x="7999" y="13043"/>
                    <a:pt x="1750" y="26309"/>
                    <a:pt x="-5131" y="38936"/>
                  </a:cubicBezTo>
                  <a:lnTo>
                    <a:pt x="-4765" y="84960"/>
                  </a:lnTo>
                  <a:cubicBezTo>
                    <a:pt x="-4658" y="97465"/>
                    <a:pt x="5598" y="107637"/>
                    <a:pt x="18088" y="107637"/>
                  </a:cubicBezTo>
                  <a:cubicBezTo>
                    <a:pt x="18156" y="107637"/>
                    <a:pt x="18217" y="107630"/>
                    <a:pt x="18286" y="107630"/>
                  </a:cubicBezTo>
                  <a:lnTo>
                    <a:pt x="63084" y="107272"/>
                  </a:lnTo>
                  <a:cubicBezTo>
                    <a:pt x="84785" y="72966"/>
                    <a:pt x="100521" y="36307"/>
                    <a:pt x="115075" y="-1892"/>
                  </a:cubicBezTo>
                </a:path>
              </a:pathLst>
            </a:custGeom>
            <a:solidFill>
              <a:srgbClr val="4E4A5A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ADB9B8D4-3CE9-0440-016E-1FEA88F301A6}"/>
                </a:ext>
              </a:extLst>
            </p:cNvPr>
            <p:cNvSpPr/>
            <p:nvPr/>
          </p:nvSpPr>
          <p:spPr>
            <a:xfrm flipV="1">
              <a:off x="5560171" y="5399815"/>
              <a:ext cx="756935" cy="724947"/>
            </a:xfrm>
            <a:custGeom>
              <a:avLst/>
              <a:gdLst>
                <a:gd name="connsiteX0" fmla="*/ 51217 w 1136340"/>
                <a:gd name="connsiteY0" fmla="*/ 534561 h 1088318"/>
                <a:gd name="connsiteX1" fmla="*/ 273881 w 1136340"/>
                <a:gd name="connsiteY1" fmla="*/ 435303 h 1088318"/>
                <a:gd name="connsiteX2" fmla="*/ 385438 w 1136340"/>
                <a:gd name="connsiteY2" fmla="*/ 427401 h 1088318"/>
                <a:gd name="connsiteX3" fmla="*/ 497543 w 1136340"/>
                <a:gd name="connsiteY3" fmla="*/ 296543 h 1088318"/>
                <a:gd name="connsiteX4" fmla="*/ 564759 w 1136340"/>
                <a:gd name="connsiteY4" fmla="*/ 191730 h 1088318"/>
                <a:gd name="connsiteX5" fmla="*/ 905229 w 1136340"/>
                <a:gd name="connsiteY5" fmla="*/ -1247 h 1088318"/>
                <a:gd name="connsiteX6" fmla="*/ 1130971 w 1136340"/>
                <a:gd name="connsiteY6" fmla="*/ 84997 h 1088318"/>
                <a:gd name="connsiteX7" fmla="*/ 891863 w 1136340"/>
                <a:gd name="connsiteY7" fmla="*/ 412527 h 1088318"/>
                <a:gd name="connsiteX8" fmla="*/ 824342 w 1136340"/>
                <a:gd name="connsiteY8" fmla="*/ 453332 h 1088318"/>
                <a:gd name="connsiteX9" fmla="*/ 690840 w 1136340"/>
                <a:gd name="connsiteY9" fmla="*/ 615981 h 1088318"/>
                <a:gd name="connsiteX10" fmla="*/ 671508 w 1136340"/>
                <a:gd name="connsiteY10" fmla="*/ 759961 h 1088318"/>
                <a:gd name="connsiteX11" fmla="*/ 451877 w 1136340"/>
                <a:gd name="connsiteY11" fmla="*/ 1078698 h 1088318"/>
                <a:gd name="connsiteX12" fmla="*/ 447716 w 1136340"/>
                <a:gd name="connsiteY12" fmla="*/ 1080512 h 1088318"/>
                <a:gd name="connsiteX13" fmla="*/ 436058 w 1136340"/>
                <a:gd name="connsiteY13" fmla="*/ 1085076 h 1088318"/>
                <a:gd name="connsiteX14" fmla="*/ 407231 w 1136340"/>
                <a:gd name="connsiteY14" fmla="*/ 1085221 h 1088318"/>
                <a:gd name="connsiteX15" fmla="*/ 385065 w 1136340"/>
                <a:gd name="connsiteY15" fmla="*/ 1073448 h 1088318"/>
                <a:gd name="connsiteX16" fmla="*/ 380774 w 1136340"/>
                <a:gd name="connsiteY16" fmla="*/ 1041543 h 1088318"/>
                <a:gd name="connsiteX17" fmla="*/ 353960 w 1136340"/>
                <a:gd name="connsiteY17" fmla="*/ 1049201 h 1088318"/>
                <a:gd name="connsiteX18" fmla="*/ 336891 w 1136340"/>
                <a:gd name="connsiteY18" fmla="*/ 1039325 h 1088318"/>
                <a:gd name="connsiteX19" fmla="*/ 267236 w 1136340"/>
                <a:gd name="connsiteY19" fmla="*/ 1034837 h 1088318"/>
                <a:gd name="connsiteX20" fmla="*/ 246304 w 1136340"/>
                <a:gd name="connsiteY20" fmla="*/ 986786 h 1088318"/>
                <a:gd name="connsiteX21" fmla="*/ 234463 w 1136340"/>
                <a:gd name="connsiteY21" fmla="*/ 980042 h 1088318"/>
                <a:gd name="connsiteX22" fmla="*/ 207343 w 1136340"/>
                <a:gd name="connsiteY22" fmla="*/ 976361 h 1088318"/>
                <a:gd name="connsiteX23" fmla="*/ 130976 w 1136340"/>
                <a:gd name="connsiteY23" fmla="*/ 978076 h 1088318"/>
                <a:gd name="connsiteX24" fmla="*/ 114295 w 1136340"/>
                <a:gd name="connsiteY24" fmla="*/ 927807 h 1088318"/>
                <a:gd name="connsiteX25" fmla="*/ 78801 w 1136340"/>
                <a:gd name="connsiteY25" fmla="*/ 905975 h 1088318"/>
                <a:gd name="connsiteX26" fmla="*/ -5369 w 1136340"/>
                <a:gd name="connsiteY26" fmla="*/ 891078 h 1088318"/>
                <a:gd name="connsiteX27" fmla="*/ 47674 w 1136340"/>
                <a:gd name="connsiteY27" fmla="*/ 834751 h 1088318"/>
                <a:gd name="connsiteX28" fmla="*/ 40298 w 1136340"/>
                <a:gd name="connsiteY28" fmla="*/ 766865 h 1088318"/>
                <a:gd name="connsiteX29" fmla="*/ 106127 w 1136340"/>
                <a:gd name="connsiteY29" fmla="*/ 662501 h 1088318"/>
                <a:gd name="connsiteX30" fmla="*/ 51217 w 1136340"/>
                <a:gd name="connsiteY30" fmla="*/ 534561 h 108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36340" h="1088318">
                  <a:moveTo>
                    <a:pt x="51217" y="534561"/>
                  </a:moveTo>
                  <a:lnTo>
                    <a:pt x="273881" y="435303"/>
                  </a:lnTo>
                  <a:cubicBezTo>
                    <a:pt x="312575" y="420871"/>
                    <a:pt x="365961" y="417107"/>
                    <a:pt x="385438" y="427401"/>
                  </a:cubicBezTo>
                  <a:lnTo>
                    <a:pt x="497543" y="296543"/>
                  </a:lnTo>
                  <a:lnTo>
                    <a:pt x="564759" y="191730"/>
                  </a:lnTo>
                  <a:lnTo>
                    <a:pt x="905229" y="-1247"/>
                  </a:lnTo>
                  <a:lnTo>
                    <a:pt x="1130971" y="84997"/>
                  </a:lnTo>
                  <a:cubicBezTo>
                    <a:pt x="1031088" y="181184"/>
                    <a:pt x="984240" y="312858"/>
                    <a:pt x="891863" y="412527"/>
                  </a:cubicBezTo>
                  <a:cubicBezTo>
                    <a:pt x="876501" y="428834"/>
                    <a:pt x="839277" y="436919"/>
                    <a:pt x="824342" y="453332"/>
                  </a:cubicBezTo>
                  <a:cubicBezTo>
                    <a:pt x="775780" y="506642"/>
                    <a:pt x="737208" y="561689"/>
                    <a:pt x="690840" y="615981"/>
                  </a:cubicBezTo>
                  <a:cubicBezTo>
                    <a:pt x="703436" y="662036"/>
                    <a:pt x="703497" y="699184"/>
                    <a:pt x="671508" y="759961"/>
                  </a:cubicBezTo>
                  <a:lnTo>
                    <a:pt x="451877" y="1078698"/>
                  </a:lnTo>
                  <a:cubicBezTo>
                    <a:pt x="446520" y="1081632"/>
                    <a:pt x="451877" y="1078698"/>
                    <a:pt x="447716" y="1080512"/>
                  </a:cubicBezTo>
                  <a:cubicBezTo>
                    <a:pt x="443632" y="1082790"/>
                    <a:pt x="439746" y="1084329"/>
                    <a:pt x="436058" y="1085076"/>
                  </a:cubicBezTo>
                  <a:cubicBezTo>
                    <a:pt x="426258" y="1087690"/>
                    <a:pt x="416672" y="1087735"/>
                    <a:pt x="407231" y="1085221"/>
                  </a:cubicBezTo>
                  <a:cubicBezTo>
                    <a:pt x="401166" y="1083026"/>
                    <a:pt x="393828" y="1079079"/>
                    <a:pt x="385065" y="1073448"/>
                  </a:cubicBezTo>
                  <a:cubicBezTo>
                    <a:pt x="376942" y="1066727"/>
                    <a:pt x="384013" y="1049597"/>
                    <a:pt x="380774" y="1041543"/>
                  </a:cubicBezTo>
                  <a:cubicBezTo>
                    <a:pt x="377986" y="1036605"/>
                    <a:pt x="353960" y="1049201"/>
                    <a:pt x="353960" y="1049201"/>
                  </a:cubicBezTo>
                  <a:cubicBezTo>
                    <a:pt x="353960" y="1049201"/>
                    <a:pt x="354310" y="1027507"/>
                    <a:pt x="336891" y="1039325"/>
                  </a:cubicBezTo>
                  <a:cubicBezTo>
                    <a:pt x="308331" y="1055427"/>
                    <a:pt x="295202" y="1056417"/>
                    <a:pt x="267236" y="1034837"/>
                  </a:cubicBezTo>
                  <a:cubicBezTo>
                    <a:pt x="250335" y="1021899"/>
                    <a:pt x="248537" y="1003740"/>
                    <a:pt x="246304" y="986786"/>
                  </a:cubicBezTo>
                  <a:cubicBezTo>
                    <a:pt x="245786" y="983738"/>
                    <a:pt x="234242" y="982610"/>
                    <a:pt x="234463" y="980042"/>
                  </a:cubicBezTo>
                  <a:cubicBezTo>
                    <a:pt x="240345" y="975927"/>
                    <a:pt x="227094" y="958005"/>
                    <a:pt x="207343" y="976361"/>
                  </a:cubicBezTo>
                  <a:cubicBezTo>
                    <a:pt x="174631" y="994809"/>
                    <a:pt x="163124" y="1001827"/>
                    <a:pt x="130976" y="978076"/>
                  </a:cubicBezTo>
                  <a:cubicBezTo>
                    <a:pt x="114798" y="965617"/>
                    <a:pt x="118113" y="943100"/>
                    <a:pt x="114295" y="927807"/>
                  </a:cubicBezTo>
                  <a:cubicBezTo>
                    <a:pt x="108596" y="909557"/>
                    <a:pt x="96571" y="897990"/>
                    <a:pt x="78801" y="905975"/>
                  </a:cubicBezTo>
                  <a:lnTo>
                    <a:pt x="-5369" y="891078"/>
                  </a:lnTo>
                  <a:lnTo>
                    <a:pt x="47674" y="834751"/>
                  </a:lnTo>
                  <a:lnTo>
                    <a:pt x="40298" y="766865"/>
                  </a:lnTo>
                  <a:lnTo>
                    <a:pt x="106127" y="662501"/>
                  </a:lnTo>
                  <a:lnTo>
                    <a:pt x="51217" y="534561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762" cap="flat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6CAA9DD2-7312-4420-810A-E554CF1D6057}"/>
                </a:ext>
              </a:extLst>
            </p:cNvPr>
            <p:cNvSpPr/>
            <p:nvPr/>
          </p:nvSpPr>
          <p:spPr>
            <a:xfrm flipV="1">
              <a:off x="5389669" y="5386008"/>
              <a:ext cx="253216" cy="227234"/>
            </a:xfrm>
            <a:custGeom>
              <a:avLst/>
              <a:gdLst>
                <a:gd name="connsiteX0" fmla="*/ -4648 w 380138"/>
                <a:gd name="connsiteY0" fmla="*/ 339299 h 341132"/>
                <a:gd name="connsiteX1" fmla="*/ 375491 w 380138"/>
                <a:gd name="connsiteY1" fmla="*/ -1833 h 34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0138" h="341132">
                  <a:moveTo>
                    <a:pt x="-4648" y="339299"/>
                  </a:moveTo>
                  <a:cubicBezTo>
                    <a:pt x="179207" y="245360"/>
                    <a:pt x="264665" y="145660"/>
                    <a:pt x="375491" y="-1833"/>
                  </a:cubicBezTo>
                </a:path>
              </a:pathLst>
            </a:custGeom>
            <a:solidFill>
              <a:srgbClr val="4DA5C3">
                <a:lumMod val="20000"/>
                <a:lumOff val="80000"/>
              </a:srgbClr>
            </a:solidFill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A8DA8E65-8340-68E8-21D6-46B249F4F100}"/>
                </a:ext>
              </a:extLst>
            </p:cNvPr>
            <p:cNvSpPr/>
            <p:nvPr/>
          </p:nvSpPr>
          <p:spPr>
            <a:xfrm flipV="1">
              <a:off x="5556556" y="5294634"/>
              <a:ext cx="241768" cy="254486"/>
            </a:xfrm>
            <a:custGeom>
              <a:avLst/>
              <a:gdLst>
                <a:gd name="connsiteX0" fmla="*/ -4923 w 362951"/>
                <a:gd name="connsiteY0" fmla="*/ 380037 h 382044"/>
                <a:gd name="connsiteX1" fmla="*/ 353758 w 362951"/>
                <a:gd name="connsiteY1" fmla="*/ -2007 h 382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2951" h="382044">
                  <a:moveTo>
                    <a:pt x="-4923" y="380037"/>
                  </a:moveTo>
                  <a:cubicBezTo>
                    <a:pt x="206097" y="312562"/>
                    <a:pt x="388497" y="39401"/>
                    <a:pt x="353758" y="-2007"/>
                  </a:cubicBezTo>
                </a:path>
              </a:pathLst>
            </a:custGeom>
            <a:noFill/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2FB20BC2-C80E-471E-FD42-3FF5F7AA9685}"/>
                </a:ext>
              </a:extLst>
            </p:cNvPr>
            <p:cNvSpPr/>
            <p:nvPr/>
          </p:nvSpPr>
          <p:spPr>
            <a:xfrm flipV="1">
              <a:off x="5694354" y="5290918"/>
              <a:ext cx="186804" cy="231873"/>
            </a:xfrm>
            <a:custGeom>
              <a:avLst/>
              <a:gdLst>
                <a:gd name="connsiteX0" fmla="*/ -5112 w 280438"/>
                <a:gd name="connsiteY0" fmla="*/ 346057 h 348096"/>
                <a:gd name="connsiteX1" fmla="*/ 138137 w 280438"/>
                <a:gd name="connsiteY1" fmla="*/ 255889 h 348096"/>
                <a:gd name="connsiteX2" fmla="*/ 275327 w 280438"/>
                <a:gd name="connsiteY2" fmla="*/ -2040 h 348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0438" h="348096">
                  <a:moveTo>
                    <a:pt x="-5112" y="346057"/>
                  </a:moveTo>
                  <a:cubicBezTo>
                    <a:pt x="44548" y="325574"/>
                    <a:pt x="99214" y="295521"/>
                    <a:pt x="138137" y="255889"/>
                  </a:cubicBezTo>
                  <a:cubicBezTo>
                    <a:pt x="206282" y="186494"/>
                    <a:pt x="225096" y="96974"/>
                    <a:pt x="275327" y="-2040"/>
                  </a:cubicBezTo>
                </a:path>
              </a:pathLst>
            </a:custGeom>
            <a:noFill/>
            <a:ln w="101401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658913F7-09D2-220C-98C2-BE12A3FFC94E}"/>
                </a:ext>
              </a:extLst>
            </p:cNvPr>
            <p:cNvSpPr/>
            <p:nvPr/>
          </p:nvSpPr>
          <p:spPr>
            <a:xfrm flipV="1">
              <a:off x="5442239" y="5320399"/>
              <a:ext cx="281986" cy="245852"/>
            </a:xfrm>
            <a:custGeom>
              <a:avLst/>
              <a:gdLst>
                <a:gd name="connsiteX0" fmla="*/ -4762 w 423328"/>
                <a:gd name="connsiteY0" fmla="*/ 367124 h 369082"/>
                <a:gd name="connsiteX1" fmla="*/ 418567 w 423328"/>
                <a:gd name="connsiteY1" fmla="*/ -1959 h 369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3328" h="369082">
                  <a:moveTo>
                    <a:pt x="-4762" y="367124"/>
                  </a:moveTo>
                  <a:cubicBezTo>
                    <a:pt x="176190" y="293812"/>
                    <a:pt x="306637" y="163898"/>
                    <a:pt x="418567" y="-1959"/>
                  </a:cubicBezTo>
                </a:path>
              </a:pathLst>
            </a:custGeom>
            <a:noFill/>
            <a:ln w="114027" cap="rnd">
              <a:solidFill>
                <a:srgbClr val="BFBFB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44BE33B6-D87B-3C3E-B249-2F291AB561DD}"/>
                </a:ext>
              </a:extLst>
            </p:cNvPr>
            <p:cNvSpPr/>
            <p:nvPr/>
          </p:nvSpPr>
          <p:spPr>
            <a:xfrm flipV="1">
              <a:off x="5437630" y="5603624"/>
              <a:ext cx="231563" cy="144239"/>
            </a:xfrm>
            <a:custGeom>
              <a:avLst/>
              <a:gdLst>
                <a:gd name="connsiteX0" fmla="*/ 342921 w 347631"/>
                <a:gd name="connsiteY0" fmla="*/ -1440 h 216537"/>
                <a:gd name="connsiteX1" fmla="*/ 105954 w 347631"/>
                <a:gd name="connsiteY1" fmla="*/ 83302 h 216537"/>
                <a:gd name="connsiteX2" fmla="*/ -4711 w 347631"/>
                <a:gd name="connsiteY2" fmla="*/ 215098 h 21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7631" h="216537">
                  <a:moveTo>
                    <a:pt x="342921" y="-1440"/>
                  </a:moveTo>
                  <a:lnTo>
                    <a:pt x="105954" y="83302"/>
                  </a:lnTo>
                  <a:lnTo>
                    <a:pt x="-4711" y="215098"/>
                  </a:lnTo>
                </a:path>
              </a:pathLst>
            </a:custGeom>
            <a:noFill/>
            <a:ln w="140559" cap="rnd">
              <a:solidFill>
                <a:srgbClr val="BFBFB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57B2E2A8-D01E-8553-68E9-D347CB8321F0}"/>
                </a:ext>
              </a:extLst>
            </p:cNvPr>
            <p:cNvSpPr/>
            <p:nvPr/>
          </p:nvSpPr>
          <p:spPr>
            <a:xfrm flipV="1">
              <a:off x="5874632" y="5768253"/>
              <a:ext cx="247383" cy="203041"/>
            </a:xfrm>
            <a:custGeom>
              <a:avLst/>
              <a:gdLst>
                <a:gd name="connsiteX0" fmla="*/ 77861 w 371383"/>
                <a:gd name="connsiteY0" fmla="*/ -1007 h 304815"/>
                <a:gd name="connsiteX1" fmla="*/ 365912 w 371383"/>
                <a:gd name="connsiteY1" fmla="*/ 199582 h 304815"/>
                <a:gd name="connsiteX2" fmla="*/ 283982 w 371383"/>
                <a:gd name="connsiteY2" fmla="*/ 303809 h 304815"/>
                <a:gd name="connsiteX3" fmla="*/ -5471 w 371383"/>
                <a:gd name="connsiteY3" fmla="*/ 103029 h 304815"/>
                <a:gd name="connsiteX4" fmla="*/ 77861 w 371383"/>
                <a:gd name="connsiteY4" fmla="*/ -1007 h 30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383" h="304815">
                  <a:moveTo>
                    <a:pt x="77861" y="-1007"/>
                  </a:moveTo>
                  <a:lnTo>
                    <a:pt x="365912" y="199582"/>
                  </a:lnTo>
                  <a:lnTo>
                    <a:pt x="283982" y="303809"/>
                  </a:lnTo>
                  <a:lnTo>
                    <a:pt x="-5471" y="103029"/>
                  </a:lnTo>
                  <a:lnTo>
                    <a:pt x="77861" y="-1007"/>
                  </a:lnTo>
                </a:path>
              </a:pathLst>
            </a:custGeom>
            <a:solidFill>
              <a:srgbClr val="145275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D68471E6-A370-7676-C509-D980F32661D1}"/>
                </a:ext>
              </a:extLst>
            </p:cNvPr>
            <p:cNvSpPr/>
            <p:nvPr/>
          </p:nvSpPr>
          <p:spPr>
            <a:xfrm flipV="1">
              <a:off x="5820184" y="5769044"/>
              <a:ext cx="727556" cy="823783"/>
            </a:xfrm>
            <a:custGeom>
              <a:avLst/>
              <a:gdLst>
                <a:gd name="connsiteX0" fmla="*/ 1086447 w 1092235"/>
                <a:gd name="connsiteY0" fmla="*/ 314921 h 1236695"/>
                <a:gd name="connsiteX1" fmla="*/ 705188 w 1092235"/>
                <a:gd name="connsiteY1" fmla="*/ 52457 h 1236695"/>
                <a:gd name="connsiteX2" fmla="*/ 628600 w 1092235"/>
                <a:gd name="connsiteY2" fmla="*/ -312 h 1236695"/>
                <a:gd name="connsiteX3" fmla="*/ -5788 w 1092235"/>
                <a:gd name="connsiteY3" fmla="*/ 921182 h 1236695"/>
                <a:gd name="connsiteX4" fmla="*/ 70724 w 1092235"/>
                <a:gd name="connsiteY4" fmla="*/ 973920 h 1236695"/>
                <a:gd name="connsiteX5" fmla="*/ 451983 w 1092235"/>
                <a:gd name="connsiteY5" fmla="*/ 1236384 h 1236695"/>
                <a:gd name="connsiteX6" fmla="*/ 1086447 w 1092235"/>
                <a:gd name="connsiteY6" fmla="*/ 314921 h 123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2235" h="1236695">
                  <a:moveTo>
                    <a:pt x="1086447" y="314921"/>
                  </a:moveTo>
                  <a:lnTo>
                    <a:pt x="705188" y="52457"/>
                  </a:lnTo>
                  <a:lnTo>
                    <a:pt x="628600" y="-312"/>
                  </a:lnTo>
                  <a:lnTo>
                    <a:pt x="-5788" y="921182"/>
                  </a:lnTo>
                  <a:lnTo>
                    <a:pt x="70724" y="973920"/>
                  </a:lnTo>
                  <a:lnTo>
                    <a:pt x="451983" y="1236384"/>
                  </a:lnTo>
                  <a:lnTo>
                    <a:pt x="1086447" y="314921"/>
                  </a:lnTo>
                </a:path>
              </a:pathLst>
            </a:custGeom>
            <a:solidFill>
              <a:srgbClr val="CAD3E3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0A95CE48-D778-CD5F-C238-EE2C088A2A97}"/>
                </a:ext>
              </a:extLst>
            </p:cNvPr>
            <p:cNvSpPr/>
            <p:nvPr/>
          </p:nvSpPr>
          <p:spPr>
            <a:xfrm flipV="1">
              <a:off x="5871150" y="5760756"/>
              <a:ext cx="676589" cy="796922"/>
            </a:xfrm>
            <a:custGeom>
              <a:avLst/>
              <a:gdLst>
                <a:gd name="connsiteX0" fmla="*/ 1009891 w 1015722"/>
                <a:gd name="connsiteY0" fmla="*/ 262104 h 1196370"/>
                <a:gd name="connsiteX1" fmla="*/ 628632 w 1015722"/>
                <a:gd name="connsiteY1" fmla="*/ -360 h 1196370"/>
                <a:gd name="connsiteX2" fmla="*/ -5832 w 1015722"/>
                <a:gd name="connsiteY2" fmla="*/ 921103 h 1196370"/>
                <a:gd name="connsiteX3" fmla="*/ 393502 w 1015722"/>
                <a:gd name="connsiteY3" fmla="*/ 1196010 h 1196370"/>
                <a:gd name="connsiteX4" fmla="*/ 1009891 w 1015722"/>
                <a:gd name="connsiteY4" fmla="*/ 262104 h 1196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722" h="1196370">
                  <a:moveTo>
                    <a:pt x="1009891" y="262104"/>
                  </a:moveTo>
                  <a:lnTo>
                    <a:pt x="628632" y="-360"/>
                  </a:lnTo>
                  <a:lnTo>
                    <a:pt x="-5832" y="921103"/>
                  </a:lnTo>
                  <a:lnTo>
                    <a:pt x="393502" y="1196010"/>
                  </a:lnTo>
                  <a:lnTo>
                    <a:pt x="1009891" y="262104"/>
                  </a:lnTo>
                </a:path>
              </a:pathLst>
            </a:custGeom>
            <a:solidFill>
              <a:srgbClr val="FFFFFF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4BC66138-C884-80A6-B929-AB2EF820FED2}"/>
                </a:ext>
              </a:extLst>
            </p:cNvPr>
            <p:cNvSpPr/>
            <p:nvPr/>
          </p:nvSpPr>
          <p:spPr>
            <a:xfrm flipV="1">
              <a:off x="5884246" y="5871631"/>
              <a:ext cx="992366" cy="986382"/>
            </a:xfrm>
            <a:custGeom>
              <a:avLst/>
              <a:gdLst>
                <a:gd name="connsiteX0" fmla="*/ 1483655 w 1489778"/>
                <a:gd name="connsiteY0" fmla="*/ 59612 h 1480794"/>
                <a:gd name="connsiteX1" fmla="*/ 1481986 w 1489778"/>
                <a:gd name="connsiteY1" fmla="*/ 54879 h 1480794"/>
                <a:gd name="connsiteX2" fmla="*/ 1462632 w 1489778"/>
                <a:gd name="connsiteY2" fmla="*/ 99 h 1480794"/>
                <a:gd name="connsiteX3" fmla="*/ 789786 w 1489778"/>
                <a:gd name="connsiteY3" fmla="*/ 99 h 1480794"/>
                <a:gd name="connsiteX4" fmla="*/ -6124 w 1489778"/>
                <a:gd name="connsiteY4" fmla="*/ 1143708 h 1480794"/>
                <a:gd name="connsiteX5" fmla="*/ 122266 w 1489778"/>
                <a:gd name="connsiteY5" fmla="*/ 1232016 h 1480794"/>
                <a:gd name="connsiteX6" fmla="*/ 360475 w 1489778"/>
                <a:gd name="connsiteY6" fmla="*/ 1396082 h 1480794"/>
                <a:gd name="connsiteX7" fmla="*/ 483606 w 1489778"/>
                <a:gd name="connsiteY7" fmla="*/ 1480893 h 1480794"/>
                <a:gd name="connsiteX8" fmla="*/ 1483655 w 1489778"/>
                <a:gd name="connsiteY8" fmla="*/ 59612 h 148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9778" h="1480794">
                  <a:moveTo>
                    <a:pt x="1483655" y="59612"/>
                  </a:moveTo>
                  <a:lnTo>
                    <a:pt x="1481986" y="54879"/>
                  </a:lnTo>
                  <a:lnTo>
                    <a:pt x="1462632" y="99"/>
                  </a:lnTo>
                  <a:lnTo>
                    <a:pt x="789786" y="99"/>
                  </a:lnTo>
                  <a:lnTo>
                    <a:pt x="-6124" y="1143708"/>
                  </a:lnTo>
                  <a:lnTo>
                    <a:pt x="122266" y="1232016"/>
                  </a:lnTo>
                  <a:lnTo>
                    <a:pt x="360475" y="1396082"/>
                  </a:lnTo>
                  <a:lnTo>
                    <a:pt x="483606" y="1480893"/>
                  </a:lnTo>
                  <a:lnTo>
                    <a:pt x="1483655" y="59612"/>
                  </a:lnTo>
                </a:path>
              </a:pathLst>
            </a:custGeom>
            <a:solidFill>
              <a:srgbClr val="0E5578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BC22EFDA-1192-3270-77F9-BAA1EE460732}"/>
                </a:ext>
              </a:extLst>
            </p:cNvPr>
            <p:cNvSpPr/>
            <p:nvPr/>
          </p:nvSpPr>
          <p:spPr>
            <a:xfrm flipV="1">
              <a:off x="5969768" y="5871631"/>
              <a:ext cx="931314" cy="986382"/>
            </a:xfrm>
            <a:custGeom>
              <a:avLst/>
              <a:gdLst>
                <a:gd name="connsiteX0" fmla="*/ 1391908 w 1398125"/>
                <a:gd name="connsiteY0" fmla="*/ 99 h 1480794"/>
                <a:gd name="connsiteX1" fmla="*/ 854927 w 1398125"/>
                <a:gd name="connsiteY1" fmla="*/ 99 h 1480794"/>
                <a:gd name="connsiteX2" fmla="*/ -6217 w 1398125"/>
                <a:gd name="connsiteY2" fmla="*/ 1232016 h 1480794"/>
                <a:gd name="connsiteX3" fmla="*/ 231992 w 1398125"/>
                <a:gd name="connsiteY3" fmla="*/ 1396082 h 1480794"/>
                <a:gd name="connsiteX4" fmla="*/ 355123 w 1398125"/>
                <a:gd name="connsiteY4" fmla="*/ 1480893 h 1480794"/>
                <a:gd name="connsiteX5" fmla="*/ 1353503 w 1398125"/>
                <a:gd name="connsiteY5" fmla="*/ 54879 h 1480794"/>
                <a:gd name="connsiteX6" fmla="*/ 1391908 w 1398125"/>
                <a:gd name="connsiteY6" fmla="*/ 99 h 148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8125" h="1480794">
                  <a:moveTo>
                    <a:pt x="1391908" y="99"/>
                  </a:moveTo>
                  <a:lnTo>
                    <a:pt x="854927" y="99"/>
                  </a:lnTo>
                  <a:lnTo>
                    <a:pt x="-6217" y="1232016"/>
                  </a:lnTo>
                  <a:lnTo>
                    <a:pt x="231992" y="1396082"/>
                  </a:lnTo>
                  <a:lnTo>
                    <a:pt x="355123" y="1480893"/>
                  </a:lnTo>
                  <a:lnTo>
                    <a:pt x="1353503" y="54879"/>
                  </a:lnTo>
                  <a:lnTo>
                    <a:pt x="1391908" y="99"/>
                  </a:lnTo>
                </a:path>
              </a:pathLst>
            </a:custGeom>
            <a:solidFill>
              <a:srgbClr val="74B6D6"/>
            </a:solidFill>
            <a:ln w="7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5445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ild Adventure">
  <a:themeElements>
    <a:clrScheme name="Aangepast 4">
      <a:dk1>
        <a:srgbClr val="BB4826"/>
      </a:dk1>
      <a:lt1>
        <a:srgbClr val="F2F2F2"/>
      </a:lt1>
      <a:dk2>
        <a:srgbClr val="05507E"/>
      </a:dk2>
      <a:lt2>
        <a:srgbClr val="28ACE2"/>
      </a:lt2>
      <a:accent1>
        <a:srgbClr val="C7890F"/>
      </a:accent1>
      <a:accent2>
        <a:srgbClr val="8AA36E"/>
      </a:accent2>
      <a:accent3>
        <a:srgbClr val="218DB9"/>
      </a:accent3>
      <a:accent4>
        <a:srgbClr val="054F7D"/>
      </a:accent4>
      <a:accent5>
        <a:srgbClr val="28ACE2"/>
      </a:accent5>
      <a:accent6>
        <a:srgbClr val="E08366"/>
      </a:accent6>
      <a:hlink>
        <a:srgbClr val="8AA36E"/>
      </a:hlink>
      <a:folHlink>
        <a:srgbClr val="8AA36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6045864-7a52-4ff1-89c5-a246fafc4882">
      <Terms xmlns="http://schemas.microsoft.com/office/infopath/2007/PartnerControls"/>
    </lcf76f155ced4ddcb4097134ff3c332f>
    <TaxCatchAll xmlns="5707301c-08b2-48cf-b287-fd9802883ed2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351EDE4994B141B2907E1ABAD06DDE" ma:contentTypeVersion="12" ma:contentTypeDescription="Create a new document." ma:contentTypeScope="" ma:versionID="bc046682ef456e23452f760d0f6ae9f9">
  <xsd:schema xmlns:xsd="http://www.w3.org/2001/XMLSchema" xmlns:xs="http://www.w3.org/2001/XMLSchema" xmlns:p="http://schemas.microsoft.com/office/2006/metadata/properties" xmlns:ns2="f6045864-7a52-4ff1-89c5-a246fafc4882" xmlns:ns3="5707301c-08b2-48cf-b287-fd9802883ed2" targetNamespace="http://schemas.microsoft.com/office/2006/metadata/properties" ma:root="true" ma:fieldsID="c0c2a89c4a0d0b38a5331ed9a4fcd4a2" ns2:_="" ns3:_="">
    <xsd:import namespace="f6045864-7a52-4ff1-89c5-a246fafc4882"/>
    <xsd:import namespace="5707301c-08b2-48cf-b287-fd9802883ed2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045864-7a52-4ff1-89c5-a246fafc4882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c4b290ac-f6a5-40a7-add1-8d896f60da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07301c-08b2-48cf-b287-fd9802883ed2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22e43f17-1634-4f35-9543-3fae26c7d7ed}" ma:internalName="TaxCatchAll" ma:showField="CatchAllData" ma:web="5707301c-08b2-48cf-b287-fd9802883ed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566BCB-26E5-483D-86CE-1308BF180BF0}">
  <ds:schemaRefs>
    <ds:schemaRef ds:uri="4c34c118-a645-440e-9396-e4a6e0d770e9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a4513177-2746-4af3-b544-379e29d826dc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8F87B32-694A-431A-BB92-B638D8F8A617}"/>
</file>

<file path=customXml/itemProps3.xml><?xml version="1.0" encoding="utf-8"?>
<ds:datastoreItem xmlns:ds="http://schemas.openxmlformats.org/officeDocument/2006/customXml" ds:itemID="{0E9817EC-D9D7-4177-93A5-A42CDAD76C5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576</TotalTime>
  <Words>446</Words>
  <Application>Microsoft Office PowerPoint</Application>
  <PresentationFormat>Widescreen</PresentationFormat>
  <Paragraphs>89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Arvo</vt:lpstr>
      <vt:lpstr>Calibri</vt:lpstr>
      <vt:lpstr>Calibri Light</vt:lpstr>
      <vt:lpstr>Neue Haas Grotesk Text Pro</vt:lpstr>
      <vt:lpstr>Oswald</vt:lpstr>
      <vt:lpstr>Poppins</vt:lpstr>
      <vt:lpstr>Ubuntu Light</vt:lpstr>
      <vt:lpstr>1_Wild Adventure</vt:lpstr>
      <vt:lpstr>2_Office Theme</vt:lpstr>
      <vt:lpstr>think-cell Slide</vt:lpstr>
      <vt:lpstr>Career Accelerator</vt:lpstr>
      <vt:lpstr>Agenda</vt:lpstr>
      <vt:lpstr>Time Series Forecasting</vt:lpstr>
      <vt:lpstr>Time Series Forecasting (CRISP-DM)</vt:lpstr>
      <vt:lpstr>Time Series Forecasting</vt:lpstr>
      <vt:lpstr>Project Rubric</vt:lpstr>
      <vt:lpstr>Project Rubric</vt:lpstr>
      <vt:lpstr>Project Rubric</vt:lpstr>
      <vt:lpstr>Timelines (4 Weeks)</vt:lpstr>
      <vt:lpstr>Timelines (4 Weeks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eer Accelerator</dc:title>
  <dc:creator>Robert  Njuguna</dc:creator>
  <cp:lastModifiedBy>Richard Kadey</cp:lastModifiedBy>
  <cp:revision>10</cp:revision>
  <dcterms:created xsi:type="dcterms:W3CDTF">2022-08-02T18:12:52Z</dcterms:created>
  <dcterms:modified xsi:type="dcterms:W3CDTF">2023-01-17T10:34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03990679AD2143B390CE3F3DCAFD02</vt:lpwstr>
  </property>
</Properties>
</file>